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295" r:id="rId5"/>
    <p:sldId id="296" r:id="rId6"/>
    <p:sldId id="297" r:id="rId7"/>
    <p:sldId id="298" r:id="rId8"/>
    <p:sldId id="299" r:id="rId9"/>
    <p:sldId id="288" r:id="rId10"/>
    <p:sldId id="292" r:id="rId11"/>
    <p:sldId id="293" r:id="rId12"/>
    <p:sldId id="294" r:id="rId13"/>
    <p:sldId id="283" r:id="rId14"/>
  </p:sldIdLst>
  <p:sldSz cx="9906000" cy="6858000" type="A4"/>
  <p:notesSz cx="6797675" cy="9926638"/>
  <p:embeddedFontLst>
    <p:embeddedFont>
      <p:font typeface="Orsted Sans Office" panose="00000500000000000000" pitchFamily="2" charset="0"/>
      <p:regular r:id="rId17"/>
      <p:bold r:id="rId18"/>
      <p:italic r:id="rId19"/>
      <p:boldItalic r:id="rId20"/>
    </p:embeddedFont>
    <p:embeddedFont>
      <p:font typeface="Aharoni" panose="02010803020104030203" pitchFamily="2" charset="-79"/>
      <p:bold r:id="rId21"/>
    </p:embeddedFont>
    <p:embeddedFont>
      <p:font typeface="Maine Sans" panose="00000500000000000000" charset="0"/>
      <p:regular r:id="rId22"/>
      <p:bold r:id="rId23"/>
      <p:italic r:id="rId24"/>
    </p:embeddedFont>
  </p:embeddedFontLst>
  <p:custDataLst>
    <p:tags r:id="rId25"/>
  </p:custDataLst>
  <p:defaultTextStyle>
    <a:defPPr>
      <a:defRPr lang="en-US"/>
    </a:defPPr>
    <a:lvl1pPr marL="0" algn="l" defTabSz="839852" rtl="0" eaLnBrk="1" latinLnBrk="0" hangingPunct="1">
      <a:defRPr sz="1653" kern="1200">
        <a:solidFill>
          <a:schemeClr val="tx1"/>
        </a:solidFill>
        <a:latin typeface="+mn-lt"/>
        <a:ea typeface="+mn-ea"/>
        <a:cs typeface="+mn-cs"/>
      </a:defRPr>
    </a:lvl1pPr>
    <a:lvl2pPr marL="419926" algn="l" defTabSz="839852" rtl="0" eaLnBrk="1" latinLnBrk="0" hangingPunct="1">
      <a:defRPr sz="1653" kern="1200">
        <a:solidFill>
          <a:schemeClr val="tx1"/>
        </a:solidFill>
        <a:latin typeface="+mn-lt"/>
        <a:ea typeface="+mn-ea"/>
        <a:cs typeface="+mn-cs"/>
      </a:defRPr>
    </a:lvl2pPr>
    <a:lvl3pPr marL="839852" algn="l" defTabSz="839852" rtl="0" eaLnBrk="1" latinLnBrk="0" hangingPunct="1">
      <a:defRPr sz="1653" kern="1200">
        <a:solidFill>
          <a:schemeClr val="tx1"/>
        </a:solidFill>
        <a:latin typeface="+mn-lt"/>
        <a:ea typeface="+mn-ea"/>
        <a:cs typeface="+mn-cs"/>
      </a:defRPr>
    </a:lvl3pPr>
    <a:lvl4pPr marL="1259779" algn="l" defTabSz="839852" rtl="0" eaLnBrk="1" latinLnBrk="0" hangingPunct="1">
      <a:defRPr sz="1653" kern="1200">
        <a:solidFill>
          <a:schemeClr val="tx1"/>
        </a:solidFill>
        <a:latin typeface="+mn-lt"/>
        <a:ea typeface="+mn-ea"/>
        <a:cs typeface="+mn-cs"/>
      </a:defRPr>
    </a:lvl4pPr>
    <a:lvl5pPr marL="1679704" algn="l" defTabSz="839852" rtl="0" eaLnBrk="1" latinLnBrk="0" hangingPunct="1">
      <a:defRPr sz="1653" kern="1200">
        <a:solidFill>
          <a:schemeClr val="tx1"/>
        </a:solidFill>
        <a:latin typeface="+mn-lt"/>
        <a:ea typeface="+mn-ea"/>
        <a:cs typeface="+mn-cs"/>
      </a:defRPr>
    </a:lvl5pPr>
    <a:lvl6pPr marL="2099630" algn="l" defTabSz="839852" rtl="0" eaLnBrk="1" latinLnBrk="0" hangingPunct="1">
      <a:defRPr sz="1653" kern="1200">
        <a:solidFill>
          <a:schemeClr val="tx1"/>
        </a:solidFill>
        <a:latin typeface="+mn-lt"/>
        <a:ea typeface="+mn-ea"/>
        <a:cs typeface="+mn-cs"/>
      </a:defRPr>
    </a:lvl6pPr>
    <a:lvl7pPr marL="2519556" algn="l" defTabSz="839852" rtl="0" eaLnBrk="1" latinLnBrk="0" hangingPunct="1">
      <a:defRPr sz="1653" kern="1200">
        <a:solidFill>
          <a:schemeClr val="tx1"/>
        </a:solidFill>
        <a:latin typeface="+mn-lt"/>
        <a:ea typeface="+mn-ea"/>
        <a:cs typeface="+mn-cs"/>
      </a:defRPr>
    </a:lvl7pPr>
    <a:lvl8pPr marL="2939482" algn="l" defTabSz="839852" rtl="0" eaLnBrk="1" latinLnBrk="0" hangingPunct="1">
      <a:defRPr sz="1653" kern="1200">
        <a:solidFill>
          <a:schemeClr val="tx1"/>
        </a:solidFill>
        <a:latin typeface="+mn-lt"/>
        <a:ea typeface="+mn-ea"/>
        <a:cs typeface="+mn-cs"/>
      </a:defRPr>
    </a:lvl8pPr>
    <a:lvl9pPr marL="3359408" algn="l" defTabSz="839852" rtl="0" eaLnBrk="1" latinLnBrk="0" hangingPunct="1">
      <a:defRPr sz="16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5F6F7"/>
    <a:srgbClr val="C2C8CE"/>
    <a:srgbClr val="808080"/>
    <a:srgbClr val="E5E6E1"/>
    <a:srgbClr val="4E9DD4"/>
    <a:srgbClr val="4099DA"/>
    <a:srgbClr val="3A9CDE"/>
    <a:srgbClr val="ADB6BE"/>
    <a:srgbClr val="8ECDC8"/>
    <a:srgbClr val="FDD7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182" autoAdjust="0"/>
    <p:restoredTop sz="96699" autoAdjust="0"/>
  </p:normalViewPr>
  <p:slideViewPr>
    <p:cSldViewPr snapToGrid="0" showGuides="1">
      <p:cViewPr varScale="1">
        <p:scale>
          <a:sx n="110" d="100"/>
          <a:sy n="110" d="100"/>
        </p:scale>
        <p:origin x="64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493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2.fntdata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5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1.fntdata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font" Target="fonts/font4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8.fntdata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7.fntdata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3.fntdata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6.fntdata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ina Lund Bonne" userId="5448a104-cbdd-4ed3-ab35-16cc06fff4c6" providerId="ADAL" clId="{38211A66-A599-4424-B4DA-89266E5B761E}"/>
    <pc:docChg chg="custSel modMainMaster">
      <pc:chgData name="Tina Lund Bonne" userId="5448a104-cbdd-4ed3-ab35-16cc06fff4c6" providerId="ADAL" clId="{38211A66-A599-4424-B4DA-89266E5B761E}" dt="2017-09-29T10:29:50.631" v="10"/>
      <pc:docMkLst>
        <pc:docMk/>
      </pc:docMkLst>
      <pc:sldMasterChg chg="addSp delSp delSldLayout modSldLayout">
        <pc:chgData name="Tina Lund Bonne" userId="5448a104-cbdd-4ed3-ab35-16cc06fff4c6" providerId="ADAL" clId="{38211A66-A599-4424-B4DA-89266E5B761E}" dt="2017-09-29T10:29:50.631" v="10"/>
        <pc:sldMasterMkLst>
          <pc:docMk/>
          <pc:sldMasterMk cId="180999990" sldId="2147483648"/>
        </pc:sldMasterMkLst>
        <pc:picChg chg="add">
          <ac:chgData name="Tina Lund Bonne" userId="5448a104-cbdd-4ed3-ab35-16cc06fff4c6" providerId="ADAL" clId="{38211A66-A599-4424-B4DA-89266E5B761E}" dt="2017-09-29T10:29:50.631" v="10"/>
          <ac:picMkLst>
            <pc:docMk/>
            <pc:sldMasterMk cId="180999990" sldId="2147483648"/>
            <ac:picMk id="7" creationId="{5363444E-2497-40C9-93F1-2A142B840E6C}"/>
          </ac:picMkLst>
        </pc:picChg>
        <pc:picChg chg="del">
          <ac:chgData name="Tina Lund Bonne" userId="5448a104-cbdd-4ed3-ab35-16cc06fff4c6" providerId="ADAL" clId="{38211A66-A599-4424-B4DA-89266E5B761E}" dt="2017-09-29T10:29:50.021" v="9" actId="478"/>
          <ac:picMkLst>
            <pc:docMk/>
            <pc:sldMasterMk cId="180999990" sldId="2147483648"/>
            <ac:picMk id="11" creationId="{00000000-0000-0000-0000-000000000000}"/>
          </ac:picMkLst>
        </pc:picChg>
        <pc:sldLayoutChg chg="setBg">
          <pc:chgData name="Tina Lund Bonne" userId="5448a104-cbdd-4ed3-ab35-16cc06fff4c6" providerId="ADAL" clId="{38211A66-A599-4424-B4DA-89266E5B761E}" dt="2017-09-29T10:27:23.507" v="4"/>
          <pc:sldLayoutMkLst>
            <pc:docMk/>
            <pc:sldMasterMk cId="180999990" sldId="2147483648"/>
            <pc:sldLayoutMk cId="2037277452" sldId="2147483658"/>
          </pc:sldLayoutMkLst>
        </pc:sldLayoutChg>
        <pc:sldLayoutChg chg="del">
          <pc:chgData name="Tina Lund Bonne" userId="5448a104-cbdd-4ed3-ab35-16cc06fff4c6" providerId="ADAL" clId="{38211A66-A599-4424-B4DA-89266E5B761E}" dt="2017-08-31T08:29:40.512" v="3" actId="2696"/>
          <pc:sldLayoutMkLst>
            <pc:docMk/>
            <pc:sldMasterMk cId="180999990" sldId="2147483648"/>
            <pc:sldLayoutMk cId="2445496960" sldId="2147483729"/>
          </pc:sldLayoutMkLst>
        </pc:sldLayoutChg>
        <pc:sldLayoutChg chg="del">
          <pc:chgData name="Tina Lund Bonne" userId="5448a104-cbdd-4ed3-ab35-16cc06fff4c6" providerId="ADAL" clId="{38211A66-A599-4424-B4DA-89266E5B761E}" dt="2017-08-31T08:28:24.543" v="0" actId="2696"/>
          <pc:sldLayoutMkLst>
            <pc:docMk/>
            <pc:sldMasterMk cId="180999990" sldId="2147483648"/>
            <pc:sldLayoutMk cId="2233344313" sldId="2147483731"/>
          </pc:sldLayoutMkLst>
        </pc:sldLayoutChg>
        <pc:sldLayoutChg chg="modSp">
          <pc:chgData name="Tina Lund Bonne" userId="5448a104-cbdd-4ed3-ab35-16cc06fff4c6" providerId="ADAL" clId="{38211A66-A599-4424-B4DA-89266E5B761E}" dt="2017-09-29T10:29:17.792" v="8"/>
          <pc:sldLayoutMkLst>
            <pc:docMk/>
            <pc:sldMasterMk cId="180999990" sldId="2147483648"/>
            <pc:sldLayoutMk cId="2857149760" sldId="2147483731"/>
          </pc:sldLayoutMkLst>
          <pc:spChg chg="mod">
            <ac:chgData name="Tina Lund Bonne" userId="5448a104-cbdd-4ed3-ab35-16cc06fff4c6" providerId="ADAL" clId="{38211A66-A599-4424-B4DA-89266E5B761E}" dt="2017-09-29T10:29:17.792" v="8"/>
            <ac:spMkLst>
              <pc:docMk/>
              <pc:sldMasterMk cId="180999990" sldId="2147483648"/>
              <pc:sldLayoutMk cId="2857149760" sldId="2147483731"/>
              <ac:spMk id="12" creationId="{00000000-0000-0000-0000-000000000000}"/>
            </ac:spMkLst>
          </pc:spChg>
          <pc:spChg chg="mod">
            <ac:chgData name="Tina Lund Bonne" userId="5448a104-cbdd-4ed3-ab35-16cc06fff4c6" providerId="ADAL" clId="{38211A66-A599-4424-B4DA-89266E5B761E}" dt="2017-08-31T08:29:34.200" v="2" actId="2696"/>
            <ac:spMkLst>
              <pc:docMk/>
              <pc:sldMasterMk cId="180999990" sldId="2147483648"/>
              <pc:sldLayoutMk cId="2857149760" sldId="2147483731"/>
              <ac:spMk id="14" creationId="{00000000-0000-0000-0000-000000000000}"/>
            </ac:spMkLst>
          </pc:sp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l">
              <a:defRPr sz="11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r">
              <a:defRPr sz="11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r">
              <a:defRPr sz="1100"/>
            </a:lvl1pPr>
          </a:lstStyle>
          <a:p>
            <a:fld id="{13F6AEEE-E778-402E-8B8F-9A98AED26EB8}" type="datetimeFigureOut">
              <a:rPr lang="en-GB" smtClean="0"/>
              <a:t>06/03/2018</a:t>
            </a:fld>
            <a:endParaRPr lang="en-GB" dirty="0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l">
              <a:defRPr sz="11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09" tIns="45705" rIns="91409" bIns="45705" rtlCol="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r">
              <a:defRPr sz="1100"/>
            </a:lvl1pPr>
          </a:lstStyle>
          <a:p>
            <a:fld id="{1386E511-D742-4EFE-90B5-C9FC42762E0F}" type="datetimeFigureOut">
              <a:rPr lang="en-GB" smtClean="0"/>
              <a:t>06/03/2018</a:t>
            </a:fld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r">
              <a:defRPr sz="1100"/>
            </a:lvl1pPr>
          </a:lstStyle>
          <a:p>
            <a:fld id="{A16CFAD1-D197-4A88-B173-A6412E995EE5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09" tIns="45705" rIns="91409" bIns="45705" rtlCol="0" anchor="b"/>
          <a:lstStyle>
            <a:lvl1pPr algn="l" eaLnBrk="1">
              <a:defRPr sz="1100"/>
            </a:lvl1pPr>
          </a:lstStyle>
          <a:p>
            <a:endParaRPr lang="en-GB" dirty="0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35525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9" tIns="45705" rIns="91409" bIns="45705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09" tIns="45705" rIns="91409" bIns="45705" rtlCol="0"/>
          <a:lstStyle>
            <a:lvl1pPr algn="l" eaLnBrk="1">
              <a:defRPr sz="11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39852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1pPr>
    <a:lvl2pPr marL="419926" algn="l" defTabSz="839852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2pPr>
    <a:lvl3pPr marL="839852" algn="l" defTabSz="839852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3pPr>
    <a:lvl4pPr marL="1259779" algn="l" defTabSz="839852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4pPr>
    <a:lvl5pPr marL="1679704" algn="l" defTabSz="839852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5pPr>
    <a:lvl6pPr marL="2099630" algn="l" defTabSz="839852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6pPr>
    <a:lvl7pPr marL="2519556" algn="l" defTabSz="839852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7pPr>
    <a:lvl8pPr marL="2939482" algn="l" defTabSz="839852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8pPr>
    <a:lvl9pPr marL="3359408" algn="l" defTabSz="839852" rtl="0" eaLnBrk="1" latinLnBrk="0" hangingPunct="1">
      <a:defRPr sz="110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41425" y="1163638"/>
            <a:ext cx="4527550" cy="31353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85701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5951090"/>
              </p:ext>
            </p:extLst>
          </p:nvPr>
        </p:nvGraphicFramePr>
        <p:xfrm>
          <a:off x="1472" y="1441"/>
          <a:ext cx="147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2" y="1441"/>
                        <a:ext cx="147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0311" y="653171"/>
            <a:ext cx="8905550" cy="1796220"/>
          </a:xfrm>
        </p:spPr>
        <p:txBody>
          <a:bodyPr anchor="t"/>
          <a:lstStyle>
            <a:lvl1pPr algn="l" eaLnBrk="1">
              <a:lnSpc>
                <a:spcPct val="95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0312" y="2514709"/>
            <a:ext cx="8904369" cy="700193"/>
          </a:xfrm>
        </p:spPr>
        <p:txBody>
          <a:bodyPr/>
          <a:lstStyle>
            <a:lvl1pPr marL="0" indent="0" algn="l" eaLnBrk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100" b="0" baseline="0">
                <a:solidFill>
                  <a:srgbClr val="8ECDC8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205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205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205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205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205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205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205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205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6070508" y="6319189"/>
            <a:ext cx="3335412" cy="261268"/>
          </a:xfrm>
          <a:prstGeom prst="rect">
            <a:avLst/>
          </a:prstGeom>
        </p:spPr>
        <p:txBody>
          <a:bodyPr anchor="t" anchorCtr="0"/>
          <a:lstStyle>
            <a:lvl1pPr algn="r" eaLnBrk="1">
              <a:lnSpc>
                <a:spcPct val="95000"/>
              </a:lnSpc>
              <a:defRPr sz="1500">
                <a:solidFill>
                  <a:schemeClr val="bg1"/>
                </a:solidFill>
                <a:latin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070508" y="5772043"/>
            <a:ext cx="3335412" cy="547508"/>
          </a:xfrm>
        </p:spPr>
        <p:txBody>
          <a:bodyPr anchor="b" anchorCtr="0"/>
          <a:lstStyle>
            <a:lvl1pPr algn="r">
              <a:lnSpc>
                <a:spcPct val="95000"/>
              </a:lnSpc>
              <a:spcBef>
                <a:spcPts val="0"/>
              </a:spcBef>
              <a:defRPr sz="1500" b="1" baseline="0">
                <a:solidFill>
                  <a:schemeClr val="bg1"/>
                </a:solidFill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500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500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500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500" b="1">
                <a:solidFill>
                  <a:schemeClr val="bg1"/>
                </a:solidFill>
              </a:defRPr>
            </a:lvl5pPr>
            <a:lvl6pPr marL="285750" indent="-285750" algn="r">
              <a:spcBef>
                <a:spcPts val="0"/>
              </a:spcBef>
              <a:buFont typeface="Arial" panose="020B0604020202020204" pitchFamily="34" charset="0"/>
              <a:buChar char="​"/>
              <a:defRPr sz="1500" b="1">
                <a:solidFill>
                  <a:schemeClr val="bg1"/>
                </a:solidFill>
              </a:defRPr>
            </a:lvl6pPr>
            <a:lvl7pPr marL="285750" indent="-285750" algn="r">
              <a:spcBef>
                <a:spcPts val="0"/>
              </a:spcBef>
              <a:buFont typeface="Arial" panose="020B0604020202020204" pitchFamily="34" charset="0"/>
              <a:buChar char="​"/>
              <a:defRPr sz="1500" b="1">
                <a:solidFill>
                  <a:schemeClr val="bg1"/>
                </a:solidFill>
              </a:defRPr>
            </a:lvl7pPr>
            <a:lvl8pPr marL="285750" indent="-285750" algn="r">
              <a:spcBef>
                <a:spcPts val="0"/>
              </a:spcBef>
              <a:buFont typeface="Arial" panose="020B0604020202020204" pitchFamily="34" charset="0"/>
              <a:buChar char="​"/>
              <a:defRPr sz="1500" b="1">
                <a:solidFill>
                  <a:schemeClr val="bg1"/>
                </a:solidFill>
              </a:defRPr>
            </a:lvl8pPr>
            <a:lvl9pPr marL="285750" indent="-285750" algn="r">
              <a:spcBef>
                <a:spcPts val="0"/>
              </a:spcBef>
              <a:buFont typeface="Arial" panose="020B0604020202020204" pitchFamily="34" charset="0"/>
              <a:buChar char="​"/>
              <a:defRPr sz="15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</a:t>
            </a:r>
            <a:r>
              <a:rPr lang="en-GB" dirty="0"/>
              <a:t> to add subject or nam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311" y="6040087"/>
            <a:ext cx="1692000" cy="479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6" userDrawn="1">
          <p15:clr>
            <a:srgbClr val="A4A3A4"/>
          </p15:clr>
        </p15:guide>
        <p15:guide id="2" pos="5925" userDrawn="1">
          <p15:clr>
            <a:srgbClr val="A4A3A4"/>
          </p15:clr>
        </p15:guide>
        <p15:guide id="3" orient="horz" pos="473" userDrawn="1">
          <p15:clr>
            <a:srgbClr val="A4A3A4"/>
          </p15:clr>
        </p15:guide>
        <p15:guide id="4" orient="horz" pos="4104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å baggrund"/>
          <p:cNvSpPr/>
          <p:nvPr userDrawn="1"/>
        </p:nvSpPr>
        <p:spPr>
          <a:xfrm>
            <a:off x="0" y="1110392"/>
            <a:ext cx="9906000" cy="49640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300" noProof="0" dirty="0">
              <a:latin typeface="Orsted Sans Office" panose="000005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0064" y="1371026"/>
            <a:ext cx="9105872" cy="4442867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b="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</a:defRPr>
            </a:lvl2pPr>
            <a:lvl3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</a:defRPr>
            </a:lvl3pPr>
            <a:lvl4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</a:defRPr>
            </a:lvl4pPr>
            <a:lvl5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#›</a:t>
            </a:fld>
            <a:endParaRPr lang="en-GB" noProof="0" dirty="0"/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03901" y="6172465"/>
            <a:ext cx="7204490" cy="489878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700" b="0" baseline="0">
                <a:solidFill>
                  <a:schemeClr val="accent6"/>
                </a:solidFill>
              </a:defRPr>
            </a:lvl1pPr>
            <a:lvl2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</p:spTree>
    <p:extLst>
      <p:ext uri="{BB962C8B-B14F-4D97-AF65-F5344CB8AC3E}">
        <p14:creationId xmlns:p14="http://schemas.microsoft.com/office/powerpoint/2010/main" val="11545293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41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å baggrund 1"/>
          <p:cNvSpPr/>
          <p:nvPr userDrawn="1"/>
        </p:nvSpPr>
        <p:spPr>
          <a:xfrm>
            <a:off x="0" y="1110392"/>
            <a:ext cx="4903055" cy="49640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300" noProof="0" dirty="0">
              <a:latin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5003119" y="1110392"/>
            <a:ext cx="4903055" cy="49640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300" noProof="0" dirty="0">
              <a:latin typeface="Orsted Sans Office" panose="00000500000000000000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0065" y="6172465"/>
            <a:ext cx="303837" cy="489878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2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03901" y="6172465"/>
            <a:ext cx="7204490" cy="489878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1pPr>
            <a:lvl2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0064" y="1371026"/>
            <a:ext cx="4352712" cy="4442867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b="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</a:defRPr>
            </a:lvl2pPr>
            <a:lvl3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</a:defRPr>
            </a:lvl3pPr>
            <a:lvl4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</a:defRPr>
            </a:lvl4pPr>
            <a:lvl5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29" hasCustomPrompt="1"/>
          </p:nvPr>
        </p:nvSpPr>
        <p:spPr>
          <a:xfrm>
            <a:off x="5156709" y="1371026"/>
            <a:ext cx="4352712" cy="4442867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b="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</a:defRPr>
            </a:lvl2pPr>
            <a:lvl3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</a:defRPr>
            </a:lvl3pPr>
            <a:lvl4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</a:defRPr>
            </a:lvl4pPr>
            <a:lvl5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4" userDrawn="1">
          <p15:clr>
            <a:srgbClr val="A4A3A4"/>
          </p15:clr>
        </p15:guide>
        <p15:guide id="2" orient="horz" pos="3662" userDrawn="1">
          <p15:clr>
            <a:srgbClr val="A4A3A4"/>
          </p15:clr>
        </p15:guide>
        <p15:guide id="3" pos="3246" userDrawn="1">
          <p15:clr>
            <a:srgbClr val="A4A3A4"/>
          </p15:clr>
        </p15:guide>
        <p15:guide id="4" pos="5988" userDrawn="1">
          <p15:clr>
            <a:srgbClr val="A4A3A4"/>
          </p15:clr>
        </p15:guide>
        <p15:guide id="5" pos="241" userDrawn="1">
          <p15:clr>
            <a:srgbClr val="A4A3A4"/>
          </p15:clr>
        </p15:guide>
        <p15:guide id="6" pos="2994" userDrawn="1">
          <p15:clr>
            <a:srgbClr val="A4A3A4"/>
          </p15:clr>
        </p15:guide>
        <p15:guide id="7" orient="horz" pos="2070" userDrawn="1">
          <p15:clr>
            <a:srgbClr val="A4A3A4"/>
          </p15:clr>
        </p15:guide>
        <p15:guide id="8" orient="horz" pos="2468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olo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å baggrund 1"/>
          <p:cNvSpPr/>
          <p:nvPr userDrawn="1"/>
        </p:nvSpPr>
        <p:spPr>
          <a:xfrm>
            <a:off x="0" y="1110392"/>
            <a:ext cx="4903055" cy="49640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300" noProof="0" dirty="0">
              <a:latin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5003119" y="1110392"/>
            <a:ext cx="4903055" cy="49640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300" noProof="0" dirty="0">
              <a:latin typeface="Orsted Sans Office" panose="00000500000000000000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0065" y="6172465"/>
            <a:ext cx="303837" cy="489878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2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03901" y="6172465"/>
            <a:ext cx="7204490" cy="489878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1pPr>
            <a:lvl2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0064" y="1371026"/>
            <a:ext cx="4352712" cy="4442867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b="0">
                <a:solidFill>
                  <a:schemeClr val="bg1"/>
                </a:solidFill>
              </a:defRPr>
            </a:lvl1pPr>
            <a:lvl2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bg1"/>
                </a:solidFill>
              </a:defRPr>
            </a:lvl2pPr>
            <a:lvl3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bg1"/>
                </a:solidFill>
              </a:defRPr>
            </a:lvl3pPr>
            <a:lvl4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bg1"/>
                </a:solidFill>
              </a:defRPr>
            </a:lvl4pPr>
            <a:lvl5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29" hasCustomPrompt="1"/>
          </p:nvPr>
        </p:nvSpPr>
        <p:spPr>
          <a:xfrm>
            <a:off x="5156709" y="1371026"/>
            <a:ext cx="4352712" cy="4442867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b="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</a:defRPr>
            </a:lvl2pPr>
            <a:lvl3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</a:defRPr>
            </a:lvl3pPr>
            <a:lvl4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</a:defRPr>
            </a:lvl4pPr>
            <a:lvl5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71497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4" userDrawn="1">
          <p15:clr>
            <a:srgbClr val="A4A3A4"/>
          </p15:clr>
        </p15:guide>
        <p15:guide id="2" orient="horz" pos="3662" userDrawn="1">
          <p15:clr>
            <a:srgbClr val="A4A3A4"/>
          </p15:clr>
        </p15:guide>
        <p15:guide id="3" pos="3246" userDrawn="1">
          <p15:clr>
            <a:srgbClr val="A4A3A4"/>
          </p15:clr>
        </p15:guide>
        <p15:guide id="4" pos="5988" userDrawn="1">
          <p15:clr>
            <a:srgbClr val="A4A3A4"/>
          </p15:clr>
        </p15:guide>
        <p15:guide id="5" pos="241" userDrawn="1">
          <p15:clr>
            <a:srgbClr val="A4A3A4"/>
          </p15:clr>
        </p15:guide>
        <p15:guide id="6" pos="2994" userDrawn="1">
          <p15:clr>
            <a:srgbClr val="A4A3A4"/>
          </p15:clr>
        </p15:guide>
        <p15:guide id="7" orient="horz" pos="2070" userDrawn="1">
          <p15:clr>
            <a:srgbClr val="A4A3A4"/>
          </p15:clr>
        </p15:guide>
        <p15:guide id="8" orient="horz" pos="2468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å baggrund 1"/>
          <p:cNvSpPr/>
          <p:nvPr userDrawn="1"/>
        </p:nvSpPr>
        <p:spPr>
          <a:xfrm>
            <a:off x="0" y="1110392"/>
            <a:ext cx="4903055" cy="49640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300" noProof="0" dirty="0">
              <a:latin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5003119" y="1110392"/>
            <a:ext cx="4903055" cy="49640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300" noProof="0" dirty="0">
              <a:latin typeface="Orsted Sans Office" panose="00000500000000000000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0065" y="6172465"/>
            <a:ext cx="303837" cy="489878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5152756" y="1371026"/>
            <a:ext cx="4352712" cy="195951"/>
          </a:xfrm>
        </p:spPr>
        <p:txBody>
          <a:bodyPr/>
          <a:lstStyle>
            <a:lvl1pPr>
              <a:lnSpc>
                <a:spcPct val="95000"/>
              </a:lnSpc>
              <a:spcBef>
                <a:spcPts val="1500"/>
              </a:spcBef>
              <a:defRPr sz="1300" baseline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lnSpc>
                <a:spcPct val="96000"/>
              </a:lnSpc>
              <a:spcBef>
                <a:spcPts val="1800"/>
              </a:spcBef>
              <a:defRPr sz="1300">
                <a:solidFill>
                  <a:schemeClr val="tx2"/>
                </a:solidFill>
              </a:defRPr>
            </a:lvl2pPr>
            <a:lvl3pPr>
              <a:lnSpc>
                <a:spcPct val="96000"/>
              </a:lnSpc>
              <a:spcBef>
                <a:spcPts val="1800"/>
              </a:spcBef>
              <a:defRPr sz="1300">
                <a:solidFill>
                  <a:schemeClr val="tx2"/>
                </a:solidFill>
              </a:defRPr>
            </a:lvl3pPr>
            <a:lvl4pPr>
              <a:lnSpc>
                <a:spcPct val="96000"/>
              </a:lnSpc>
              <a:spcBef>
                <a:spcPts val="1800"/>
              </a:spcBef>
              <a:defRPr sz="1300">
                <a:solidFill>
                  <a:schemeClr val="tx2"/>
                </a:solidFill>
              </a:defRPr>
            </a:lvl4pPr>
            <a:lvl5pPr>
              <a:lnSpc>
                <a:spcPct val="96000"/>
              </a:lnSpc>
              <a:spcBef>
                <a:spcPts val="1800"/>
              </a:spcBef>
              <a:defRPr sz="13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add title of the content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9" hasCustomPrompt="1"/>
          </p:nvPr>
        </p:nvSpPr>
        <p:spPr>
          <a:xfrm>
            <a:off x="5152841" y="1564710"/>
            <a:ext cx="4352712" cy="212115"/>
          </a:xfrm>
        </p:spPr>
        <p:txBody>
          <a:bodyPr/>
          <a:lstStyle>
            <a:lvl1pPr>
              <a:lnSpc>
                <a:spcPct val="95000"/>
              </a:lnSpc>
              <a:spcBef>
                <a:spcPts val="1500"/>
              </a:spcBef>
              <a:buNone/>
              <a:defRPr b="0" baseline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30" hasCustomPrompt="1"/>
          </p:nvPr>
        </p:nvSpPr>
        <p:spPr>
          <a:xfrm>
            <a:off x="5152839" y="1880079"/>
            <a:ext cx="4352712" cy="3106406"/>
          </a:xfrm>
        </p:spPr>
        <p:txBody>
          <a:bodyPr/>
          <a:lstStyle>
            <a:lvl1pPr>
              <a:lnSpc>
                <a:spcPct val="95000"/>
              </a:lnSpc>
              <a:spcBef>
                <a:spcPts val="1500"/>
              </a:spcBef>
              <a:defRPr b="0" baseline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1500"/>
              </a:spcBef>
              <a:defRPr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1500"/>
              </a:spcBef>
              <a:defRPr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1500"/>
              </a:spcBef>
              <a:defRPr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1500"/>
              </a:spcBef>
              <a:defRPr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insert conten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5152839" y="5135825"/>
            <a:ext cx="4352712" cy="678068"/>
          </a:xfrm>
        </p:spPr>
        <p:txBody>
          <a:bodyPr/>
          <a:lstStyle>
            <a:lvl1pPr>
              <a:lnSpc>
                <a:spcPct val="95000"/>
              </a:lnSpc>
              <a:spcBef>
                <a:spcPts val="1500"/>
              </a:spcBef>
              <a:defRPr b="0" baseline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</a:lstStyle>
          <a:p>
            <a:pPr lvl="0"/>
            <a:r>
              <a:rPr lang="en-GB" dirty="0"/>
              <a:t>Click to add text</a:t>
            </a:r>
          </a:p>
        </p:txBody>
      </p:sp>
      <p:sp>
        <p:nvSpPr>
          <p:cNvPr id="52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03901" y="6172465"/>
            <a:ext cx="7204490" cy="489878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1pPr>
            <a:lvl2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0064" y="1371026"/>
            <a:ext cx="4352712" cy="4442867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62128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4" userDrawn="1">
          <p15:clr>
            <a:srgbClr val="A4A3A4"/>
          </p15:clr>
        </p15:guide>
        <p15:guide id="2" orient="horz" pos="3662" userDrawn="1">
          <p15:clr>
            <a:srgbClr val="A4A3A4"/>
          </p15:clr>
        </p15:guide>
        <p15:guide id="3" pos="3246" userDrawn="1">
          <p15:clr>
            <a:srgbClr val="A4A3A4"/>
          </p15:clr>
        </p15:guide>
        <p15:guide id="4" pos="5988" userDrawn="1">
          <p15:clr>
            <a:srgbClr val="A4A3A4"/>
          </p15:clr>
        </p15:guide>
        <p15:guide id="5" pos="241" userDrawn="1">
          <p15:clr>
            <a:srgbClr val="A4A3A4"/>
          </p15:clr>
        </p15:guide>
        <p15:guide id="6" pos="2994" userDrawn="1">
          <p15:clr>
            <a:srgbClr val="A4A3A4"/>
          </p15:clr>
        </p15:guide>
        <p15:guide id="7" orient="horz" pos="2070" userDrawn="1">
          <p15:clr>
            <a:srgbClr val="A4A3A4"/>
          </p15:clr>
        </p15:guide>
        <p15:guide id="8" orient="horz" pos="2468" userDrawn="1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079000"/>
              </p:ext>
            </p:extLst>
          </p:nvPr>
        </p:nvGraphicFramePr>
        <p:xfrm>
          <a:off x="1472" y="1441"/>
          <a:ext cx="147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2" y="1441"/>
                        <a:ext cx="147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rå baggrund 1"/>
          <p:cNvSpPr/>
          <p:nvPr userDrawn="1"/>
        </p:nvSpPr>
        <p:spPr>
          <a:xfrm>
            <a:off x="0" y="1110390"/>
            <a:ext cx="4903055" cy="24330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2000" noProof="0" dirty="0">
              <a:latin typeface="Orsted Sans Office" panose="00000500000000000000" pitchFamily="2" charset="0"/>
            </a:endParaRPr>
          </a:p>
        </p:txBody>
      </p:sp>
      <p:sp>
        <p:nvSpPr>
          <p:cNvPr id="8" name="Grå baggrund 2"/>
          <p:cNvSpPr/>
          <p:nvPr userDrawn="1"/>
        </p:nvSpPr>
        <p:spPr>
          <a:xfrm>
            <a:off x="0" y="3641428"/>
            <a:ext cx="4903055" cy="24330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2000" noProof="0" dirty="0">
              <a:latin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5003119" y="1110390"/>
            <a:ext cx="4903055" cy="24330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2000" noProof="0" dirty="0">
              <a:latin typeface="Orsted Sans Office" panose="00000500000000000000" pitchFamily="2" charset="0"/>
            </a:endParaRPr>
          </a:p>
        </p:txBody>
      </p:sp>
      <p:sp>
        <p:nvSpPr>
          <p:cNvPr id="9" name="Grå baggrund 4"/>
          <p:cNvSpPr/>
          <p:nvPr userDrawn="1"/>
        </p:nvSpPr>
        <p:spPr>
          <a:xfrm>
            <a:off x="5003119" y="3641428"/>
            <a:ext cx="4903055" cy="24330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500"/>
              </a:spcBef>
            </a:pPr>
            <a:endParaRPr lang="en-GB" sz="2000" noProof="0" dirty="0">
              <a:latin typeface="Orsted Sans Office" panose="00000500000000000000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0065" y="6172465"/>
            <a:ext cx="303837" cy="489878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2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03901" y="6172465"/>
            <a:ext cx="7204490" cy="489878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1pPr>
            <a:lvl2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0064" y="1371026"/>
            <a:ext cx="4352712" cy="1920323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31" hasCustomPrompt="1"/>
          </p:nvPr>
        </p:nvSpPr>
        <p:spPr>
          <a:xfrm>
            <a:off x="408889" y="3894170"/>
            <a:ext cx="4352712" cy="1920323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32" hasCustomPrompt="1"/>
          </p:nvPr>
        </p:nvSpPr>
        <p:spPr>
          <a:xfrm>
            <a:off x="5165534" y="3894170"/>
            <a:ext cx="4352712" cy="1920323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33" hasCustomPrompt="1"/>
          </p:nvPr>
        </p:nvSpPr>
        <p:spPr>
          <a:xfrm>
            <a:off x="5156709" y="1371026"/>
            <a:ext cx="4352712" cy="1920323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b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1500"/>
              </a:spcBef>
              <a:defRPr sz="13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50212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4" userDrawn="1">
          <p15:clr>
            <a:srgbClr val="A4A3A4"/>
          </p15:clr>
        </p15:guide>
        <p15:guide id="2" orient="horz" pos="3662" userDrawn="1">
          <p15:clr>
            <a:srgbClr val="A4A3A4"/>
          </p15:clr>
        </p15:guide>
        <p15:guide id="3" pos="3246" userDrawn="1">
          <p15:clr>
            <a:srgbClr val="A4A3A4"/>
          </p15:clr>
        </p15:guide>
        <p15:guide id="4" pos="5988" userDrawn="1">
          <p15:clr>
            <a:srgbClr val="A4A3A4"/>
          </p15:clr>
        </p15:guide>
        <p15:guide id="5" pos="241" userDrawn="1">
          <p15:clr>
            <a:srgbClr val="A4A3A4"/>
          </p15:clr>
        </p15:guide>
        <p15:guide id="6" pos="2994" userDrawn="1">
          <p15:clr>
            <a:srgbClr val="A4A3A4"/>
          </p15:clr>
        </p15:guide>
        <p15:guide id="7" orient="horz" pos="2070" userDrawn="1">
          <p15:clr>
            <a:srgbClr val="A4A3A4"/>
          </p15:clr>
        </p15:guide>
        <p15:guide id="8" orient="horz" pos="2460" userDrawn="1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(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rå baggrund 1"/>
          <p:cNvSpPr/>
          <p:nvPr userDrawn="1"/>
        </p:nvSpPr>
        <p:spPr>
          <a:xfrm>
            <a:off x="0" y="1110390"/>
            <a:ext cx="4903055" cy="24330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200"/>
              </a:spcBef>
            </a:pPr>
            <a:endParaRPr lang="en-GB" sz="2000" noProof="0" dirty="0">
              <a:latin typeface="Orsted Sans Office" panose="00000500000000000000" pitchFamily="2" charset="0"/>
            </a:endParaRPr>
          </a:p>
        </p:txBody>
      </p:sp>
      <p:sp>
        <p:nvSpPr>
          <p:cNvPr id="8" name="Grå baggrund 2"/>
          <p:cNvSpPr/>
          <p:nvPr userDrawn="1"/>
        </p:nvSpPr>
        <p:spPr>
          <a:xfrm>
            <a:off x="0" y="3641428"/>
            <a:ext cx="4903055" cy="24330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200"/>
              </a:spcBef>
            </a:pPr>
            <a:endParaRPr lang="en-GB" sz="2000" noProof="0" dirty="0">
              <a:latin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5003119" y="1110390"/>
            <a:ext cx="4903055" cy="24330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200"/>
              </a:spcBef>
            </a:pPr>
            <a:endParaRPr lang="en-GB" sz="2000" noProof="0" dirty="0">
              <a:latin typeface="Orsted Sans Office" panose="00000500000000000000" pitchFamily="2" charset="0"/>
            </a:endParaRPr>
          </a:p>
        </p:txBody>
      </p:sp>
      <p:sp>
        <p:nvSpPr>
          <p:cNvPr id="9" name="Grå baggrund 4"/>
          <p:cNvSpPr/>
          <p:nvPr userDrawn="1"/>
        </p:nvSpPr>
        <p:spPr>
          <a:xfrm>
            <a:off x="5003119" y="3641428"/>
            <a:ext cx="4903055" cy="24330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1200"/>
              </a:spcBef>
            </a:pPr>
            <a:endParaRPr lang="en-GB" sz="2000" noProof="0" dirty="0">
              <a:latin typeface="Orsted Sans Office" panose="00000500000000000000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0065" y="6172465"/>
            <a:ext cx="303837" cy="489878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00062" y="1362265"/>
            <a:ext cx="4352170" cy="146963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1200"/>
              </a:spcBef>
              <a:defRPr sz="1000" baseline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</a:lstStyle>
          <a:p>
            <a:pPr lvl="0"/>
            <a:r>
              <a:rPr lang="en-GB" dirty="0"/>
              <a:t>Click to add title of the content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00061" y="1521990"/>
            <a:ext cx="4352170" cy="146963"/>
          </a:xfrm>
        </p:spPr>
        <p:txBody>
          <a:bodyPr/>
          <a:lstStyle>
            <a:lvl1pPr>
              <a:lnSpc>
                <a:spcPct val="95000"/>
              </a:lnSpc>
              <a:spcBef>
                <a:spcPts val="1200"/>
              </a:spcBef>
              <a:defRPr sz="1000" b="0" baseline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398595" y="3881132"/>
            <a:ext cx="4353639" cy="14724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spcBef>
                <a:spcPts val="0"/>
              </a:spcBef>
              <a:defRPr sz="1000"/>
            </a:lvl2pPr>
            <a:lvl3pPr>
              <a:spcBef>
                <a:spcPts val="0"/>
              </a:spcBef>
              <a:defRPr sz="1000"/>
            </a:lvl3pPr>
            <a:lvl4pPr>
              <a:spcBef>
                <a:spcPts val="0"/>
              </a:spcBef>
              <a:defRPr sz="1000"/>
            </a:lvl4pPr>
            <a:lvl5pPr>
              <a:spcBef>
                <a:spcPts val="0"/>
              </a:spcBef>
              <a:defRPr sz="1000"/>
            </a:lvl5pPr>
          </a:lstStyle>
          <a:p>
            <a:pPr lvl="0"/>
            <a:r>
              <a:rPr lang="en-GB" dirty="0"/>
              <a:t>Click to add title of the content</a:t>
            </a:r>
          </a:p>
        </p:txBody>
      </p:sp>
      <p:sp>
        <p:nvSpPr>
          <p:cNvPr id="36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98595" y="4035352"/>
            <a:ext cx="4353639" cy="146963"/>
          </a:xfrm>
        </p:spPr>
        <p:txBody>
          <a:bodyPr/>
          <a:lstStyle>
            <a:lvl1pPr marL="0" marR="0" indent="0" algn="l" defTabSz="1007943" rtl="0" eaLnBrk="1" fontAlgn="auto" latinLnBrk="0" hangingPunct="1">
              <a:lnSpc>
                <a:spcPct val="95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/>
            </a:lvl2pPr>
            <a:lvl3pPr>
              <a:lnSpc>
                <a:spcPct val="100000"/>
              </a:lnSpc>
              <a:spcBef>
                <a:spcPts val="0"/>
              </a:spcBef>
              <a:defRPr sz="1000"/>
            </a:lvl3pPr>
            <a:lvl4pPr>
              <a:lnSpc>
                <a:spcPct val="100000"/>
              </a:lnSpc>
              <a:spcBef>
                <a:spcPts val="0"/>
              </a:spcBef>
              <a:defRPr sz="1000"/>
            </a:lvl4pPr>
            <a:lvl5pPr>
              <a:lnSpc>
                <a:spcPct val="100000"/>
              </a:lnSpc>
              <a:spcBef>
                <a:spcPts val="0"/>
              </a:spcBef>
              <a:defRPr sz="1000"/>
            </a:lvl5pPr>
          </a:lstStyle>
          <a:p>
            <a:pPr marL="0" marR="0" lvl="0" indent="0" algn="l" defTabSz="10079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Click to add subtitle</a:t>
            </a:r>
          </a:p>
          <a:p>
            <a:pPr lvl="0"/>
            <a:endParaRPr lang="en-GB" dirty="0"/>
          </a:p>
        </p:txBody>
      </p:sp>
      <p:sp>
        <p:nvSpPr>
          <p:cNvPr id="40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5153769" y="1362265"/>
            <a:ext cx="4352169" cy="146963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/>
            </a:lvl2pPr>
            <a:lvl3pPr>
              <a:lnSpc>
                <a:spcPct val="100000"/>
              </a:lnSpc>
              <a:spcBef>
                <a:spcPts val="0"/>
              </a:spcBef>
              <a:defRPr sz="1000"/>
            </a:lvl3pPr>
            <a:lvl4pPr>
              <a:lnSpc>
                <a:spcPct val="100000"/>
              </a:lnSpc>
              <a:spcBef>
                <a:spcPts val="0"/>
              </a:spcBef>
              <a:defRPr sz="1000"/>
            </a:lvl4pPr>
            <a:lvl5pPr>
              <a:lnSpc>
                <a:spcPct val="100000"/>
              </a:lnSpc>
              <a:spcBef>
                <a:spcPts val="0"/>
              </a:spcBef>
              <a:defRPr sz="1000"/>
            </a:lvl5pPr>
          </a:lstStyle>
          <a:p>
            <a:pPr lvl="0"/>
            <a:r>
              <a:rPr lang="en-GB" dirty="0"/>
              <a:t>Click to add title of the content</a:t>
            </a:r>
          </a:p>
        </p:txBody>
      </p:sp>
      <p:sp>
        <p:nvSpPr>
          <p:cNvPr id="42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5153768" y="1521990"/>
            <a:ext cx="4352169" cy="146963"/>
          </a:xfrm>
        </p:spPr>
        <p:txBody>
          <a:bodyPr/>
          <a:lstStyle>
            <a:lvl1pPr>
              <a:lnSpc>
                <a:spcPct val="95000"/>
              </a:lnSpc>
              <a:spcBef>
                <a:spcPts val="1200"/>
              </a:spcBef>
              <a:defRPr sz="1000" b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/>
            </a:lvl2pPr>
            <a:lvl3pPr>
              <a:lnSpc>
                <a:spcPct val="100000"/>
              </a:lnSpc>
              <a:spcBef>
                <a:spcPts val="0"/>
              </a:spcBef>
              <a:defRPr sz="1000"/>
            </a:lvl3pPr>
            <a:lvl4pPr>
              <a:lnSpc>
                <a:spcPct val="100000"/>
              </a:lnSpc>
              <a:spcBef>
                <a:spcPts val="0"/>
              </a:spcBef>
              <a:defRPr sz="1000"/>
            </a:lvl4pPr>
            <a:lvl5pPr>
              <a:lnSpc>
                <a:spcPct val="100000"/>
              </a:lnSpc>
              <a:spcBef>
                <a:spcPts val="0"/>
              </a:spcBef>
              <a:defRPr sz="1000"/>
            </a:lvl5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46" name="Text Placehold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5153769" y="3881132"/>
            <a:ext cx="4352169" cy="14724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/>
            </a:lvl2pPr>
            <a:lvl3pPr>
              <a:lnSpc>
                <a:spcPct val="100000"/>
              </a:lnSpc>
              <a:spcBef>
                <a:spcPts val="0"/>
              </a:spcBef>
              <a:defRPr sz="1000"/>
            </a:lvl3pPr>
            <a:lvl4pPr>
              <a:lnSpc>
                <a:spcPct val="100000"/>
              </a:lnSpc>
              <a:spcBef>
                <a:spcPts val="0"/>
              </a:spcBef>
              <a:defRPr sz="1000"/>
            </a:lvl4pPr>
            <a:lvl5pPr>
              <a:lnSpc>
                <a:spcPct val="100000"/>
              </a:lnSpc>
              <a:spcBef>
                <a:spcPts val="0"/>
              </a:spcBef>
              <a:defRPr sz="1000"/>
            </a:lvl5pPr>
          </a:lstStyle>
          <a:p>
            <a:pPr lvl="0"/>
            <a:r>
              <a:rPr lang="en-GB" dirty="0"/>
              <a:t>Click to add title of the content</a:t>
            </a:r>
          </a:p>
        </p:txBody>
      </p:sp>
      <p:sp>
        <p:nvSpPr>
          <p:cNvPr id="48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5153769" y="4035352"/>
            <a:ext cx="4352169" cy="146963"/>
          </a:xfrm>
        </p:spPr>
        <p:txBody>
          <a:bodyPr/>
          <a:lstStyle>
            <a:lvl1pPr>
              <a:lnSpc>
                <a:spcPct val="95000"/>
              </a:lnSpc>
              <a:spcBef>
                <a:spcPts val="1200"/>
              </a:spcBef>
              <a:defRPr sz="1000" b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/>
            </a:lvl2pPr>
            <a:lvl3pPr>
              <a:lnSpc>
                <a:spcPct val="100000"/>
              </a:lnSpc>
              <a:spcBef>
                <a:spcPts val="0"/>
              </a:spcBef>
              <a:defRPr sz="1000"/>
            </a:lvl3pPr>
            <a:lvl4pPr>
              <a:lnSpc>
                <a:spcPct val="100000"/>
              </a:lnSpc>
              <a:spcBef>
                <a:spcPts val="0"/>
              </a:spcBef>
              <a:defRPr sz="1000"/>
            </a:lvl4pPr>
            <a:lvl5pPr>
              <a:lnSpc>
                <a:spcPct val="100000"/>
              </a:lnSpc>
              <a:spcBef>
                <a:spcPts val="0"/>
              </a:spcBef>
              <a:defRPr sz="1000"/>
            </a:lvl5pPr>
          </a:lstStyle>
          <a:p>
            <a:pPr lvl="0"/>
            <a:r>
              <a:rPr lang="en-GB" dirty="0"/>
              <a:t>Click to add subtitle</a:t>
            </a:r>
          </a:p>
        </p:txBody>
      </p:sp>
      <p:sp>
        <p:nvSpPr>
          <p:cNvPr id="52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03901" y="6172465"/>
            <a:ext cx="7204490" cy="489878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1pPr>
            <a:lvl2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33" hasCustomPrompt="1"/>
          </p:nvPr>
        </p:nvSpPr>
        <p:spPr>
          <a:xfrm>
            <a:off x="408889" y="1733944"/>
            <a:ext cx="4352712" cy="166827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1200"/>
              </a:spcBef>
              <a:buFont typeface="Maine Sans" panose="00000500000000000000" pitchFamily="2" charset="0"/>
              <a:buChar char="–"/>
              <a:defRPr sz="1000" b="0" baseline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34" hasCustomPrompt="1"/>
          </p:nvPr>
        </p:nvSpPr>
        <p:spPr>
          <a:xfrm>
            <a:off x="408889" y="4257089"/>
            <a:ext cx="4352712" cy="166827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1200"/>
              </a:spcBef>
              <a:buFont typeface="Maine Sans" panose="00000500000000000000" pitchFamily="2" charset="0"/>
              <a:buChar char="–"/>
              <a:defRPr sz="1000" b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35" hasCustomPrompt="1"/>
          </p:nvPr>
        </p:nvSpPr>
        <p:spPr>
          <a:xfrm>
            <a:off x="5166878" y="4259865"/>
            <a:ext cx="4352712" cy="166827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1200"/>
              </a:spcBef>
              <a:buFont typeface="Maine Sans" panose="00000500000000000000" pitchFamily="2" charset="0"/>
              <a:buChar char="–"/>
              <a:defRPr sz="1000" b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36" hasCustomPrompt="1"/>
          </p:nvPr>
        </p:nvSpPr>
        <p:spPr>
          <a:xfrm>
            <a:off x="5153224" y="1728828"/>
            <a:ext cx="4352712" cy="1668270"/>
          </a:xfrm>
        </p:spPr>
        <p:txBody>
          <a:bodyPr/>
          <a:lstStyle>
            <a:lvl1pPr marL="216000" indent="-216000">
              <a:lnSpc>
                <a:spcPct val="95000"/>
              </a:lnSpc>
              <a:spcBef>
                <a:spcPts val="1200"/>
              </a:spcBef>
              <a:buFont typeface="Maine Sans" panose="00000500000000000000" pitchFamily="2" charset="0"/>
              <a:buChar char="–"/>
              <a:defRPr sz="1000" b="0">
                <a:solidFill>
                  <a:schemeClr val="tx2"/>
                </a:solidFill>
                <a:latin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1200"/>
              </a:spcBef>
              <a:defRPr sz="1000">
                <a:solidFill>
                  <a:schemeClr val="tx2"/>
                </a:solidFill>
                <a:latin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87227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64" userDrawn="1">
          <p15:clr>
            <a:srgbClr val="A4A3A4"/>
          </p15:clr>
        </p15:guide>
        <p15:guide id="2" orient="horz" pos="3662" userDrawn="1">
          <p15:clr>
            <a:srgbClr val="A4A3A4"/>
          </p15:clr>
        </p15:guide>
        <p15:guide id="3" pos="3246" userDrawn="1">
          <p15:clr>
            <a:srgbClr val="A4A3A4"/>
          </p15:clr>
        </p15:guide>
        <p15:guide id="4" pos="5988" userDrawn="1">
          <p15:clr>
            <a:srgbClr val="A4A3A4"/>
          </p15:clr>
        </p15:guide>
        <p15:guide id="5" pos="241" userDrawn="1">
          <p15:clr>
            <a:srgbClr val="A4A3A4"/>
          </p15:clr>
        </p15:guide>
        <p15:guide id="6" pos="2994" userDrawn="1">
          <p15:clr>
            <a:srgbClr val="A4A3A4"/>
          </p15:clr>
        </p15:guide>
        <p15:guide id="7" orient="horz" pos="2070" userDrawn="1">
          <p15:clr>
            <a:srgbClr val="A4A3A4"/>
          </p15:clr>
        </p15:guide>
        <p15:guide id="8" orient="horz" pos="2460" userDrawn="1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2174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"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>
              <a:defRPr baseline="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26" hasCustomPrompt="1"/>
          </p:nvPr>
        </p:nvSpPr>
        <p:spPr>
          <a:xfrm>
            <a:off x="703901" y="6172465"/>
            <a:ext cx="7204490" cy="489878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1pPr>
            <a:lvl2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300"/>
              </a:spcBef>
              <a:defRPr sz="700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92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"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94245109"/>
              </p:ext>
            </p:extLst>
          </p:nvPr>
        </p:nvGraphicFramePr>
        <p:xfrm>
          <a:off x="1472" y="1441"/>
          <a:ext cx="147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2" name="think-cell Slide" r:id="rId13" imgW="592" imgH="595" progId="TCLayout.ActiveDocument.1">
                  <p:embed/>
                </p:oleObj>
              </mc:Choice>
              <mc:Fallback>
                <p:oleObj name="think-cell Slide" r:id="rId13" imgW="592" imgH="59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2" y="1441"/>
                        <a:ext cx="147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0066" y="326586"/>
            <a:ext cx="9105871" cy="7838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0064" y="1371025"/>
            <a:ext cx="9105872" cy="48014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0065" y="6172465"/>
            <a:ext cx="303837" cy="48987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5000"/>
              </a:lnSpc>
              <a:defRPr sz="700">
                <a:solidFill>
                  <a:schemeClr val="accent6"/>
                </a:solidFill>
                <a:latin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/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9936" y="6459760"/>
            <a:ext cx="756000" cy="202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721" r:id="rId2"/>
    <p:sldLayoutId id="2147483728" r:id="rId3"/>
    <p:sldLayoutId id="2147483731" r:id="rId4"/>
    <p:sldLayoutId id="2147483730" r:id="rId5"/>
    <p:sldLayoutId id="2147483727" r:id="rId6"/>
    <p:sldLayoutId id="2147483726" r:id="rId7"/>
    <p:sldLayoutId id="2147483654" r:id="rId8"/>
    <p:sldLayoutId id="2147483655" r:id="rId9"/>
  </p:sldLayoutIdLst>
  <p:hf hdr="0" ftr="0"/>
  <p:txStyles>
    <p:titleStyle>
      <a:lvl1pPr algn="l" defTabSz="1007943" rtl="0" eaLnBrk="1" latinLnBrk="0" hangingPunct="1">
        <a:lnSpc>
          <a:spcPct val="95000"/>
        </a:lnSpc>
        <a:spcBef>
          <a:spcPct val="0"/>
        </a:spcBef>
        <a:buNone/>
        <a:defRPr sz="2200" b="1" i="0" kern="1200">
          <a:solidFill>
            <a:schemeClr val="accent1"/>
          </a:solidFill>
          <a:latin typeface="Orsted Sans Office" panose="00000500000000000000" pitchFamily="2" charset="0"/>
          <a:ea typeface="+mj-ea"/>
          <a:cs typeface="+mj-cs"/>
        </a:defRPr>
      </a:lvl1pPr>
    </p:titleStyle>
    <p:bodyStyle>
      <a:lvl1pPr marL="0" indent="0" algn="l" defTabSz="1007943" rtl="0" eaLnBrk="1" latinLnBrk="0" hangingPunct="1">
        <a:lnSpc>
          <a:spcPct val="95000"/>
        </a:lnSpc>
        <a:spcBef>
          <a:spcPts val="0"/>
        </a:spcBef>
        <a:buFontTx/>
        <a:buNone/>
        <a:defRPr sz="1300" b="1" kern="1200">
          <a:solidFill>
            <a:schemeClr val="tx2"/>
          </a:solidFill>
          <a:latin typeface="Orsted Sans Office" panose="00000500000000000000" pitchFamily="2" charset="0"/>
          <a:ea typeface="+mn-ea"/>
          <a:cs typeface="+mn-cs"/>
        </a:defRPr>
      </a:lvl1pPr>
      <a:lvl2pPr marL="432000" indent="-216000" algn="l" defTabSz="1007943" rtl="0" eaLnBrk="1" latinLnBrk="0" hangingPunct="1">
        <a:lnSpc>
          <a:spcPct val="95000"/>
        </a:lnSpc>
        <a:spcBef>
          <a:spcPts val="1500"/>
        </a:spcBef>
        <a:buFont typeface="Maine Sans" panose="00000500000000000000" pitchFamily="2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+mn-cs"/>
        </a:defRPr>
      </a:lvl2pPr>
      <a:lvl3pPr marL="648000" indent="-215900" algn="l" defTabSz="1007943" rtl="0" eaLnBrk="1" latinLnBrk="0" hangingPunct="1">
        <a:lnSpc>
          <a:spcPct val="95000"/>
        </a:lnSpc>
        <a:spcBef>
          <a:spcPts val="1500"/>
        </a:spcBef>
        <a:buFont typeface="Maine Sans" panose="00000500000000000000" pitchFamily="2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+mn-cs"/>
        </a:defRPr>
      </a:lvl3pPr>
      <a:lvl4pPr marL="864000" indent="-215900" algn="l" defTabSz="1007943" rtl="0" eaLnBrk="1" latinLnBrk="0" hangingPunct="1">
        <a:lnSpc>
          <a:spcPct val="95000"/>
        </a:lnSpc>
        <a:spcBef>
          <a:spcPts val="1500"/>
        </a:spcBef>
        <a:buFont typeface="Maine Sans" panose="00000500000000000000" pitchFamily="2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+mn-cs"/>
        </a:defRPr>
      </a:lvl4pPr>
      <a:lvl5pPr marL="1080000" indent="-215900" algn="l" defTabSz="1007943" rtl="0" eaLnBrk="1" latinLnBrk="0" hangingPunct="1">
        <a:lnSpc>
          <a:spcPct val="95000"/>
        </a:lnSpc>
        <a:spcBef>
          <a:spcPts val="1500"/>
        </a:spcBef>
        <a:buFont typeface="Maine Sans" panose="00000500000000000000" pitchFamily="2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+mn-cs"/>
        </a:defRPr>
      </a:lvl5pPr>
      <a:lvl6pPr marL="972000" indent="-216000" algn="l" defTabSz="1007943" rtl="0" eaLnBrk="1" latinLnBrk="0" hangingPunct="1">
        <a:lnSpc>
          <a:spcPct val="96000"/>
        </a:lnSpc>
        <a:spcBef>
          <a:spcPts val="120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972000" indent="-216000" algn="l" defTabSz="1007943" rtl="0" eaLnBrk="1" latinLnBrk="0" hangingPunct="1">
        <a:lnSpc>
          <a:spcPct val="96000"/>
        </a:lnSpc>
        <a:spcBef>
          <a:spcPts val="1200"/>
        </a:spcBef>
        <a:buFont typeface="Arial" panose="020B0604020202020204" pitchFamily="34" charset="0"/>
        <a:buChar char="•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972000" indent="-216000" algn="l" defTabSz="1007943" rtl="0" eaLnBrk="1" latinLnBrk="0" hangingPunct="1">
        <a:lnSpc>
          <a:spcPct val="96000"/>
        </a:lnSpc>
        <a:spcBef>
          <a:spcPts val="1200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972000" indent="-216000" algn="l" defTabSz="1007943" rtl="0" eaLnBrk="1" latinLnBrk="0" hangingPunct="1">
        <a:lnSpc>
          <a:spcPct val="96000"/>
        </a:lnSpc>
        <a:spcBef>
          <a:spcPts val="1200"/>
        </a:spcBef>
        <a:buFont typeface="Arial" panose="020B0604020202020204" pitchFamily="34" charset="0"/>
        <a:buChar char="•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205" userDrawn="1">
          <p15:clr>
            <a:srgbClr val="A4A3A4"/>
          </p15:clr>
        </p15:guide>
        <p15:guide id="4" orient="horz" pos="419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9.png"/><Relationship Id="rId2" Type="http://schemas.openxmlformats.org/officeDocument/2006/relationships/tags" Target="../tags/tag7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1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image" Target="../media/image12.emf"/><Relationship Id="rId3" Type="http://schemas.openxmlformats.org/officeDocument/2006/relationships/tags" Target="../tags/tag10.xml"/><Relationship Id="rId21" Type="http://schemas.openxmlformats.org/officeDocument/2006/relationships/image" Target="../media/image13.emf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oleObject" Target="../embeddings/oleObject8.bin"/><Relationship Id="rId2" Type="http://schemas.openxmlformats.org/officeDocument/2006/relationships/tags" Target="../tags/tag9.xml"/><Relationship Id="rId16" Type="http://schemas.openxmlformats.org/officeDocument/2006/relationships/slideLayout" Target="../slideLayouts/slideLayout8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8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10" Type="http://schemas.openxmlformats.org/officeDocument/2006/relationships/tags" Target="../tags/tag17.xml"/><Relationship Id="rId19" Type="http://schemas.openxmlformats.org/officeDocument/2006/relationships/image" Target="../media/image2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tags" Target="../tags/tag47.xml"/><Relationship Id="rId39" Type="http://schemas.openxmlformats.org/officeDocument/2006/relationships/tags" Target="../tags/tag60.xml"/><Relationship Id="rId21" Type="http://schemas.openxmlformats.org/officeDocument/2006/relationships/tags" Target="../tags/tag42.xml"/><Relationship Id="rId34" Type="http://schemas.openxmlformats.org/officeDocument/2006/relationships/tags" Target="../tags/tag55.xml"/><Relationship Id="rId42" Type="http://schemas.openxmlformats.org/officeDocument/2006/relationships/slideLayout" Target="../slideLayouts/slideLayout8.xml"/><Relationship Id="rId47" Type="http://schemas.openxmlformats.org/officeDocument/2006/relationships/image" Target="../media/image16.png"/><Relationship Id="rId50" Type="http://schemas.openxmlformats.org/officeDocument/2006/relationships/image" Target="../media/image19.png"/><Relationship Id="rId55" Type="http://schemas.openxmlformats.org/officeDocument/2006/relationships/image" Target="../media/image24.png"/><Relationship Id="rId63" Type="http://schemas.openxmlformats.org/officeDocument/2006/relationships/hyperlink" Target="https://www.google.no/url?sa=i&amp;rct=j&amp;q=&amp;esrc=s&amp;source=images&amp;cd=&amp;cad=rja&amp;uact=8&amp;ved=0CAcQjRxqFQoTCKy1lqiV3cYCFQr0cgodnq8LsQ&amp;url=https://twitter.com/pggmnieuws/status/601762502251282432&amp;ei=81WmVezvKYroywOe366ICw&amp;bvm=bv.97949915,d.bGQ&amp;psig=AFQjCNHCwmJqGontGM48VnzYegESkPdgTQ&amp;ust=1437050729530535" TargetMode="External"/><Relationship Id="rId68" Type="http://schemas.openxmlformats.org/officeDocument/2006/relationships/image" Target="../media/image36.png"/><Relationship Id="rId7" Type="http://schemas.openxmlformats.org/officeDocument/2006/relationships/tags" Target="../tags/tag28.xml"/><Relationship Id="rId71" Type="http://schemas.openxmlformats.org/officeDocument/2006/relationships/image" Target="../media/image39.png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9" Type="http://schemas.openxmlformats.org/officeDocument/2006/relationships/tags" Target="../tags/tag50.xml"/><Relationship Id="rId1" Type="http://schemas.openxmlformats.org/officeDocument/2006/relationships/vmlDrawing" Target="../drawings/vmlDrawing9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32" Type="http://schemas.openxmlformats.org/officeDocument/2006/relationships/tags" Target="../tags/tag53.xml"/><Relationship Id="rId37" Type="http://schemas.openxmlformats.org/officeDocument/2006/relationships/tags" Target="../tags/tag58.xml"/><Relationship Id="rId40" Type="http://schemas.openxmlformats.org/officeDocument/2006/relationships/tags" Target="../tags/tag61.xml"/><Relationship Id="rId45" Type="http://schemas.openxmlformats.org/officeDocument/2006/relationships/image" Target="../media/image14.png"/><Relationship Id="rId53" Type="http://schemas.openxmlformats.org/officeDocument/2006/relationships/image" Target="../media/image22.png"/><Relationship Id="rId58" Type="http://schemas.openxmlformats.org/officeDocument/2006/relationships/image" Target="../media/image27.png"/><Relationship Id="rId66" Type="http://schemas.openxmlformats.org/officeDocument/2006/relationships/image" Target="../media/image34.png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tags" Target="../tags/tag49.xml"/><Relationship Id="rId36" Type="http://schemas.openxmlformats.org/officeDocument/2006/relationships/tags" Target="../tags/tag57.xml"/><Relationship Id="rId49" Type="http://schemas.openxmlformats.org/officeDocument/2006/relationships/image" Target="../media/image18.png"/><Relationship Id="rId57" Type="http://schemas.openxmlformats.org/officeDocument/2006/relationships/image" Target="../media/image26.png"/><Relationship Id="rId61" Type="http://schemas.openxmlformats.org/officeDocument/2006/relationships/image" Target="../media/image30.png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31" Type="http://schemas.openxmlformats.org/officeDocument/2006/relationships/tags" Target="../tags/tag52.xml"/><Relationship Id="rId44" Type="http://schemas.openxmlformats.org/officeDocument/2006/relationships/image" Target="../media/image12.emf"/><Relationship Id="rId52" Type="http://schemas.openxmlformats.org/officeDocument/2006/relationships/image" Target="../media/image21.png"/><Relationship Id="rId60" Type="http://schemas.openxmlformats.org/officeDocument/2006/relationships/image" Target="../media/image29.jpeg"/><Relationship Id="rId65" Type="http://schemas.openxmlformats.org/officeDocument/2006/relationships/image" Target="../media/image33.png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30" Type="http://schemas.openxmlformats.org/officeDocument/2006/relationships/tags" Target="../tags/tag51.xml"/><Relationship Id="rId35" Type="http://schemas.openxmlformats.org/officeDocument/2006/relationships/tags" Target="../tags/tag56.xml"/><Relationship Id="rId43" Type="http://schemas.openxmlformats.org/officeDocument/2006/relationships/oleObject" Target="../embeddings/oleObject10.bin"/><Relationship Id="rId48" Type="http://schemas.openxmlformats.org/officeDocument/2006/relationships/image" Target="../media/image17.png"/><Relationship Id="rId56" Type="http://schemas.openxmlformats.org/officeDocument/2006/relationships/image" Target="../media/image25.png"/><Relationship Id="rId64" Type="http://schemas.openxmlformats.org/officeDocument/2006/relationships/image" Target="../media/image32.png"/><Relationship Id="rId69" Type="http://schemas.openxmlformats.org/officeDocument/2006/relationships/image" Target="../media/image37.png"/><Relationship Id="rId8" Type="http://schemas.openxmlformats.org/officeDocument/2006/relationships/tags" Target="../tags/tag29.xml"/><Relationship Id="rId51" Type="http://schemas.openxmlformats.org/officeDocument/2006/relationships/image" Target="../media/image20.gif"/><Relationship Id="rId3" Type="http://schemas.openxmlformats.org/officeDocument/2006/relationships/tags" Target="../tags/tag24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tags" Target="../tags/tag54.xml"/><Relationship Id="rId38" Type="http://schemas.openxmlformats.org/officeDocument/2006/relationships/tags" Target="../tags/tag59.xml"/><Relationship Id="rId46" Type="http://schemas.openxmlformats.org/officeDocument/2006/relationships/image" Target="../media/image15.png"/><Relationship Id="rId59" Type="http://schemas.openxmlformats.org/officeDocument/2006/relationships/image" Target="../media/image28.png"/><Relationship Id="rId67" Type="http://schemas.openxmlformats.org/officeDocument/2006/relationships/image" Target="../media/image35.png"/><Relationship Id="rId20" Type="http://schemas.openxmlformats.org/officeDocument/2006/relationships/tags" Target="../tags/tag41.xml"/><Relationship Id="rId41" Type="http://schemas.openxmlformats.org/officeDocument/2006/relationships/tags" Target="../tags/tag62.xml"/><Relationship Id="rId54" Type="http://schemas.openxmlformats.org/officeDocument/2006/relationships/image" Target="../media/image23.png"/><Relationship Id="rId62" Type="http://schemas.openxmlformats.org/officeDocument/2006/relationships/image" Target="../media/image31.png"/><Relationship Id="rId70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44.png"/><Relationship Id="rId3" Type="http://schemas.openxmlformats.org/officeDocument/2006/relationships/tags" Target="../tags/tag64.xml"/><Relationship Id="rId7" Type="http://schemas.openxmlformats.org/officeDocument/2006/relationships/oleObject" Target="../embeddings/oleObject11.bin"/><Relationship Id="rId12" Type="http://schemas.openxmlformats.org/officeDocument/2006/relationships/image" Target="../media/image43.PNG"/><Relationship Id="rId2" Type="http://schemas.openxmlformats.org/officeDocument/2006/relationships/tags" Target="../tags/tag63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8.xml"/><Relationship Id="rId11" Type="http://schemas.openxmlformats.org/officeDocument/2006/relationships/image" Target="../media/image42.PNG"/><Relationship Id="rId5" Type="http://schemas.openxmlformats.org/officeDocument/2006/relationships/tags" Target="../tags/tag66.xml"/><Relationship Id="rId10" Type="http://schemas.openxmlformats.org/officeDocument/2006/relationships/image" Target="../media/image41.emf"/><Relationship Id="rId4" Type="http://schemas.openxmlformats.org/officeDocument/2006/relationships/tags" Target="../tags/tag65.xml"/><Relationship Id="rId9" Type="http://schemas.openxmlformats.org/officeDocument/2006/relationships/image" Target="../media/image40.png"/><Relationship Id="rId14" Type="http://schemas.openxmlformats.org/officeDocument/2006/relationships/image" Target="../media/image45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FB00423-D87D-46B9-BF12-C8C865E9B3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0473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FB00423-D87D-46B9-BF12-C8C865E9B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473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DADF4E7F-0F5D-4D37-9588-486A402724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41" y="0"/>
            <a:ext cx="9906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E1968FD-A2E7-4603-A2D2-70FEF888BB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6000" dirty="0">
                <a:solidFill>
                  <a:schemeClr val="accent1"/>
                </a:solidFill>
              </a:rPr>
              <a:t>Ørsted</a:t>
            </a:r>
            <a:br>
              <a:rPr lang="en-GB" sz="6000" dirty="0">
                <a:solidFill>
                  <a:schemeClr val="accent1"/>
                </a:solidFill>
              </a:rPr>
            </a:br>
            <a:r>
              <a:rPr lang="en-GB" sz="6000" dirty="0">
                <a:solidFill>
                  <a:schemeClr val="accent1"/>
                </a:solidFill>
              </a:rPr>
              <a:t>Wind Pow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9875152-DD19-497F-B905-5F3CAE8A15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0312" y="2555189"/>
            <a:ext cx="8904369" cy="700193"/>
          </a:xfrm>
        </p:spPr>
        <p:txBody>
          <a:bodyPr/>
          <a:lstStyle/>
          <a:p>
            <a:pPr>
              <a:buNone/>
            </a:pPr>
            <a:r>
              <a:rPr lang="en-GB" sz="2500" dirty="0">
                <a:solidFill>
                  <a:schemeClr val="bg1"/>
                </a:solidFill>
              </a:rPr>
              <a:t>Leading the energy </a:t>
            </a:r>
            <a:br>
              <a:rPr lang="en-GB" sz="2500" dirty="0">
                <a:solidFill>
                  <a:schemeClr val="bg1"/>
                </a:solidFill>
              </a:rPr>
            </a:br>
            <a:r>
              <a:rPr lang="en-GB" sz="2500" dirty="0">
                <a:solidFill>
                  <a:schemeClr val="bg1"/>
                </a:solidFill>
              </a:rPr>
              <a:t>transform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13B931-5836-4329-9E89-41FDAD5D9E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0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A523F19-E64D-4A50-8015-0E4337D242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51940" y="6031425"/>
            <a:ext cx="2853980" cy="547508"/>
          </a:xfrm>
        </p:spPr>
        <p:txBody>
          <a:bodyPr/>
          <a:lstStyle/>
          <a:p>
            <a:r>
              <a:rPr lang="en-GB" dirty="0"/>
              <a:t>March 2018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0311" y="6040087"/>
            <a:ext cx="1692000" cy="479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9219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5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78970"/>
            <a:ext cx="3140766" cy="10004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6000"/>
              </a:lnSpc>
            </a:pPr>
            <a:r>
              <a:rPr lang="en-GB" sz="9600" b="1" dirty="0">
                <a:latin typeface="+mj-lt"/>
              </a:rPr>
              <a:t>Q&amp;A</a:t>
            </a:r>
            <a:endParaRPr lang="en-GB" sz="105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155987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1</a:t>
            </a:fld>
            <a:endParaRPr lang="en-GB" dirty="0"/>
          </a:p>
        </p:txBody>
      </p:sp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113" y="334963"/>
            <a:ext cx="9120187" cy="56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4"/>
          <p:cNvSpPr txBox="1">
            <a:spLocks/>
          </p:cNvSpPr>
          <p:nvPr/>
        </p:nvSpPr>
        <p:spPr>
          <a:xfrm>
            <a:off x="660400" y="1189038"/>
            <a:ext cx="8890000" cy="4749800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 algn="l" defTabSz="1007943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4138" indent="-84138">
              <a:defRPr/>
            </a:pPr>
            <a:r>
              <a:rPr lang="en-GB" sz="1200" b="0" dirty="0"/>
              <a:t>Headquartered in Denmark</a:t>
            </a:r>
          </a:p>
          <a:p>
            <a:pPr marL="84138" indent="-84138">
              <a:defRPr/>
            </a:pPr>
            <a:r>
              <a:rPr lang="en-US" sz="1200" b="0" dirty="0"/>
              <a:t>Listed in the Nasdaq OMX: ORSTED</a:t>
            </a:r>
          </a:p>
          <a:p>
            <a:pPr marL="84138" indent="-84138">
              <a:defRPr/>
            </a:pPr>
            <a:r>
              <a:rPr lang="en-US" sz="1200" b="0" dirty="0"/>
              <a:t>5,638 employees </a:t>
            </a:r>
          </a:p>
          <a:p>
            <a:pPr marL="84138" indent="-84138">
              <a:defRPr/>
            </a:pPr>
            <a:r>
              <a:rPr lang="en-US" sz="1200" b="0" dirty="0"/>
              <a:t>Revenue in 2017 DKK 59.5 bn (GBP 7.1 bn / EUR 8.0 bn)</a:t>
            </a:r>
          </a:p>
          <a:p>
            <a:pPr marL="84138" indent="-84138">
              <a:defRPr/>
            </a:pPr>
            <a:r>
              <a:rPr lang="en-US" sz="1200" b="0" dirty="0"/>
              <a:t>EBITDA in 2017 DKK 22.5 bn (GBP 2.7 bn / EUR 3.0 bn )</a:t>
            </a:r>
          </a:p>
          <a:p>
            <a:pPr marL="84138" indent="-84138">
              <a:defRPr/>
            </a:pPr>
            <a:r>
              <a:rPr lang="en-US" sz="1200" b="0" dirty="0"/>
              <a:t>Phase out the use of coal by 2023</a:t>
            </a:r>
          </a:p>
          <a:p>
            <a:pPr marL="84138" indent="-84138">
              <a:defRPr/>
            </a:pPr>
            <a:r>
              <a:rPr lang="en-US" sz="1200" b="0" dirty="0"/>
              <a:t> </a:t>
            </a:r>
            <a:endParaRPr lang="en-US" sz="1000" b="0" dirty="0"/>
          </a:p>
        </p:txBody>
      </p:sp>
      <p:sp>
        <p:nvSpPr>
          <p:cNvPr id="5" name="Rectangle 4"/>
          <p:cNvSpPr/>
          <p:nvPr/>
        </p:nvSpPr>
        <p:spPr>
          <a:xfrm>
            <a:off x="660400" y="3616325"/>
            <a:ext cx="4945063" cy="2162175"/>
          </a:xfrm>
          <a:prstGeom prst="rect">
            <a:avLst/>
          </a:prstGeom>
          <a:solidFill>
            <a:schemeClr val="bg1">
              <a:lumMod val="95000"/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/>
          <a:lstStyle/>
          <a:p>
            <a:pPr algn="ctr" eaLnBrk="1" hangingPunct="1">
              <a:spcAft>
                <a:spcPts val="300"/>
              </a:spcAft>
              <a:defRPr/>
            </a:pP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54074" y="3898900"/>
            <a:ext cx="3806415" cy="1587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/>
          <a:lstStyle/>
          <a:p>
            <a:pPr marL="542925" eaLnBrk="1" hangingPunct="1">
              <a:defRPr/>
            </a:pPr>
            <a:r>
              <a:rPr lang="en-GB" sz="2200" b="1" dirty="0">
                <a:solidFill>
                  <a:schemeClr val="accent1"/>
                </a:solidFill>
              </a:rPr>
              <a:t>83%</a:t>
            </a:r>
            <a:r>
              <a:rPr lang="en-GB" sz="2200" b="1" baseline="30000" dirty="0">
                <a:solidFill>
                  <a:schemeClr val="accent1"/>
                </a:solidFill>
              </a:rPr>
              <a:t>*</a:t>
            </a:r>
            <a:r>
              <a:rPr lang="en-GB" sz="2200" b="1" dirty="0">
                <a:solidFill>
                  <a:schemeClr val="accent1"/>
                </a:solidFill>
              </a:rPr>
              <a:t> </a:t>
            </a:r>
          </a:p>
          <a:p>
            <a:pPr marL="542925" eaLnBrk="1" hangingPunct="1">
              <a:defRPr/>
            </a:pPr>
            <a:r>
              <a:rPr lang="en-GB" sz="2200" b="1" dirty="0">
                <a:solidFill>
                  <a:schemeClr val="accent1"/>
                </a:solidFill>
              </a:rPr>
              <a:t>Wind Power</a:t>
            </a:r>
          </a:p>
          <a:p>
            <a:pPr marL="87313" lvl="1" indent="-87313" eaLnBrk="1" hangingPunct="1">
              <a:spcBef>
                <a:spcPts val="0"/>
              </a:spcBef>
              <a:spcAft>
                <a:spcPts val="900"/>
              </a:spcAft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prstClr val="black"/>
                </a:solidFill>
                <a:cs typeface="Arial" pitchFamily="34" charset="0"/>
              </a:rPr>
              <a:t>Develops, constructs, owns and operates </a:t>
            </a:r>
            <a:r>
              <a:rPr lang="en-GB" sz="1000" dirty="0">
                <a:solidFill>
                  <a:prstClr val="black"/>
                </a:solidFill>
                <a:cs typeface="Arial" pitchFamily="34" charset="0"/>
              </a:rPr>
              <a:t>offshore wind farms in Denmark, Germany, </a:t>
            </a:r>
            <a:r>
              <a:rPr lang="en-US" sz="1000" dirty="0">
                <a:solidFill>
                  <a:prstClr val="black"/>
                </a:solidFill>
                <a:cs typeface="Arial" pitchFamily="34" charset="0"/>
              </a:rPr>
              <a:t>the Netherlands and the UK</a:t>
            </a:r>
          </a:p>
          <a:p>
            <a:pPr marL="87313" lvl="1" indent="-87313" eaLnBrk="1" hangingPunct="1">
              <a:spcBef>
                <a:spcPts val="0"/>
              </a:spcBef>
              <a:spcAft>
                <a:spcPts val="900"/>
              </a:spcAft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prstClr val="black"/>
                </a:solidFill>
                <a:cs typeface="Arial" pitchFamily="34" charset="0"/>
              </a:rPr>
              <a:t>Development projects in Taiwan and the USA</a:t>
            </a:r>
            <a:endParaRPr lang="en-GB" sz="10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873750" y="3616325"/>
            <a:ext cx="3546475" cy="914400"/>
          </a:xfrm>
          <a:prstGeom prst="rect">
            <a:avLst/>
          </a:prstGeom>
          <a:solidFill>
            <a:schemeClr val="bg1">
              <a:lumMod val="95000"/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/>
          <a:lstStyle/>
          <a:p>
            <a:pPr marL="542925" eaLnBrk="1" hangingPunct="1">
              <a:defRPr/>
            </a:pPr>
            <a:r>
              <a:rPr lang="en-GB" sz="1600" b="1" dirty="0">
                <a:solidFill>
                  <a:schemeClr val="accent1"/>
                </a:solidFill>
              </a:rPr>
              <a:t>4%</a:t>
            </a:r>
            <a:r>
              <a:rPr lang="en-GB" sz="1600" b="1" baseline="30000" dirty="0">
                <a:solidFill>
                  <a:schemeClr val="accent1"/>
                </a:solidFill>
              </a:rPr>
              <a:t>*</a:t>
            </a:r>
            <a:r>
              <a:rPr lang="en-GB" sz="1600" b="1" dirty="0">
                <a:solidFill>
                  <a:schemeClr val="accent1"/>
                </a:solidFill>
              </a:rPr>
              <a:t> Bioenergy &amp; </a:t>
            </a:r>
          </a:p>
          <a:p>
            <a:pPr marL="542925" eaLnBrk="1" hangingPunct="1">
              <a:defRPr/>
            </a:pPr>
            <a:r>
              <a:rPr lang="en-GB" sz="1600" b="1" dirty="0">
                <a:solidFill>
                  <a:schemeClr val="accent1"/>
                </a:solidFill>
              </a:rPr>
              <a:t>Thermal Power</a:t>
            </a:r>
          </a:p>
          <a:p>
            <a:pPr marL="180975" indent="-90488" eaLnBrk="1" hangingPunct="1"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prstClr val="black"/>
                </a:solidFill>
                <a:cs typeface="Arial" pitchFamily="34" charset="0"/>
              </a:rPr>
              <a:t>Generates and sells power and heat to customers </a:t>
            </a:r>
            <a:r>
              <a:rPr lang="da-DK" sz="1000" dirty="0">
                <a:solidFill>
                  <a:prstClr val="black"/>
                </a:solidFill>
                <a:cs typeface="Arial" pitchFamily="34" charset="0"/>
              </a:rPr>
              <a:t>in Denmark and Northwestern Europ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873750" y="4743450"/>
            <a:ext cx="3546475" cy="1035050"/>
          </a:xfrm>
          <a:prstGeom prst="rect">
            <a:avLst/>
          </a:prstGeom>
          <a:solidFill>
            <a:schemeClr val="bg1">
              <a:lumMod val="95000"/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/>
          <a:lstStyle/>
          <a:p>
            <a:pPr marL="542925" eaLnBrk="1" hangingPunct="1">
              <a:defRPr/>
            </a:pPr>
            <a:r>
              <a:rPr lang="en-GB" sz="1600" b="1" dirty="0">
                <a:solidFill>
                  <a:schemeClr val="accent1"/>
                </a:solidFill>
              </a:rPr>
              <a:t>13%</a:t>
            </a:r>
            <a:r>
              <a:rPr lang="en-GB" sz="1600" b="1" baseline="30000" dirty="0">
                <a:solidFill>
                  <a:schemeClr val="accent1"/>
                </a:solidFill>
              </a:rPr>
              <a:t>*</a:t>
            </a:r>
            <a:r>
              <a:rPr lang="en-GB" sz="1600" b="1" dirty="0">
                <a:solidFill>
                  <a:schemeClr val="accent1"/>
                </a:solidFill>
              </a:rPr>
              <a:t> Distribution &amp; </a:t>
            </a:r>
          </a:p>
          <a:p>
            <a:pPr marL="542925" eaLnBrk="1" hangingPunct="1">
              <a:defRPr/>
            </a:pPr>
            <a:r>
              <a:rPr lang="en-GB" sz="1600" b="1" dirty="0">
                <a:solidFill>
                  <a:schemeClr val="accent1"/>
                </a:solidFill>
              </a:rPr>
              <a:t>Customer Solutions</a:t>
            </a:r>
          </a:p>
          <a:p>
            <a:pPr eaLnBrk="1" hangingPunct="1">
              <a:defRPr/>
            </a:pPr>
            <a:endParaRPr lang="en-US" sz="1000" dirty="0">
              <a:solidFill>
                <a:prstClr val="black"/>
              </a:solidFill>
              <a:cs typeface="Arial" pitchFamily="34" charset="0"/>
            </a:endParaRPr>
          </a:p>
          <a:p>
            <a:pPr marL="180975" indent="-90488" eaLnBrk="1" hangingPunct="1"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prstClr val="black"/>
                </a:solidFill>
                <a:cs typeface="Arial" pitchFamily="34" charset="0"/>
              </a:rPr>
              <a:t>Power distribution grid on Zealand and sale of power and gas to customers in </a:t>
            </a:r>
            <a:r>
              <a:rPr lang="da-DK" sz="1000" dirty="0">
                <a:solidFill>
                  <a:prstClr val="black"/>
                </a:solidFill>
                <a:cs typeface="Arial" pitchFamily="34" charset="0"/>
              </a:rPr>
              <a:t>Northwestern Europe</a:t>
            </a:r>
          </a:p>
        </p:txBody>
      </p:sp>
      <p:sp>
        <p:nvSpPr>
          <p:cNvPr id="20" name="Title 2"/>
          <p:cNvSpPr txBox="1">
            <a:spLocks/>
          </p:cNvSpPr>
          <p:nvPr/>
        </p:nvSpPr>
        <p:spPr>
          <a:xfrm>
            <a:off x="407988" y="338138"/>
            <a:ext cx="9107487" cy="687387"/>
          </a:xfrm>
          <a:prstGeom prst="rect">
            <a:avLst/>
          </a:prstGeom>
        </p:spPr>
        <p:txBody>
          <a:bodyPr/>
          <a:lstStyle>
            <a:lvl1pPr algn="l" defTabSz="1007943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200" b="1" i="0" kern="1200">
                <a:solidFill>
                  <a:schemeClr val="accent1"/>
                </a:solidFill>
                <a:latin typeface="Orsted Sans Office" panose="00000500000000000000" pitchFamily="2" charset="0"/>
                <a:ea typeface="+mj-ea"/>
                <a:cs typeface="+mj-cs"/>
              </a:defRPr>
            </a:lvl1pPr>
          </a:lstStyle>
          <a:p>
            <a:r>
              <a:rPr lang="en-US" altLang="da-DK" sz="2400" dirty="0">
                <a:latin typeface="Orsted Sans Office" panose="020B0604020202020204" charset="0"/>
              </a:rPr>
              <a:t>Ørsted at a glance</a:t>
            </a:r>
            <a:endParaRPr lang="en-GB" altLang="da-DK" sz="2400" dirty="0">
              <a:latin typeface="Orsted Sans Office" panose="020B060402020202020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92113" y="5940768"/>
            <a:ext cx="9120187" cy="200055"/>
          </a:xfrm>
          <a:prstGeom prst="rect">
            <a:avLst/>
          </a:prstGeom>
          <a:noFill/>
        </p:spPr>
        <p:txBody>
          <a:bodyPr lIns="0" rIns="0">
            <a:spAutoFit/>
          </a:bodyPr>
          <a:lstStyle/>
          <a:p>
            <a:pPr marL="179388" indent="-179388" eaLnBrk="1" hangingPunct="1">
              <a:defRPr/>
            </a:pPr>
            <a:r>
              <a:rPr lang="en-US" sz="700" dirty="0"/>
              <a:t>* Share of the Ørsted Group’s capital employed, Annual Report 2017</a:t>
            </a: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0899" y="4026726"/>
            <a:ext cx="503999" cy="503999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29569" y="3664776"/>
            <a:ext cx="503999" cy="503999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29569" y="4770850"/>
            <a:ext cx="503999" cy="50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576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3" name="Object 19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9" name="think-cell Slide" r:id="rId4" imgW="352" imgH="353" progId="TCLayout.ActiveDocument.1">
                  <p:embed/>
                </p:oleObj>
              </mc:Choice>
              <mc:Fallback>
                <p:oleObj name="think-cell Slide" r:id="rId4" imgW="352" imgH="353" progId="TCLayout.ActiveDocument.1">
                  <p:embed/>
                  <p:pic>
                    <p:nvPicPr>
                      <p:cNvPr id="193" name="Object 19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2</a:t>
            </a:fld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6408943" y="1142871"/>
            <a:ext cx="3167261" cy="19709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72000" rIns="0" bIns="72000" anchor="ctr" anchorCtr="0"/>
          <a:lstStyle/>
          <a:p>
            <a:pPr defTabSz="1007943">
              <a:lnSpc>
                <a:spcPct val="95000"/>
              </a:lnSpc>
              <a:spcBef>
                <a:spcPts val="1500"/>
              </a:spcBef>
              <a:buSzPct val="80000"/>
            </a:pPr>
            <a:r>
              <a:rPr lang="en-GB" sz="1200" b="1" dirty="0">
                <a:solidFill>
                  <a:schemeClr val="tx2"/>
                </a:solidFill>
                <a:latin typeface="Orsted Sans Office" panose="00000500000000000000" pitchFamily="2" charset="0"/>
              </a:rPr>
              <a:t>Unparalleled experience and track record</a:t>
            </a:r>
          </a:p>
        </p:txBody>
      </p:sp>
      <p:sp>
        <p:nvSpPr>
          <p:cNvPr id="5" name="Content Placeholder 12"/>
          <p:cNvSpPr txBox="1">
            <a:spLocks/>
          </p:cNvSpPr>
          <p:nvPr/>
        </p:nvSpPr>
        <p:spPr bwMode="auto">
          <a:xfrm>
            <a:off x="358774" y="1142871"/>
            <a:ext cx="5962378" cy="180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72000" rIns="36000" bIns="72000" anchor="ctr" anchorCtr="0"/>
          <a:lstStyle>
            <a:defPPr lvl="0">
              <a:defRPr lang="da-DK"/>
            </a:defPPr>
            <a:lvl1pPr>
              <a:spcBef>
                <a:spcPts val="300"/>
              </a:spcBef>
              <a:buSzPct val="80000"/>
              <a:defRPr sz="1100" b="1">
                <a:solidFill>
                  <a:prstClr val="white"/>
                </a:solidFill>
              </a:defRPr>
            </a:lvl1pPr>
          </a:lstStyle>
          <a:p>
            <a:pPr defTabSz="1007943">
              <a:lnSpc>
                <a:spcPct val="95000"/>
              </a:lnSpc>
              <a:spcBef>
                <a:spcPts val="1500"/>
              </a:spcBef>
            </a:pPr>
            <a:r>
              <a:rPr lang="en-GB" sz="1200" dirty="0">
                <a:solidFill>
                  <a:schemeClr val="tx2"/>
                </a:solidFill>
                <a:latin typeface="Orsted Sans Office" panose="00000500000000000000" pitchFamily="2" charset="0"/>
              </a:rPr>
              <a:t>Global footprint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358774" y="1339963"/>
            <a:ext cx="2058706" cy="1213200"/>
          </a:xfrm>
          <a:prstGeom prst="rect">
            <a:avLst/>
          </a:prstGeom>
          <a:noFill/>
          <a:ln w="635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>
              <a:spcBef>
                <a:spcPts val="300"/>
              </a:spcBef>
              <a:spcAft>
                <a:spcPts val="300"/>
              </a:spcAft>
              <a:buSzPct val="80000"/>
            </a:pPr>
            <a:endParaRPr lang="en-GB" sz="1000" b="1" dirty="0"/>
          </a:p>
        </p:txBody>
      </p:sp>
      <p:sp>
        <p:nvSpPr>
          <p:cNvPr id="9" name="Rectangle 8"/>
          <p:cNvSpPr/>
          <p:nvPr/>
        </p:nvSpPr>
        <p:spPr bwMode="auto">
          <a:xfrm>
            <a:off x="6408944" y="1339964"/>
            <a:ext cx="3080560" cy="4764002"/>
          </a:xfrm>
          <a:prstGeom prst="rect">
            <a:avLst/>
          </a:prstGeom>
          <a:noFill/>
          <a:ln w="635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>
              <a:spcBef>
                <a:spcPts val="300"/>
              </a:spcBef>
              <a:spcAft>
                <a:spcPts val="300"/>
              </a:spcAft>
              <a:buSzPct val="80000"/>
            </a:pPr>
            <a:endParaRPr lang="en-GB" sz="1000" b="1" dirty="0"/>
          </a:p>
        </p:txBody>
      </p:sp>
      <p:sp>
        <p:nvSpPr>
          <p:cNvPr id="10" name="Rectangle 9"/>
          <p:cNvSpPr/>
          <p:nvPr/>
        </p:nvSpPr>
        <p:spPr bwMode="auto">
          <a:xfrm>
            <a:off x="358774" y="1339963"/>
            <a:ext cx="5962378" cy="4764002"/>
          </a:xfrm>
          <a:prstGeom prst="rect">
            <a:avLst/>
          </a:prstGeom>
          <a:noFill/>
          <a:ln w="635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>
              <a:spcBef>
                <a:spcPts val="300"/>
              </a:spcBef>
              <a:spcAft>
                <a:spcPts val="300"/>
              </a:spcAft>
              <a:buSzPct val="80000"/>
            </a:pPr>
            <a:endParaRPr lang="en-GB" sz="1000" b="1" dirty="0"/>
          </a:p>
        </p:txBody>
      </p:sp>
      <p:grpSp>
        <p:nvGrpSpPr>
          <p:cNvPr id="11" name="Group 10"/>
          <p:cNvGrpSpPr/>
          <p:nvPr/>
        </p:nvGrpSpPr>
        <p:grpSpPr bwMode="gray">
          <a:xfrm>
            <a:off x="1495236" y="2281488"/>
            <a:ext cx="4822579" cy="3788985"/>
            <a:chOff x="454414" y="2574309"/>
            <a:chExt cx="4927833" cy="3414927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12" name="Freeform 1556"/>
            <p:cNvSpPr>
              <a:spLocks/>
            </p:cNvSpPr>
            <p:nvPr/>
          </p:nvSpPr>
          <p:spPr bwMode="gray">
            <a:xfrm>
              <a:off x="905638" y="3726118"/>
              <a:ext cx="439354" cy="308734"/>
            </a:xfrm>
            <a:custGeom>
              <a:avLst/>
              <a:gdLst>
                <a:gd name="T0" fmla="*/ 22225 w 37"/>
                <a:gd name="T1" fmla="*/ 0 h 26"/>
                <a:gd name="T2" fmla="*/ 14288 w 37"/>
                <a:gd name="T3" fmla="*/ 6350 h 26"/>
                <a:gd name="T4" fmla="*/ 11113 w 37"/>
                <a:gd name="T5" fmla="*/ 11113 h 26"/>
                <a:gd name="T6" fmla="*/ 11113 w 37"/>
                <a:gd name="T7" fmla="*/ 11113 h 26"/>
                <a:gd name="T8" fmla="*/ 11113 w 37"/>
                <a:gd name="T9" fmla="*/ 14288 h 26"/>
                <a:gd name="T10" fmla="*/ 11113 w 37"/>
                <a:gd name="T11" fmla="*/ 19050 h 26"/>
                <a:gd name="T12" fmla="*/ 6350 w 37"/>
                <a:gd name="T13" fmla="*/ 19050 h 26"/>
                <a:gd name="T14" fmla="*/ 3175 w 37"/>
                <a:gd name="T15" fmla="*/ 22225 h 26"/>
                <a:gd name="T16" fmla="*/ 0 w 37"/>
                <a:gd name="T17" fmla="*/ 22225 h 26"/>
                <a:gd name="T18" fmla="*/ 0 w 37"/>
                <a:gd name="T19" fmla="*/ 22225 h 26"/>
                <a:gd name="T20" fmla="*/ 3175 w 37"/>
                <a:gd name="T21" fmla="*/ 25400 h 26"/>
                <a:gd name="T22" fmla="*/ 3175 w 37"/>
                <a:gd name="T23" fmla="*/ 30163 h 26"/>
                <a:gd name="T24" fmla="*/ 3175 w 37"/>
                <a:gd name="T25" fmla="*/ 30163 h 26"/>
                <a:gd name="T26" fmla="*/ 3175 w 37"/>
                <a:gd name="T27" fmla="*/ 30163 h 26"/>
                <a:gd name="T28" fmla="*/ 6350 w 37"/>
                <a:gd name="T29" fmla="*/ 30163 h 26"/>
                <a:gd name="T30" fmla="*/ 11113 w 37"/>
                <a:gd name="T31" fmla="*/ 33338 h 26"/>
                <a:gd name="T32" fmla="*/ 11113 w 37"/>
                <a:gd name="T33" fmla="*/ 33338 h 26"/>
                <a:gd name="T34" fmla="*/ 11113 w 37"/>
                <a:gd name="T35" fmla="*/ 41275 h 26"/>
                <a:gd name="T36" fmla="*/ 14288 w 37"/>
                <a:gd name="T37" fmla="*/ 41275 h 26"/>
                <a:gd name="T38" fmla="*/ 17463 w 37"/>
                <a:gd name="T39" fmla="*/ 36513 h 26"/>
                <a:gd name="T40" fmla="*/ 22225 w 37"/>
                <a:gd name="T41" fmla="*/ 36513 h 26"/>
                <a:gd name="T42" fmla="*/ 41275 w 37"/>
                <a:gd name="T43" fmla="*/ 41275 h 26"/>
                <a:gd name="T44" fmla="*/ 44450 w 37"/>
                <a:gd name="T45" fmla="*/ 33338 h 26"/>
                <a:gd name="T46" fmla="*/ 58738 w 37"/>
                <a:gd name="T47" fmla="*/ 33338 h 26"/>
                <a:gd name="T48" fmla="*/ 58738 w 37"/>
                <a:gd name="T49" fmla="*/ 30163 h 26"/>
                <a:gd name="T50" fmla="*/ 52388 w 37"/>
                <a:gd name="T51" fmla="*/ 30163 h 26"/>
                <a:gd name="T52" fmla="*/ 52388 w 37"/>
                <a:gd name="T53" fmla="*/ 14288 h 26"/>
                <a:gd name="T54" fmla="*/ 47625 w 37"/>
                <a:gd name="T55" fmla="*/ 11113 h 26"/>
                <a:gd name="T56" fmla="*/ 52388 w 37"/>
                <a:gd name="T57" fmla="*/ 3175 h 26"/>
                <a:gd name="T58" fmla="*/ 47625 w 37"/>
                <a:gd name="T59" fmla="*/ 0 h 26"/>
                <a:gd name="T60" fmla="*/ 47625 w 37"/>
                <a:gd name="T61" fmla="*/ 0 h 26"/>
                <a:gd name="T62" fmla="*/ 41275 w 37"/>
                <a:gd name="T63" fmla="*/ 0 h 26"/>
                <a:gd name="T64" fmla="*/ 33338 w 37"/>
                <a:gd name="T65" fmla="*/ 0 h 26"/>
                <a:gd name="T66" fmla="*/ 22225 w 37"/>
                <a:gd name="T67" fmla="*/ 6350 h 26"/>
                <a:gd name="T68" fmla="*/ 22225 w 37"/>
                <a:gd name="T69" fmla="*/ 6350 h 26"/>
                <a:gd name="T70" fmla="*/ 25400 w 37"/>
                <a:gd name="T71" fmla="*/ 0 h 26"/>
                <a:gd name="T72" fmla="*/ 25400 w 37"/>
                <a:gd name="T73" fmla="*/ 0 h 26"/>
                <a:gd name="T74" fmla="*/ 25400 w 37"/>
                <a:gd name="T75" fmla="*/ 0 h 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7"/>
                <a:gd name="T115" fmla="*/ 0 h 26"/>
                <a:gd name="T116" fmla="*/ 37 w 37"/>
                <a:gd name="T117" fmla="*/ 26 h 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7" h="26">
                  <a:moveTo>
                    <a:pt x="16" y="0"/>
                  </a:moveTo>
                  <a:lnTo>
                    <a:pt x="14" y="0"/>
                  </a:lnTo>
                  <a:lnTo>
                    <a:pt x="11" y="2"/>
                  </a:lnTo>
                  <a:lnTo>
                    <a:pt x="9" y="4"/>
                  </a:lnTo>
                  <a:lnTo>
                    <a:pt x="7" y="4"/>
                  </a:lnTo>
                  <a:lnTo>
                    <a:pt x="7" y="7"/>
                  </a:lnTo>
                  <a:lnTo>
                    <a:pt x="7" y="9"/>
                  </a:lnTo>
                  <a:lnTo>
                    <a:pt x="7" y="12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2" y="19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7" y="23"/>
                  </a:lnTo>
                  <a:lnTo>
                    <a:pt x="7" y="26"/>
                  </a:lnTo>
                  <a:lnTo>
                    <a:pt x="9" y="26"/>
                  </a:lnTo>
                  <a:lnTo>
                    <a:pt x="11" y="23"/>
                  </a:lnTo>
                  <a:lnTo>
                    <a:pt x="14" y="23"/>
                  </a:lnTo>
                  <a:lnTo>
                    <a:pt x="16" y="26"/>
                  </a:lnTo>
                  <a:lnTo>
                    <a:pt x="26" y="26"/>
                  </a:lnTo>
                  <a:lnTo>
                    <a:pt x="26" y="23"/>
                  </a:lnTo>
                  <a:lnTo>
                    <a:pt x="28" y="21"/>
                  </a:lnTo>
                  <a:lnTo>
                    <a:pt x="33" y="21"/>
                  </a:lnTo>
                  <a:lnTo>
                    <a:pt x="37" y="21"/>
                  </a:lnTo>
                  <a:lnTo>
                    <a:pt x="37" y="19"/>
                  </a:lnTo>
                  <a:lnTo>
                    <a:pt x="35" y="19"/>
                  </a:lnTo>
                  <a:lnTo>
                    <a:pt x="33" y="19"/>
                  </a:lnTo>
                  <a:lnTo>
                    <a:pt x="33" y="14"/>
                  </a:lnTo>
                  <a:lnTo>
                    <a:pt x="33" y="9"/>
                  </a:lnTo>
                  <a:lnTo>
                    <a:pt x="28" y="9"/>
                  </a:lnTo>
                  <a:lnTo>
                    <a:pt x="30" y="7"/>
                  </a:lnTo>
                  <a:lnTo>
                    <a:pt x="30" y="2"/>
                  </a:lnTo>
                  <a:lnTo>
                    <a:pt x="33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19" y="2"/>
                  </a:lnTo>
                  <a:lnTo>
                    <a:pt x="14" y="4"/>
                  </a:lnTo>
                  <a:lnTo>
                    <a:pt x="11" y="7"/>
                  </a:lnTo>
                  <a:lnTo>
                    <a:pt x="14" y="4"/>
                  </a:lnTo>
                  <a:lnTo>
                    <a:pt x="16" y="2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3" name="Freeform 1557"/>
            <p:cNvSpPr>
              <a:spLocks/>
            </p:cNvSpPr>
            <p:nvPr/>
          </p:nvSpPr>
          <p:spPr bwMode="gray">
            <a:xfrm>
              <a:off x="1238119" y="3381765"/>
              <a:ext cx="59375" cy="118743"/>
            </a:xfrm>
            <a:custGeom>
              <a:avLst/>
              <a:gdLst>
                <a:gd name="T0" fmla="*/ 3175 w 5"/>
                <a:gd name="T1" fmla="*/ 4763 h 10"/>
                <a:gd name="T2" fmla="*/ 3175 w 5"/>
                <a:gd name="T3" fmla="*/ 4763 h 10"/>
                <a:gd name="T4" fmla="*/ 0 w 5"/>
                <a:gd name="T5" fmla="*/ 12700 h 10"/>
                <a:gd name="T6" fmla="*/ 0 w 5"/>
                <a:gd name="T7" fmla="*/ 12700 h 10"/>
                <a:gd name="T8" fmla="*/ 0 w 5"/>
                <a:gd name="T9" fmla="*/ 15875 h 10"/>
                <a:gd name="T10" fmla="*/ 3175 w 5"/>
                <a:gd name="T11" fmla="*/ 15875 h 10"/>
                <a:gd name="T12" fmla="*/ 3175 w 5"/>
                <a:gd name="T13" fmla="*/ 15875 h 10"/>
                <a:gd name="T14" fmla="*/ 3175 w 5"/>
                <a:gd name="T15" fmla="*/ 15875 h 10"/>
                <a:gd name="T16" fmla="*/ 3175 w 5"/>
                <a:gd name="T17" fmla="*/ 15875 h 10"/>
                <a:gd name="T18" fmla="*/ 3175 w 5"/>
                <a:gd name="T19" fmla="*/ 12700 h 10"/>
                <a:gd name="T20" fmla="*/ 7938 w 5"/>
                <a:gd name="T21" fmla="*/ 7938 h 10"/>
                <a:gd name="T22" fmla="*/ 7938 w 5"/>
                <a:gd name="T23" fmla="*/ 4763 h 10"/>
                <a:gd name="T24" fmla="*/ 7938 w 5"/>
                <a:gd name="T25" fmla="*/ 0 h 10"/>
                <a:gd name="T26" fmla="*/ 7938 w 5"/>
                <a:gd name="T27" fmla="*/ 0 h 10"/>
                <a:gd name="T28" fmla="*/ 7938 w 5"/>
                <a:gd name="T29" fmla="*/ 0 h 10"/>
                <a:gd name="T30" fmla="*/ 3175 w 5"/>
                <a:gd name="T31" fmla="*/ 0 h 10"/>
                <a:gd name="T32" fmla="*/ 3175 w 5"/>
                <a:gd name="T33" fmla="*/ 4763 h 10"/>
                <a:gd name="T34" fmla="*/ 3175 w 5"/>
                <a:gd name="T35" fmla="*/ 4763 h 10"/>
                <a:gd name="T36" fmla="*/ 3175 w 5"/>
                <a:gd name="T37" fmla="*/ 4763 h 10"/>
                <a:gd name="T38" fmla="*/ 3175 w 5"/>
                <a:gd name="T39" fmla="*/ 4763 h 1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"/>
                <a:gd name="T61" fmla="*/ 0 h 10"/>
                <a:gd name="T62" fmla="*/ 5 w 5"/>
                <a:gd name="T63" fmla="*/ 10 h 1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" h="10">
                  <a:moveTo>
                    <a:pt x="2" y="3"/>
                  </a:moveTo>
                  <a:lnTo>
                    <a:pt x="2" y="3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5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4" name="Freeform 1558"/>
            <p:cNvSpPr>
              <a:spLocks/>
            </p:cNvSpPr>
            <p:nvPr/>
          </p:nvSpPr>
          <p:spPr bwMode="gray">
            <a:xfrm>
              <a:off x="1178744" y="3298641"/>
              <a:ext cx="83124" cy="118743"/>
            </a:xfrm>
            <a:custGeom>
              <a:avLst/>
              <a:gdLst>
                <a:gd name="T0" fmla="*/ 0 w 7"/>
                <a:gd name="T1" fmla="*/ 0 h 10"/>
                <a:gd name="T2" fmla="*/ 0 w 7"/>
                <a:gd name="T3" fmla="*/ 0 h 10"/>
                <a:gd name="T4" fmla="*/ 0 w 7"/>
                <a:gd name="T5" fmla="*/ 7938 h 10"/>
                <a:gd name="T6" fmla="*/ 0 w 7"/>
                <a:gd name="T7" fmla="*/ 7938 h 10"/>
                <a:gd name="T8" fmla="*/ 0 w 7"/>
                <a:gd name="T9" fmla="*/ 11113 h 10"/>
                <a:gd name="T10" fmla="*/ 4763 w 7"/>
                <a:gd name="T11" fmla="*/ 11113 h 10"/>
                <a:gd name="T12" fmla="*/ 4763 w 7"/>
                <a:gd name="T13" fmla="*/ 15875 h 10"/>
                <a:gd name="T14" fmla="*/ 7938 w 7"/>
                <a:gd name="T15" fmla="*/ 15875 h 10"/>
                <a:gd name="T16" fmla="*/ 7938 w 7"/>
                <a:gd name="T17" fmla="*/ 15875 h 10"/>
                <a:gd name="T18" fmla="*/ 7938 w 7"/>
                <a:gd name="T19" fmla="*/ 15875 h 10"/>
                <a:gd name="T20" fmla="*/ 11113 w 7"/>
                <a:gd name="T21" fmla="*/ 11113 h 10"/>
                <a:gd name="T22" fmla="*/ 11113 w 7"/>
                <a:gd name="T23" fmla="*/ 11113 h 10"/>
                <a:gd name="T24" fmla="*/ 11113 w 7"/>
                <a:gd name="T25" fmla="*/ 11113 h 10"/>
                <a:gd name="T26" fmla="*/ 11113 w 7"/>
                <a:gd name="T27" fmla="*/ 11113 h 10"/>
                <a:gd name="T28" fmla="*/ 11113 w 7"/>
                <a:gd name="T29" fmla="*/ 7938 h 10"/>
                <a:gd name="T30" fmla="*/ 11113 w 7"/>
                <a:gd name="T31" fmla="*/ 7938 h 10"/>
                <a:gd name="T32" fmla="*/ 7938 w 7"/>
                <a:gd name="T33" fmla="*/ 4763 h 10"/>
                <a:gd name="T34" fmla="*/ 4763 w 7"/>
                <a:gd name="T35" fmla="*/ 0 h 10"/>
                <a:gd name="T36" fmla="*/ 0 w 7"/>
                <a:gd name="T37" fmla="*/ 0 h 10"/>
                <a:gd name="T38" fmla="*/ 0 w 7"/>
                <a:gd name="T39" fmla="*/ 0 h 10"/>
                <a:gd name="T40" fmla="*/ 0 w 7"/>
                <a:gd name="T41" fmla="*/ 0 h 10"/>
                <a:gd name="T42" fmla="*/ 0 w 7"/>
                <a:gd name="T43" fmla="*/ 0 h 1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"/>
                <a:gd name="T67" fmla="*/ 0 h 10"/>
                <a:gd name="T68" fmla="*/ 7 w 7"/>
                <a:gd name="T69" fmla="*/ 10 h 1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" h="10">
                  <a:moveTo>
                    <a:pt x="0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0" y="7"/>
                  </a:lnTo>
                  <a:lnTo>
                    <a:pt x="3" y="7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7" y="7"/>
                  </a:lnTo>
                  <a:lnTo>
                    <a:pt x="7" y="5"/>
                  </a:lnTo>
                  <a:lnTo>
                    <a:pt x="5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5" name="Freeform 1559"/>
            <p:cNvSpPr>
              <a:spLocks/>
            </p:cNvSpPr>
            <p:nvPr/>
          </p:nvSpPr>
          <p:spPr bwMode="gray">
            <a:xfrm>
              <a:off x="929387" y="2989908"/>
              <a:ext cx="83124" cy="59376"/>
            </a:xfrm>
            <a:custGeom>
              <a:avLst/>
              <a:gdLst>
                <a:gd name="T0" fmla="*/ 3175 w 7"/>
                <a:gd name="T1" fmla="*/ 0 h 5"/>
                <a:gd name="T2" fmla="*/ 0 w 7"/>
                <a:gd name="T3" fmla="*/ 4763 h 5"/>
                <a:gd name="T4" fmla="*/ 0 w 7"/>
                <a:gd name="T5" fmla="*/ 4763 h 5"/>
                <a:gd name="T6" fmla="*/ 0 w 7"/>
                <a:gd name="T7" fmla="*/ 4763 h 5"/>
                <a:gd name="T8" fmla="*/ 3175 w 7"/>
                <a:gd name="T9" fmla="*/ 4763 h 5"/>
                <a:gd name="T10" fmla="*/ 7938 w 7"/>
                <a:gd name="T11" fmla="*/ 7938 h 5"/>
                <a:gd name="T12" fmla="*/ 7938 w 7"/>
                <a:gd name="T13" fmla="*/ 7938 h 5"/>
                <a:gd name="T14" fmla="*/ 7938 w 7"/>
                <a:gd name="T15" fmla="*/ 7938 h 5"/>
                <a:gd name="T16" fmla="*/ 11113 w 7"/>
                <a:gd name="T17" fmla="*/ 4763 h 5"/>
                <a:gd name="T18" fmla="*/ 11113 w 7"/>
                <a:gd name="T19" fmla="*/ 4763 h 5"/>
                <a:gd name="T20" fmla="*/ 11113 w 7"/>
                <a:gd name="T21" fmla="*/ 0 h 5"/>
                <a:gd name="T22" fmla="*/ 7938 w 7"/>
                <a:gd name="T23" fmla="*/ 0 h 5"/>
                <a:gd name="T24" fmla="*/ 3175 w 7"/>
                <a:gd name="T25" fmla="*/ 0 h 5"/>
                <a:gd name="T26" fmla="*/ 3175 w 7"/>
                <a:gd name="T27" fmla="*/ 0 h 5"/>
                <a:gd name="T28" fmla="*/ 3175 w 7"/>
                <a:gd name="T29" fmla="*/ 0 h 5"/>
                <a:gd name="T30" fmla="*/ 3175 w 7"/>
                <a:gd name="T31" fmla="*/ 0 h 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"/>
                <a:gd name="T49" fmla="*/ 0 h 5"/>
                <a:gd name="T50" fmla="*/ 7 w 7"/>
                <a:gd name="T51" fmla="*/ 5 h 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" h="5">
                  <a:moveTo>
                    <a:pt x="2" y="0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5" y="5"/>
                  </a:lnTo>
                  <a:lnTo>
                    <a:pt x="7" y="3"/>
                  </a:lnTo>
                  <a:lnTo>
                    <a:pt x="7" y="0"/>
                  </a:lnTo>
                  <a:lnTo>
                    <a:pt x="5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6" name="Freeform 1560"/>
            <p:cNvSpPr>
              <a:spLocks/>
            </p:cNvSpPr>
            <p:nvPr/>
          </p:nvSpPr>
          <p:spPr bwMode="gray">
            <a:xfrm>
              <a:off x="1131247" y="2942410"/>
              <a:ext cx="166241" cy="225617"/>
            </a:xfrm>
            <a:custGeom>
              <a:avLst/>
              <a:gdLst>
                <a:gd name="T0" fmla="*/ 6350 w 14"/>
                <a:gd name="T1" fmla="*/ 0 h 19"/>
                <a:gd name="T2" fmla="*/ 3175 w 14"/>
                <a:gd name="T3" fmla="*/ 6350 h 19"/>
                <a:gd name="T4" fmla="*/ 0 w 14"/>
                <a:gd name="T5" fmla="*/ 11113 h 19"/>
                <a:gd name="T6" fmla="*/ 0 w 14"/>
                <a:gd name="T7" fmla="*/ 11113 h 19"/>
                <a:gd name="T8" fmla="*/ 3175 w 14"/>
                <a:gd name="T9" fmla="*/ 14288 h 19"/>
                <a:gd name="T10" fmla="*/ 3175 w 14"/>
                <a:gd name="T11" fmla="*/ 14288 h 19"/>
                <a:gd name="T12" fmla="*/ 3175 w 14"/>
                <a:gd name="T13" fmla="*/ 17463 h 19"/>
                <a:gd name="T14" fmla="*/ 6350 w 14"/>
                <a:gd name="T15" fmla="*/ 22225 h 19"/>
                <a:gd name="T16" fmla="*/ 6350 w 14"/>
                <a:gd name="T17" fmla="*/ 25400 h 19"/>
                <a:gd name="T18" fmla="*/ 11113 w 14"/>
                <a:gd name="T19" fmla="*/ 30163 h 19"/>
                <a:gd name="T20" fmla="*/ 17463 w 14"/>
                <a:gd name="T21" fmla="*/ 30163 h 19"/>
                <a:gd name="T22" fmla="*/ 17463 w 14"/>
                <a:gd name="T23" fmla="*/ 30163 h 19"/>
                <a:gd name="T24" fmla="*/ 22225 w 14"/>
                <a:gd name="T25" fmla="*/ 30163 h 19"/>
                <a:gd name="T26" fmla="*/ 22225 w 14"/>
                <a:gd name="T27" fmla="*/ 25400 h 19"/>
                <a:gd name="T28" fmla="*/ 22225 w 14"/>
                <a:gd name="T29" fmla="*/ 25400 h 19"/>
                <a:gd name="T30" fmla="*/ 22225 w 14"/>
                <a:gd name="T31" fmla="*/ 25400 h 19"/>
                <a:gd name="T32" fmla="*/ 17463 w 14"/>
                <a:gd name="T33" fmla="*/ 22225 h 19"/>
                <a:gd name="T34" fmla="*/ 11113 w 14"/>
                <a:gd name="T35" fmla="*/ 22225 h 19"/>
                <a:gd name="T36" fmla="*/ 11113 w 14"/>
                <a:gd name="T37" fmla="*/ 17463 h 19"/>
                <a:gd name="T38" fmla="*/ 6350 w 14"/>
                <a:gd name="T39" fmla="*/ 11113 h 19"/>
                <a:gd name="T40" fmla="*/ 6350 w 14"/>
                <a:gd name="T41" fmla="*/ 3175 h 19"/>
                <a:gd name="T42" fmla="*/ 6350 w 14"/>
                <a:gd name="T43" fmla="*/ 0 h 19"/>
                <a:gd name="T44" fmla="*/ 6350 w 14"/>
                <a:gd name="T45" fmla="*/ 0 h 19"/>
                <a:gd name="T46" fmla="*/ 6350 w 14"/>
                <a:gd name="T47" fmla="*/ 0 h 19"/>
                <a:gd name="T48" fmla="*/ 6350 w 14"/>
                <a:gd name="T49" fmla="*/ 0 h 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4"/>
                <a:gd name="T76" fmla="*/ 0 h 19"/>
                <a:gd name="T77" fmla="*/ 14 w 14"/>
                <a:gd name="T78" fmla="*/ 19 h 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4" h="19">
                  <a:moveTo>
                    <a:pt x="4" y="0"/>
                  </a:moveTo>
                  <a:lnTo>
                    <a:pt x="2" y="4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11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7" y="19"/>
                  </a:lnTo>
                  <a:lnTo>
                    <a:pt x="11" y="19"/>
                  </a:lnTo>
                  <a:lnTo>
                    <a:pt x="14" y="19"/>
                  </a:lnTo>
                  <a:lnTo>
                    <a:pt x="14" y="16"/>
                  </a:lnTo>
                  <a:lnTo>
                    <a:pt x="11" y="14"/>
                  </a:lnTo>
                  <a:lnTo>
                    <a:pt x="7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4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7" name="Freeform 1562"/>
            <p:cNvSpPr>
              <a:spLocks/>
            </p:cNvSpPr>
            <p:nvPr/>
          </p:nvSpPr>
          <p:spPr bwMode="gray">
            <a:xfrm>
              <a:off x="1238119" y="2574309"/>
              <a:ext cx="1519914" cy="2636109"/>
            </a:xfrm>
            <a:custGeom>
              <a:avLst/>
              <a:gdLst>
                <a:gd name="T0" fmla="*/ 30163 w 128"/>
                <a:gd name="T1" fmla="*/ 19050 h 222"/>
                <a:gd name="T2" fmla="*/ 22225 w 128"/>
                <a:gd name="T3" fmla="*/ 33338 h 222"/>
                <a:gd name="T4" fmla="*/ 11113 w 128"/>
                <a:gd name="T5" fmla="*/ 49213 h 222"/>
                <a:gd name="T6" fmla="*/ 11113 w 128"/>
                <a:gd name="T7" fmla="*/ 55563 h 222"/>
                <a:gd name="T8" fmla="*/ 11113 w 128"/>
                <a:gd name="T9" fmla="*/ 63500 h 222"/>
                <a:gd name="T10" fmla="*/ 7938 w 128"/>
                <a:gd name="T11" fmla="*/ 71438 h 222"/>
                <a:gd name="T12" fmla="*/ 11113 w 128"/>
                <a:gd name="T13" fmla="*/ 79375 h 222"/>
                <a:gd name="T14" fmla="*/ 7938 w 128"/>
                <a:gd name="T15" fmla="*/ 101600 h 222"/>
                <a:gd name="T16" fmla="*/ 22225 w 128"/>
                <a:gd name="T17" fmla="*/ 101600 h 222"/>
                <a:gd name="T18" fmla="*/ 11113 w 128"/>
                <a:gd name="T19" fmla="*/ 112713 h 222"/>
                <a:gd name="T20" fmla="*/ 14288 w 128"/>
                <a:gd name="T21" fmla="*/ 123825 h 222"/>
                <a:gd name="T22" fmla="*/ 30163 w 128"/>
                <a:gd name="T23" fmla="*/ 123825 h 222"/>
                <a:gd name="T24" fmla="*/ 44450 w 128"/>
                <a:gd name="T25" fmla="*/ 165100 h 222"/>
                <a:gd name="T26" fmla="*/ 63500 w 128"/>
                <a:gd name="T27" fmla="*/ 179388 h 222"/>
                <a:gd name="T28" fmla="*/ 82550 w 128"/>
                <a:gd name="T29" fmla="*/ 201613 h 222"/>
                <a:gd name="T30" fmla="*/ 71438 w 128"/>
                <a:gd name="T31" fmla="*/ 217488 h 222"/>
                <a:gd name="T32" fmla="*/ 38100 w 128"/>
                <a:gd name="T33" fmla="*/ 220663 h 222"/>
                <a:gd name="T34" fmla="*/ 44450 w 128"/>
                <a:gd name="T35" fmla="*/ 228600 h 222"/>
                <a:gd name="T36" fmla="*/ 38100 w 128"/>
                <a:gd name="T37" fmla="*/ 242888 h 222"/>
                <a:gd name="T38" fmla="*/ 33338 w 128"/>
                <a:gd name="T39" fmla="*/ 266700 h 222"/>
                <a:gd name="T40" fmla="*/ 22225 w 128"/>
                <a:gd name="T41" fmla="*/ 288925 h 222"/>
                <a:gd name="T42" fmla="*/ 41275 w 128"/>
                <a:gd name="T43" fmla="*/ 280988 h 222"/>
                <a:gd name="T44" fmla="*/ 66675 w 128"/>
                <a:gd name="T45" fmla="*/ 288925 h 222"/>
                <a:gd name="T46" fmla="*/ 85725 w 128"/>
                <a:gd name="T47" fmla="*/ 288925 h 222"/>
                <a:gd name="T48" fmla="*/ 30163 w 128"/>
                <a:gd name="T49" fmla="*/ 314325 h 222"/>
                <a:gd name="T50" fmla="*/ 0 w 128"/>
                <a:gd name="T51" fmla="*/ 349250 h 222"/>
                <a:gd name="T52" fmla="*/ 14288 w 128"/>
                <a:gd name="T53" fmla="*/ 352425 h 222"/>
                <a:gd name="T54" fmla="*/ 38100 w 128"/>
                <a:gd name="T55" fmla="*/ 330200 h 222"/>
                <a:gd name="T56" fmla="*/ 55563 w 128"/>
                <a:gd name="T57" fmla="*/ 333375 h 222"/>
                <a:gd name="T58" fmla="*/ 79375 w 128"/>
                <a:gd name="T59" fmla="*/ 322263 h 222"/>
                <a:gd name="T60" fmla="*/ 101600 w 128"/>
                <a:gd name="T61" fmla="*/ 325438 h 222"/>
                <a:gd name="T62" fmla="*/ 134938 w 128"/>
                <a:gd name="T63" fmla="*/ 319088 h 222"/>
                <a:gd name="T64" fmla="*/ 173038 w 128"/>
                <a:gd name="T65" fmla="*/ 314325 h 222"/>
                <a:gd name="T66" fmla="*/ 173038 w 128"/>
                <a:gd name="T67" fmla="*/ 300038 h 222"/>
                <a:gd name="T68" fmla="*/ 173038 w 128"/>
                <a:gd name="T69" fmla="*/ 288925 h 222"/>
                <a:gd name="T70" fmla="*/ 184150 w 128"/>
                <a:gd name="T71" fmla="*/ 280988 h 222"/>
                <a:gd name="T72" fmla="*/ 195263 w 128"/>
                <a:gd name="T73" fmla="*/ 273050 h 222"/>
                <a:gd name="T74" fmla="*/ 198438 w 128"/>
                <a:gd name="T75" fmla="*/ 242888 h 222"/>
                <a:gd name="T76" fmla="*/ 184150 w 128"/>
                <a:gd name="T77" fmla="*/ 236538 h 222"/>
                <a:gd name="T78" fmla="*/ 168275 w 128"/>
                <a:gd name="T79" fmla="*/ 247650 h 222"/>
                <a:gd name="T80" fmla="*/ 161925 w 128"/>
                <a:gd name="T81" fmla="*/ 242888 h 222"/>
                <a:gd name="T82" fmla="*/ 157163 w 128"/>
                <a:gd name="T83" fmla="*/ 217488 h 222"/>
                <a:gd name="T84" fmla="*/ 165100 w 128"/>
                <a:gd name="T85" fmla="*/ 209550 h 222"/>
                <a:gd name="T86" fmla="*/ 134938 w 128"/>
                <a:gd name="T87" fmla="*/ 176213 h 222"/>
                <a:gd name="T88" fmla="*/ 120650 w 128"/>
                <a:gd name="T89" fmla="*/ 168275 h 222"/>
                <a:gd name="T90" fmla="*/ 112713 w 128"/>
                <a:gd name="T91" fmla="*/ 142875 h 222"/>
                <a:gd name="T92" fmla="*/ 96838 w 128"/>
                <a:gd name="T93" fmla="*/ 127000 h 222"/>
                <a:gd name="T94" fmla="*/ 90488 w 128"/>
                <a:gd name="T95" fmla="*/ 115888 h 222"/>
                <a:gd name="T96" fmla="*/ 79375 w 128"/>
                <a:gd name="T97" fmla="*/ 120650 h 222"/>
                <a:gd name="T98" fmla="*/ 90488 w 128"/>
                <a:gd name="T99" fmla="*/ 96838 h 222"/>
                <a:gd name="T100" fmla="*/ 90488 w 128"/>
                <a:gd name="T101" fmla="*/ 82550 h 222"/>
                <a:gd name="T102" fmla="*/ 104775 w 128"/>
                <a:gd name="T103" fmla="*/ 55563 h 222"/>
                <a:gd name="T104" fmla="*/ 101600 w 128"/>
                <a:gd name="T105" fmla="*/ 44450 h 222"/>
                <a:gd name="T106" fmla="*/ 52388 w 128"/>
                <a:gd name="T107" fmla="*/ 52388 h 222"/>
                <a:gd name="T108" fmla="*/ 44450 w 128"/>
                <a:gd name="T109" fmla="*/ 49213 h 222"/>
                <a:gd name="T110" fmla="*/ 55563 w 128"/>
                <a:gd name="T111" fmla="*/ 30163 h 222"/>
                <a:gd name="T112" fmla="*/ 71438 w 128"/>
                <a:gd name="T113" fmla="*/ 14288 h 222"/>
                <a:gd name="T114" fmla="*/ 71438 w 128"/>
                <a:gd name="T115" fmla="*/ 3175 h 222"/>
                <a:gd name="T116" fmla="*/ 52388 w 128"/>
                <a:gd name="T117" fmla="*/ 0 h 2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28"/>
                <a:gd name="T178" fmla="*/ 0 h 222"/>
                <a:gd name="T179" fmla="*/ 128 w 128"/>
                <a:gd name="T180" fmla="*/ 222 h 22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28" h="222">
                  <a:moveTo>
                    <a:pt x="33" y="0"/>
                  </a:moveTo>
                  <a:lnTo>
                    <a:pt x="31" y="2"/>
                  </a:lnTo>
                  <a:lnTo>
                    <a:pt x="26" y="7"/>
                  </a:lnTo>
                  <a:lnTo>
                    <a:pt x="19" y="2"/>
                  </a:lnTo>
                  <a:lnTo>
                    <a:pt x="19" y="7"/>
                  </a:lnTo>
                  <a:lnTo>
                    <a:pt x="19" y="12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4" y="19"/>
                  </a:lnTo>
                  <a:lnTo>
                    <a:pt x="14" y="21"/>
                  </a:lnTo>
                  <a:lnTo>
                    <a:pt x="14" y="24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7" y="26"/>
                  </a:lnTo>
                  <a:lnTo>
                    <a:pt x="7" y="31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7" y="38"/>
                  </a:lnTo>
                  <a:lnTo>
                    <a:pt x="7" y="40"/>
                  </a:lnTo>
                  <a:lnTo>
                    <a:pt x="9" y="40"/>
                  </a:lnTo>
                  <a:lnTo>
                    <a:pt x="12" y="40"/>
                  </a:lnTo>
                  <a:lnTo>
                    <a:pt x="9" y="40"/>
                  </a:lnTo>
                  <a:lnTo>
                    <a:pt x="7" y="40"/>
                  </a:lnTo>
                  <a:lnTo>
                    <a:pt x="7" y="42"/>
                  </a:lnTo>
                  <a:lnTo>
                    <a:pt x="9" y="42"/>
                  </a:lnTo>
                  <a:lnTo>
                    <a:pt x="7" y="42"/>
                  </a:lnTo>
                  <a:lnTo>
                    <a:pt x="5" y="45"/>
                  </a:lnTo>
                  <a:lnTo>
                    <a:pt x="5" y="47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7" y="52"/>
                  </a:lnTo>
                  <a:lnTo>
                    <a:pt x="5" y="52"/>
                  </a:lnTo>
                  <a:lnTo>
                    <a:pt x="5" y="57"/>
                  </a:lnTo>
                  <a:lnTo>
                    <a:pt x="5" y="64"/>
                  </a:lnTo>
                  <a:lnTo>
                    <a:pt x="9" y="64"/>
                  </a:lnTo>
                  <a:lnTo>
                    <a:pt x="12" y="61"/>
                  </a:lnTo>
                  <a:lnTo>
                    <a:pt x="14" y="61"/>
                  </a:lnTo>
                  <a:lnTo>
                    <a:pt x="14" y="64"/>
                  </a:lnTo>
                  <a:lnTo>
                    <a:pt x="12" y="66"/>
                  </a:lnTo>
                  <a:lnTo>
                    <a:pt x="9" y="66"/>
                  </a:lnTo>
                  <a:lnTo>
                    <a:pt x="7" y="68"/>
                  </a:lnTo>
                  <a:lnTo>
                    <a:pt x="7" y="71"/>
                  </a:lnTo>
                  <a:lnTo>
                    <a:pt x="7" y="73"/>
                  </a:lnTo>
                  <a:lnTo>
                    <a:pt x="7" y="76"/>
                  </a:lnTo>
                  <a:lnTo>
                    <a:pt x="7" y="78"/>
                  </a:lnTo>
                  <a:lnTo>
                    <a:pt x="7" y="80"/>
                  </a:lnTo>
                  <a:lnTo>
                    <a:pt x="9" y="78"/>
                  </a:lnTo>
                  <a:lnTo>
                    <a:pt x="9" y="76"/>
                  </a:lnTo>
                  <a:lnTo>
                    <a:pt x="12" y="76"/>
                  </a:lnTo>
                  <a:lnTo>
                    <a:pt x="12" y="73"/>
                  </a:lnTo>
                  <a:lnTo>
                    <a:pt x="17" y="73"/>
                  </a:lnTo>
                  <a:lnTo>
                    <a:pt x="19" y="73"/>
                  </a:lnTo>
                  <a:lnTo>
                    <a:pt x="19" y="78"/>
                  </a:lnTo>
                  <a:lnTo>
                    <a:pt x="19" y="80"/>
                  </a:lnTo>
                  <a:lnTo>
                    <a:pt x="17" y="87"/>
                  </a:lnTo>
                  <a:lnTo>
                    <a:pt x="17" y="97"/>
                  </a:lnTo>
                  <a:lnTo>
                    <a:pt x="14" y="104"/>
                  </a:lnTo>
                  <a:lnTo>
                    <a:pt x="21" y="104"/>
                  </a:lnTo>
                  <a:lnTo>
                    <a:pt x="28" y="104"/>
                  </a:lnTo>
                  <a:lnTo>
                    <a:pt x="35" y="101"/>
                  </a:lnTo>
                  <a:lnTo>
                    <a:pt x="47" y="101"/>
                  </a:lnTo>
                  <a:lnTo>
                    <a:pt x="45" y="104"/>
                  </a:lnTo>
                  <a:lnTo>
                    <a:pt x="42" y="109"/>
                  </a:lnTo>
                  <a:lnTo>
                    <a:pt x="40" y="111"/>
                  </a:lnTo>
                  <a:lnTo>
                    <a:pt x="40" y="113"/>
                  </a:lnTo>
                  <a:lnTo>
                    <a:pt x="42" y="113"/>
                  </a:lnTo>
                  <a:lnTo>
                    <a:pt x="45" y="116"/>
                  </a:lnTo>
                  <a:lnTo>
                    <a:pt x="50" y="116"/>
                  </a:lnTo>
                  <a:lnTo>
                    <a:pt x="54" y="116"/>
                  </a:lnTo>
                  <a:lnTo>
                    <a:pt x="52" y="123"/>
                  </a:lnTo>
                  <a:lnTo>
                    <a:pt x="52" y="127"/>
                  </a:lnTo>
                  <a:lnTo>
                    <a:pt x="50" y="130"/>
                  </a:lnTo>
                  <a:lnTo>
                    <a:pt x="50" y="132"/>
                  </a:lnTo>
                  <a:lnTo>
                    <a:pt x="47" y="135"/>
                  </a:lnTo>
                  <a:lnTo>
                    <a:pt x="45" y="137"/>
                  </a:lnTo>
                  <a:lnTo>
                    <a:pt x="42" y="137"/>
                  </a:lnTo>
                  <a:lnTo>
                    <a:pt x="40" y="137"/>
                  </a:lnTo>
                  <a:lnTo>
                    <a:pt x="33" y="135"/>
                  </a:lnTo>
                  <a:lnTo>
                    <a:pt x="24" y="132"/>
                  </a:lnTo>
                  <a:lnTo>
                    <a:pt x="24" y="137"/>
                  </a:lnTo>
                  <a:lnTo>
                    <a:pt x="24" y="139"/>
                  </a:lnTo>
                  <a:lnTo>
                    <a:pt x="26" y="139"/>
                  </a:lnTo>
                  <a:lnTo>
                    <a:pt x="28" y="139"/>
                  </a:lnTo>
                  <a:lnTo>
                    <a:pt x="28" y="142"/>
                  </a:lnTo>
                  <a:lnTo>
                    <a:pt x="28" y="144"/>
                  </a:lnTo>
                  <a:lnTo>
                    <a:pt x="26" y="146"/>
                  </a:lnTo>
                  <a:lnTo>
                    <a:pt x="24" y="149"/>
                  </a:lnTo>
                  <a:lnTo>
                    <a:pt x="21" y="151"/>
                  </a:lnTo>
                  <a:lnTo>
                    <a:pt x="19" y="156"/>
                  </a:lnTo>
                  <a:lnTo>
                    <a:pt x="24" y="153"/>
                  </a:lnTo>
                  <a:lnTo>
                    <a:pt x="26" y="153"/>
                  </a:lnTo>
                  <a:lnTo>
                    <a:pt x="28" y="153"/>
                  </a:lnTo>
                  <a:lnTo>
                    <a:pt x="28" y="158"/>
                  </a:lnTo>
                  <a:lnTo>
                    <a:pt x="28" y="163"/>
                  </a:lnTo>
                  <a:lnTo>
                    <a:pt x="26" y="165"/>
                  </a:lnTo>
                  <a:lnTo>
                    <a:pt x="21" y="168"/>
                  </a:lnTo>
                  <a:lnTo>
                    <a:pt x="17" y="170"/>
                  </a:lnTo>
                  <a:lnTo>
                    <a:pt x="12" y="172"/>
                  </a:lnTo>
                  <a:lnTo>
                    <a:pt x="14" y="177"/>
                  </a:lnTo>
                  <a:lnTo>
                    <a:pt x="14" y="179"/>
                  </a:lnTo>
                  <a:lnTo>
                    <a:pt x="14" y="182"/>
                  </a:lnTo>
                  <a:lnTo>
                    <a:pt x="17" y="182"/>
                  </a:lnTo>
                  <a:lnTo>
                    <a:pt x="19" y="182"/>
                  </a:lnTo>
                  <a:lnTo>
                    <a:pt x="24" y="179"/>
                  </a:lnTo>
                  <a:lnTo>
                    <a:pt x="26" y="177"/>
                  </a:lnTo>
                  <a:lnTo>
                    <a:pt x="26" y="182"/>
                  </a:lnTo>
                  <a:lnTo>
                    <a:pt x="26" y="184"/>
                  </a:lnTo>
                  <a:lnTo>
                    <a:pt x="33" y="184"/>
                  </a:lnTo>
                  <a:lnTo>
                    <a:pt x="35" y="182"/>
                  </a:lnTo>
                  <a:lnTo>
                    <a:pt x="38" y="182"/>
                  </a:lnTo>
                  <a:lnTo>
                    <a:pt x="42" y="182"/>
                  </a:lnTo>
                  <a:lnTo>
                    <a:pt x="45" y="182"/>
                  </a:lnTo>
                  <a:lnTo>
                    <a:pt x="47" y="179"/>
                  </a:lnTo>
                  <a:lnTo>
                    <a:pt x="57" y="179"/>
                  </a:lnTo>
                  <a:lnTo>
                    <a:pt x="54" y="182"/>
                  </a:lnTo>
                  <a:lnTo>
                    <a:pt x="54" y="184"/>
                  </a:lnTo>
                  <a:lnTo>
                    <a:pt x="52" y="187"/>
                  </a:lnTo>
                  <a:lnTo>
                    <a:pt x="52" y="189"/>
                  </a:lnTo>
                  <a:lnTo>
                    <a:pt x="24" y="189"/>
                  </a:lnTo>
                  <a:lnTo>
                    <a:pt x="21" y="194"/>
                  </a:lnTo>
                  <a:lnTo>
                    <a:pt x="19" y="198"/>
                  </a:lnTo>
                  <a:lnTo>
                    <a:pt x="17" y="203"/>
                  </a:lnTo>
                  <a:lnTo>
                    <a:pt x="14" y="205"/>
                  </a:lnTo>
                  <a:lnTo>
                    <a:pt x="12" y="210"/>
                  </a:lnTo>
                  <a:lnTo>
                    <a:pt x="7" y="213"/>
                  </a:lnTo>
                  <a:lnTo>
                    <a:pt x="5" y="215"/>
                  </a:lnTo>
                  <a:lnTo>
                    <a:pt x="0" y="220"/>
                  </a:lnTo>
                  <a:lnTo>
                    <a:pt x="2" y="220"/>
                  </a:lnTo>
                  <a:lnTo>
                    <a:pt x="5" y="220"/>
                  </a:lnTo>
                  <a:lnTo>
                    <a:pt x="7" y="220"/>
                  </a:lnTo>
                  <a:lnTo>
                    <a:pt x="9" y="222"/>
                  </a:lnTo>
                  <a:lnTo>
                    <a:pt x="12" y="222"/>
                  </a:lnTo>
                  <a:lnTo>
                    <a:pt x="14" y="222"/>
                  </a:lnTo>
                  <a:lnTo>
                    <a:pt x="14" y="217"/>
                  </a:lnTo>
                  <a:lnTo>
                    <a:pt x="14" y="215"/>
                  </a:lnTo>
                  <a:lnTo>
                    <a:pt x="21" y="210"/>
                  </a:lnTo>
                  <a:lnTo>
                    <a:pt x="24" y="208"/>
                  </a:lnTo>
                  <a:lnTo>
                    <a:pt x="26" y="208"/>
                  </a:lnTo>
                  <a:lnTo>
                    <a:pt x="28" y="208"/>
                  </a:lnTo>
                  <a:lnTo>
                    <a:pt x="31" y="210"/>
                  </a:lnTo>
                  <a:lnTo>
                    <a:pt x="33" y="210"/>
                  </a:lnTo>
                  <a:lnTo>
                    <a:pt x="35" y="210"/>
                  </a:lnTo>
                  <a:lnTo>
                    <a:pt x="38" y="213"/>
                  </a:lnTo>
                  <a:lnTo>
                    <a:pt x="40" y="210"/>
                  </a:lnTo>
                  <a:lnTo>
                    <a:pt x="40" y="208"/>
                  </a:lnTo>
                  <a:lnTo>
                    <a:pt x="45" y="203"/>
                  </a:lnTo>
                  <a:lnTo>
                    <a:pt x="47" y="203"/>
                  </a:lnTo>
                  <a:lnTo>
                    <a:pt x="50" y="203"/>
                  </a:lnTo>
                  <a:lnTo>
                    <a:pt x="52" y="205"/>
                  </a:lnTo>
                  <a:lnTo>
                    <a:pt x="54" y="205"/>
                  </a:lnTo>
                  <a:lnTo>
                    <a:pt x="57" y="205"/>
                  </a:lnTo>
                  <a:lnTo>
                    <a:pt x="59" y="205"/>
                  </a:lnTo>
                  <a:lnTo>
                    <a:pt x="61" y="208"/>
                  </a:lnTo>
                  <a:lnTo>
                    <a:pt x="64" y="205"/>
                  </a:lnTo>
                  <a:lnTo>
                    <a:pt x="66" y="203"/>
                  </a:lnTo>
                  <a:lnTo>
                    <a:pt x="68" y="198"/>
                  </a:lnTo>
                  <a:lnTo>
                    <a:pt x="73" y="198"/>
                  </a:lnTo>
                  <a:lnTo>
                    <a:pt x="76" y="198"/>
                  </a:lnTo>
                  <a:lnTo>
                    <a:pt x="80" y="198"/>
                  </a:lnTo>
                  <a:lnTo>
                    <a:pt x="85" y="201"/>
                  </a:lnTo>
                  <a:lnTo>
                    <a:pt x="90" y="201"/>
                  </a:lnTo>
                  <a:lnTo>
                    <a:pt x="94" y="201"/>
                  </a:lnTo>
                  <a:lnTo>
                    <a:pt x="99" y="201"/>
                  </a:lnTo>
                  <a:lnTo>
                    <a:pt x="102" y="201"/>
                  </a:lnTo>
                  <a:lnTo>
                    <a:pt x="106" y="201"/>
                  </a:lnTo>
                  <a:lnTo>
                    <a:pt x="109" y="198"/>
                  </a:lnTo>
                  <a:lnTo>
                    <a:pt x="113" y="196"/>
                  </a:lnTo>
                  <a:lnTo>
                    <a:pt x="118" y="194"/>
                  </a:lnTo>
                  <a:lnTo>
                    <a:pt x="118" y="189"/>
                  </a:lnTo>
                  <a:lnTo>
                    <a:pt x="113" y="189"/>
                  </a:lnTo>
                  <a:lnTo>
                    <a:pt x="111" y="189"/>
                  </a:lnTo>
                  <a:lnTo>
                    <a:pt x="109" y="189"/>
                  </a:lnTo>
                  <a:lnTo>
                    <a:pt x="106" y="189"/>
                  </a:lnTo>
                  <a:lnTo>
                    <a:pt x="106" y="187"/>
                  </a:lnTo>
                  <a:lnTo>
                    <a:pt x="106" y="184"/>
                  </a:lnTo>
                  <a:lnTo>
                    <a:pt x="109" y="182"/>
                  </a:lnTo>
                  <a:lnTo>
                    <a:pt x="109" y="179"/>
                  </a:lnTo>
                  <a:lnTo>
                    <a:pt x="109" y="177"/>
                  </a:lnTo>
                  <a:lnTo>
                    <a:pt x="111" y="177"/>
                  </a:lnTo>
                  <a:lnTo>
                    <a:pt x="113" y="177"/>
                  </a:lnTo>
                  <a:lnTo>
                    <a:pt x="116" y="177"/>
                  </a:lnTo>
                  <a:lnTo>
                    <a:pt x="118" y="177"/>
                  </a:lnTo>
                  <a:lnTo>
                    <a:pt x="120" y="177"/>
                  </a:lnTo>
                  <a:lnTo>
                    <a:pt x="120" y="175"/>
                  </a:lnTo>
                  <a:lnTo>
                    <a:pt x="123" y="175"/>
                  </a:lnTo>
                  <a:lnTo>
                    <a:pt x="123" y="172"/>
                  </a:lnTo>
                  <a:lnTo>
                    <a:pt x="123" y="170"/>
                  </a:lnTo>
                  <a:lnTo>
                    <a:pt x="125" y="168"/>
                  </a:lnTo>
                  <a:lnTo>
                    <a:pt x="125" y="165"/>
                  </a:lnTo>
                  <a:lnTo>
                    <a:pt x="128" y="161"/>
                  </a:lnTo>
                  <a:lnTo>
                    <a:pt x="128" y="158"/>
                  </a:lnTo>
                  <a:lnTo>
                    <a:pt x="125" y="153"/>
                  </a:lnTo>
                  <a:lnTo>
                    <a:pt x="123" y="151"/>
                  </a:lnTo>
                  <a:lnTo>
                    <a:pt x="120" y="149"/>
                  </a:lnTo>
                  <a:lnTo>
                    <a:pt x="118" y="149"/>
                  </a:lnTo>
                  <a:lnTo>
                    <a:pt x="116" y="149"/>
                  </a:lnTo>
                  <a:lnTo>
                    <a:pt x="113" y="149"/>
                  </a:lnTo>
                  <a:lnTo>
                    <a:pt x="111" y="149"/>
                  </a:lnTo>
                  <a:lnTo>
                    <a:pt x="109" y="156"/>
                  </a:lnTo>
                  <a:lnTo>
                    <a:pt x="106" y="156"/>
                  </a:lnTo>
                  <a:lnTo>
                    <a:pt x="104" y="153"/>
                  </a:lnTo>
                  <a:lnTo>
                    <a:pt x="104" y="151"/>
                  </a:lnTo>
                  <a:lnTo>
                    <a:pt x="102" y="151"/>
                  </a:lnTo>
                  <a:lnTo>
                    <a:pt x="102" y="153"/>
                  </a:lnTo>
                  <a:lnTo>
                    <a:pt x="102" y="151"/>
                  </a:lnTo>
                  <a:lnTo>
                    <a:pt x="102" y="146"/>
                  </a:lnTo>
                  <a:lnTo>
                    <a:pt x="102" y="142"/>
                  </a:lnTo>
                  <a:lnTo>
                    <a:pt x="102" y="139"/>
                  </a:lnTo>
                  <a:lnTo>
                    <a:pt x="99" y="137"/>
                  </a:lnTo>
                  <a:lnTo>
                    <a:pt x="97" y="132"/>
                  </a:lnTo>
                  <a:lnTo>
                    <a:pt x="99" y="132"/>
                  </a:lnTo>
                  <a:lnTo>
                    <a:pt x="102" y="132"/>
                  </a:lnTo>
                  <a:lnTo>
                    <a:pt x="104" y="132"/>
                  </a:lnTo>
                  <a:lnTo>
                    <a:pt x="104" y="130"/>
                  </a:lnTo>
                  <a:lnTo>
                    <a:pt x="102" y="127"/>
                  </a:lnTo>
                  <a:lnTo>
                    <a:pt x="97" y="127"/>
                  </a:lnTo>
                  <a:lnTo>
                    <a:pt x="94" y="125"/>
                  </a:lnTo>
                  <a:lnTo>
                    <a:pt x="90" y="118"/>
                  </a:lnTo>
                  <a:lnTo>
                    <a:pt x="85" y="111"/>
                  </a:lnTo>
                  <a:lnTo>
                    <a:pt x="83" y="109"/>
                  </a:lnTo>
                  <a:lnTo>
                    <a:pt x="80" y="109"/>
                  </a:lnTo>
                  <a:lnTo>
                    <a:pt x="78" y="109"/>
                  </a:lnTo>
                  <a:lnTo>
                    <a:pt x="76" y="106"/>
                  </a:lnTo>
                  <a:lnTo>
                    <a:pt x="73" y="104"/>
                  </a:lnTo>
                  <a:lnTo>
                    <a:pt x="73" y="101"/>
                  </a:lnTo>
                  <a:lnTo>
                    <a:pt x="71" y="97"/>
                  </a:lnTo>
                  <a:lnTo>
                    <a:pt x="71" y="94"/>
                  </a:lnTo>
                  <a:lnTo>
                    <a:pt x="71" y="90"/>
                  </a:lnTo>
                  <a:lnTo>
                    <a:pt x="68" y="87"/>
                  </a:lnTo>
                  <a:lnTo>
                    <a:pt x="68" y="85"/>
                  </a:lnTo>
                  <a:lnTo>
                    <a:pt x="66" y="83"/>
                  </a:lnTo>
                  <a:lnTo>
                    <a:pt x="64" y="80"/>
                  </a:lnTo>
                  <a:lnTo>
                    <a:pt x="61" y="80"/>
                  </a:lnTo>
                  <a:lnTo>
                    <a:pt x="59" y="80"/>
                  </a:lnTo>
                  <a:lnTo>
                    <a:pt x="59" y="76"/>
                  </a:lnTo>
                  <a:lnTo>
                    <a:pt x="57" y="73"/>
                  </a:lnTo>
                  <a:lnTo>
                    <a:pt x="54" y="73"/>
                  </a:lnTo>
                  <a:lnTo>
                    <a:pt x="54" y="76"/>
                  </a:lnTo>
                  <a:lnTo>
                    <a:pt x="52" y="76"/>
                  </a:lnTo>
                  <a:lnTo>
                    <a:pt x="50" y="76"/>
                  </a:lnTo>
                  <a:lnTo>
                    <a:pt x="52" y="71"/>
                  </a:lnTo>
                  <a:lnTo>
                    <a:pt x="54" y="66"/>
                  </a:lnTo>
                  <a:lnTo>
                    <a:pt x="57" y="66"/>
                  </a:lnTo>
                  <a:lnTo>
                    <a:pt x="57" y="64"/>
                  </a:lnTo>
                  <a:lnTo>
                    <a:pt x="57" y="61"/>
                  </a:lnTo>
                  <a:lnTo>
                    <a:pt x="54" y="59"/>
                  </a:lnTo>
                  <a:lnTo>
                    <a:pt x="52" y="59"/>
                  </a:lnTo>
                  <a:lnTo>
                    <a:pt x="54" y="57"/>
                  </a:lnTo>
                  <a:lnTo>
                    <a:pt x="57" y="52"/>
                  </a:lnTo>
                  <a:lnTo>
                    <a:pt x="61" y="50"/>
                  </a:lnTo>
                  <a:lnTo>
                    <a:pt x="64" y="47"/>
                  </a:lnTo>
                  <a:lnTo>
                    <a:pt x="66" y="42"/>
                  </a:lnTo>
                  <a:lnTo>
                    <a:pt x="66" y="38"/>
                  </a:lnTo>
                  <a:lnTo>
                    <a:pt x="66" y="35"/>
                  </a:lnTo>
                  <a:lnTo>
                    <a:pt x="66" y="33"/>
                  </a:lnTo>
                  <a:lnTo>
                    <a:pt x="66" y="31"/>
                  </a:lnTo>
                  <a:lnTo>
                    <a:pt x="64" y="31"/>
                  </a:lnTo>
                  <a:lnTo>
                    <a:pt x="64" y="28"/>
                  </a:lnTo>
                  <a:lnTo>
                    <a:pt x="61" y="28"/>
                  </a:lnTo>
                  <a:lnTo>
                    <a:pt x="57" y="28"/>
                  </a:lnTo>
                  <a:lnTo>
                    <a:pt x="45" y="31"/>
                  </a:lnTo>
                  <a:lnTo>
                    <a:pt x="33" y="33"/>
                  </a:lnTo>
                  <a:lnTo>
                    <a:pt x="31" y="33"/>
                  </a:lnTo>
                  <a:lnTo>
                    <a:pt x="31" y="31"/>
                  </a:lnTo>
                  <a:lnTo>
                    <a:pt x="28" y="31"/>
                  </a:lnTo>
                  <a:lnTo>
                    <a:pt x="31" y="26"/>
                  </a:lnTo>
                  <a:lnTo>
                    <a:pt x="31" y="21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8" y="19"/>
                  </a:lnTo>
                  <a:lnTo>
                    <a:pt x="40" y="16"/>
                  </a:lnTo>
                  <a:lnTo>
                    <a:pt x="42" y="12"/>
                  </a:lnTo>
                  <a:lnTo>
                    <a:pt x="47" y="12"/>
                  </a:lnTo>
                  <a:lnTo>
                    <a:pt x="45" y="9"/>
                  </a:lnTo>
                  <a:lnTo>
                    <a:pt x="45" y="5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45" y="2"/>
                  </a:lnTo>
                  <a:lnTo>
                    <a:pt x="40" y="0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8" name="Freeform 1580"/>
            <p:cNvSpPr>
              <a:spLocks/>
            </p:cNvSpPr>
            <p:nvPr/>
          </p:nvSpPr>
          <p:spPr bwMode="gray">
            <a:xfrm>
              <a:off x="3772245" y="5827892"/>
              <a:ext cx="493832" cy="161344"/>
            </a:xfrm>
            <a:custGeom>
              <a:avLst/>
              <a:gdLst/>
              <a:ahLst/>
              <a:cxnLst/>
              <a:rect l="l" t="t" r="r" b="b"/>
              <a:pathLst>
                <a:path w="598579" h="195567">
                  <a:moveTo>
                    <a:pt x="296322" y="0"/>
                  </a:moveTo>
                  <a:lnTo>
                    <a:pt x="325108" y="0"/>
                  </a:lnTo>
                  <a:lnTo>
                    <a:pt x="368291" y="0"/>
                  </a:lnTo>
                  <a:lnTo>
                    <a:pt x="425863" y="28786"/>
                  </a:lnTo>
                  <a:lnTo>
                    <a:pt x="425863" y="71970"/>
                  </a:lnTo>
                  <a:lnTo>
                    <a:pt x="598579" y="172716"/>
                  </a:lnTo>
                  <a:lnTo>
                    <a:pt x="598579" y="195567"/>
                  </a:lnTo>
                  <a:lnTo>
                    <a:pt x="0" y="195567"/>
                  </a:lnTo>
                  <a:lnTo>
                    <a:pt x="22851" y="172716"/>
                  </a:lnTo>
                  <a:lnTo>
                    <a:pt x="22851" y="129542"/>
                  </a:lnTo>
                  <a:lnTo>
                    <a:pt x="22851" y="100756"/>
                  </a:lnTo>
                  <a:lnTo>
                    <a:pt x="51637" y="100756"/>
                  </a:lnTo>
                  <a:lnTo>
                    <a:pt x="94820" y="100756"/>
                  </a:lnTo>
                  <a:lnTo>
                    <a:pt x="123606" y="100756"/>
                  </a:lnTo>
                  <a:lnTo>
                    <a:pt x="152392" y="71970"/>
                  </a:lnTo>
                  <a:lnTo>
                    <a:pt x="195576" y="71970"/>
                  </a:lnTo>
                  <a:lnTo>
                    <a:pt x="253147" y="28786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19" name="Freeform 1583"/>
            <p:cNvSpPr>
              <a:spLocks/>
            </p:cNvSpPr>
            <p:nvPr/>
          </p:nvSpPr>
          <p:spPr bwMode="gray">
            <a:xfrm>
              <a:off x="5132891" y="3690499"/>
              <a:ext cx="118743" cy="118743"/>
            </a:xfrm>
            <a:custGeom>
              <a:avLst/>
              <a:gdLst>
                <a:gd name="T0" fmla="*/ 0 w 10"/>
                <a:gd name="T1" fmla="*/ 0 h 10"/>
                <a:gd name="T2" fmla="*/ 4763 w 10"/>
                <a:gd name="T3" fmla="*/ 7938 h 10"/>
                <a:gd name="T4" fmla="*/ 4763 w 10"/>
                <a:gd name="T5" fmla="*/ 15875 h 10"/>
                <a:gd name="T6" fmla="*/ 7938 w 10"/>
                <a:gd name="T7" fmla="*/ 15875 h 10"/>
                <a:gd name="T8" fmla="*/ 11113 w 10"/>
                <a:gd name="T9" fmla="*/ 15875 h 10"/>
                <a:gd name="T10" fmla="*/ 15875 w 10"/>
                <a:gd name="T11" fmla="*/ 15875 h 10"/>
                <a:gd name="T12" fmla="*/ 15875 w 10"/>
                <a:gd name="T13" fmla="*/ 15875 h 10"/>
                <a:gd name="T14" fmla="*/ 15875 w 10"/>
                <a:gd name="T15" fmla="*/ 15875 h 10"/>
                <a:gd name="T16" fmla="*/ 15875 w 10"/>
                <a:gd name="T17" fmla="*/ 15875 h 10"/>
                <a:gd name="T18" fmla="*/ 15875 w 10"/>
                <a:gd name="T19" fmla="*/ 11113 h 10"/>
                <a:gd name="T20" fmla="*/ 15875 w 10"/>
                <a:gd name="T21" fmla="*/ 11113 h 10"/>
                <a:gd name="T22" fmla="*/ 11113 w 10"/>
                <a:gd name="T23" fmla="*/ 7938 h 10"/>
                <a:gd name="T24" fmla="*/ 7938 w 10"/>
                <a:gd name="T25" fmla="*/ 4763 h 10"/>
                <a:gd name="T26" fmla="*/ 4763 w 10"/>
                <a:gd name="T27" fmla="*/ 0 h 10"/>
                <a:gd name="T28" fmla="*/ 0 w 10"/>
                <a:gd name="T29" fmla="*/ 0 h 10"/>
                <a:gd name="T30" fmla="*/ 0 w 10"/>
                <a:gd name="T31" fmla="*/ 0 h 10"/>
                <a:gd name="T32" fmla="*/ 0 w 10"/>
                <a:gd name="T33" fmla="*/ 0 h 10"/>
                <a:gd name="T34" fmla="*/ 0 w 10"/>
                <a:gd name="T35" fmla="*/ 0 h 1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"/>
                <a:gd name="T55" fmla="*/ 0 h 10"/>
                <a:gd name="T56" fmla="*/ 10 w 10"/>
                <a:gd name="T57" fmla="*/ 10 h 1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" h="10">
                  <a:moveTo>
                    <a:pt x="0" y="0"/>
                  </a:moveTo>
                  <a:lnTo>
                    <a:pt x="3" y="5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7" y="10"/>
                  </a:lnTo>
                  <a:lnTo>
                    <a:pt x="10" y="10"/>
                  </a:lnTo>
                  <a:lnTo>
                    <a:pt x="10" y="7"/>
                  </a:lnTo>
                  <a:lnTo>
                    <a:pt x="7" y="5"/>
                  </a:lnTo>
                  <a:lnTo>
                    <a:pt x="5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0" name="Freeform 1682"/>
            <p:cNvSpPr>
              <a:spLocks/>
            </p:cNvSpPr>
            <p:nvPr/>
          </p:nvSpPr>
          <p:spPr bwMode="gray">
            <a:xfrm>
              <a:off x="5026025" y="4066020"/>
              <a:ext cx="356222" cy="942528"/>
            </a:xfrm>
            <a:custGeom>
              <a:avLst/>
              <a:gdLst/>
              <a:ahLst/>
              <a:cxnLst/>
              <a:rect l="l" t="t" r="r" b="b"/>
              <a:pathLst>
                <a:path w="47624" h="126008">
                  <a:moveTo>
                    <a:pt x="45243" y="0"/>
                  </a:moveTo>
                  <a:lnTo>
                    <a:pt x="45243" y="119658"/>
                  </a:lnTo>
                  <a:lnTo>
                    <a:pt x="47624" y="119658"/>
                  </a:lnTo>
                  <a:lnTo>
                    <a:pt x="47624" y="126008"/>
                  </a:lnTo>
                  <a:lnTo>
                    <a:pt x="44450" y="126008"/>
                  </a:lnTo>
                  <a:lnTo>
                    <a:pt x="41275" y="126008"/>
                  </a:lnTo>
                  <a:lnTo>
                    <a:pt x="36513" y="122833"/>
                  </a:lnTo>
                  <a:lnTo>
                    <a:pt x="33338" y="122833"/>
                  </a:lnTo>
                  <a:lnTo>
                    <a:pt x="33338" y="119658"/>
                  </a:lnTo>
                  <a:lnTo>
                    <a:pt x="22225" y="119658"/>
                  </a:lnTo>
                  <a:lnTo>
                    <a:pt x="19050" y="119658"/>
                  </a:lnTo>
                  <a:lnTo>
                    <a:pt x="11113" y="114896"/>
                  </a:lnTo>
                  <a:lnTo>
                    <a:pt x="11113" y="108546"/>
                  </a:lnTo>
                  <a:lnTo>
                    <a:pt x="11113" y="100608"/>
                  </a:lnTo>
                  <a:lnTo>
                    <a:pt x="11113" y="89496"/>
                  </a:lnTo>
                  <a:lnTo>
                    <a:pt x="11113" y="81558"/>
                  </a:lnTo>
                  <a:lnTo>
                    <a:pt x="7938" y="73621"/>
                  </a:lnTo>
                  <a:lnTo>
                    <a:pt x="3175" y="67271"/>
                  </a:lnTo>
                  <a:lnTo>
                    <a:pt x="3175" y="59333"/>
                  </a:lnTo>
                  <a:lnTo>
                    <a:pt x="7938" y="56158"/>
                  </a:lnTo>
                  <a:lnTo>
                    <a:pt x="7938" y="51396"/>
                  </a:lnTo>
                  <a:lnTo>
                    <a:pt x="7938" y="48221"/>
                  </a:lnTo>
                  <a:lnTo>
                    <a:pt x="3175" y="43458"/>
                  </a:lnTo>
                  <a:lnTo>
                    <a:pt x="0" y="40283"/>
                  </a:lnTo>
                  <a:lnTo>
                    <a:pt x="0" y="37108"/>
                  </a:lnTo>
                  <a:lnTo>
                    <a:pt x="0" y="32346"/>
                  </a:lnTo>
                  <a:lnTo>
                    <a:pt x="3175" y="29171"/>
                  </a:lnTo>
                  <a:lnTo>
                    <a:pt x="3175" y="25996"/>
                  </a:lnTo>
                  <a:lnTo>
                    <a:pt x="3175" y="21233"/>
                  </a:lnTo>
                  <a:lnTo>
                    <a:pt x="3175" y="18058"/>
                  </a:lnTo>
                  <a:lnTo>
                    <a:pt x="3175" y="10121"/>
                  </a:lnTo>
                  <a:lnTo>
                    <a:pt x="7938" y="10121"/>
                  </a:lnTo>
                  <a:lnTo>
                    <a:pt x="11113" y="10121"/>
                  </a:lnTo>
                  <a:lnTo>
                    <a:pt x="14288" y="10121"/>
                  </a:lnTo>
                  <a:lnTo>
                    <a:pt x="22225" y="6946"/>
                  </a:lnTo>
                  <a:lnTo>
                    <a:pt x="25400" y="6946"/>
                  </a:lnTo>
                  <a:lnTo>
                    <a:pt x="33338" y="6946"/>
                  </a:lnTo>
                  <a:lnTo>
                    <a:pt x="36513" y="2183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1" name="Freeform 1747"/>
            <p:cNvSpPr>
              <a:spLocks/>
            </p:cNvSpPr>
            <p:nvPr/>
          </p:nvSpPr>
          <p:spPr bwMode="gray">
            <a:xfrm>
              <a:off x="3031146" y="4307958"/>
              <a:ext cx="759957" cy="653093"/>
            </a:xfrm>
            <a:custGeom>
              <a:avLst/>
              <a:gdLst>
                <a:gd name="T0" fmla="*/ 98425 w 64"/>
                <a:gd name="T1" fmla="*/ 15875 h 55"/>
                <a:gd name="T2" fmla="*/ 98425 w 64"/>
                <a:gd name="T3" fmla="*/ 11113 h 55"/>
                <a:gd name="T4" fmla="*/ 90488 w 64"/>
                <a:gd name="T5" fmla="*/ 4763 h 55"/>
                <a:gd name="T6" fmla="*/ 71438 w 64"/>
                <a:gd name="T7" fmla="*/ 0 h 55"/>
                <a:gd name="T8" fmla="*/ 60325 w 64"/>
                <a:gd name="T9" fmla="*/ 0 h 55"/>
                <a:gd name="T10" fmla="*/ 52388 w 64"/>
                <a:gd name="T11" fmla="*/ 7938 h 55"/>
                <a:gd name="T12" fmla="*/ 41275 w 64"/>
                <a:gd name="T13" fmla="*/ 15875 h 55"/>
                <a:gd name="T14" fmla="*/ 33338 w 64"/>
                <a:gd name="T15" fmla="*/ 19050 h 55"/>
                <a:gd name="T16" fmla="*/ 30163 w 64"/>
                <a:gd name="T17" fmla="*/ 23813 h 55"/>
                <a:gd name="T18" fmla="*/ 26988 w 64"/>
                <a:gd name="T19" fmla="*/ 34925 h 55"/>
                <a:gd name="T20" fmla="*/ 26988 w 64"/>
                <a:gd name="T21" fmla="*/ 57150 h 55"/>
                <a:gd name="T22" fmla="*/ 19050 w 64"/>
                <a:gd name="T23" fmla="*/ 68263 h 55"/>
                <a:gd name="T24" fmla="*/ 7938 w 64"/>
                <a:gd name="T25" fmla="*/ 68263 h 55"/>
                <a:gd name="T26" fmla="*/ 0 w 64"/>
                <a:gd name="T27" fmla="*/ 71438 h 55"/>
                <a:gd name="T28" fmla="*/ 4763 w 64"/>
                <a:gd name="T29" fmla="*/ 76200 h 55"/>
                <a:gd name="T30" fmla="*/ 11113 w 64"/>
                <a:gd name="T31" fmla="*/ 79375 h 55"/>
                <a:gd name="T32" fmla="*/ 19050 w 64"/>
                <a:gd name="T33" fmla="*/ 82550 h 55"/>
                <a:gd name="T34" fmla="*/ 22225 w 64"/>
                <a:gd name="T35" fmla="*/ 79375 h 55"/>
                <a:gd name="T36" fmla="*/ 26988 w 64"/>
                <a:gd name="T37" fmla="*/ 79375 h 55"/>
                <a:gd name="T38" fmla="*/ 30163 w 64"/>
                <a:gd name="T39" fmla="*/ 76200 h 55"/>
                <a:gd name="T40" fmla="*/ 33338 w 64"/>
                <a:gd name="T41" fmla="*/ 76200 h 55"/>
                <a:gd name="T42" fmla="*/ 41275 w 64"/>
                <a:gd name="T43" fmla="*/ 76200 h 55"/>
                <a:gd name="T44" fmla="*/ 41275 w 64"/>
                <a:gd name="T45" fmla="*/ 79375 h 55"/>
                <a:gd name="T46" fmla="*/ 41275 w 64"/>
                <a:gd name="T47" fmla="*/ 82550 h 55"/>
                <a:gd name="T48" fmla="*/ 44450 w 64"/>
                <a:gd name="T49" fmla="*/ 82550 h 55"/>
                <a:gd name="T50" fmla="*/ 52388 w 64"/>
                <a:gd name="T51" fmla="*/ 87313 h 55"/>
                <a:gd name="T52" fmla="*/ 52388 w 64"/>
                <a:gd name="T53" fmla="*/ 82550 h 55"/>
                <a:gd name="T54" fmla="*/ 60325 w 64"/>
                <a:gd name="T55" fmla="*/ 68263 h 55"/>
                <a:gd name="T56" fmla="*/ 63500 w 64"/>
                <a:gd name="T57" fmla="*/ 57150 h 55"/>
                <a:gd name="T58" fmla="*/ 68263 w 64"/>
                <a:gd name="T59" fmla="*/ 52388 h 55"/>
                <a:gd name="T60" fmla="*/ 71438 w 64"/>
                <a:gd name="T61" fmla="*/ 52388 h 55"/>
                <a:gd name="T62" fmla="*/ 79375 w 64"/>
                <a:gd name="T63" fmla="*/ 57150 h 55"/>
                <a:gd name="T64" fmla="*/ 85725 w 64"/>
                <a:gd name="T65" fmla="*/ 52388 h 55"/>
                <a:gd name="T66" fmla="*/ 85725 w 64"/>
                <a:gd name="T67" fmla="*/ 49213 h 55"/>
                <a:gd name="T68" fmla="*/ 90488 w 64"/>
                <a:gd name="T69" fmla="*/ 49213 h 55"/>
                <a:gd name="T70" fmla="*/ 98425 w 64"/>
                <a:gd name="T71" fmla="*/ 46038 h 55"/>
                <a:gd name="T72" fmla="*/ 98425 w 64"/>
                <a:gd name="T73" fmla="*/ 41275 h 55"/>
                <a:gd name="T74" fmla="*/ 98425 w 64"/>
                <a:gd name="T75" fmla="*/ 41275 h 55"/>
                <a:gd name="T76" fmla="*/ 98425 w 64"/>
                <a:gd name="T77" fmla="*/ 41275 h 55"/>
                <a:gd name="T78" fmla="*/ 93663 w 64"/>
                <a:gd name="T79" fmla="*/ 38100 h 55"/>
                <a:gd name="T80" fmla="*/ 93663 w 64"/>
                <a:gd name="T81" fmla="*/ 34925 h 55"/>
                <a:gd name="T82" fmla="*/ 98425 w 64"/>
                <a:gd name="T83" fmla="*/ 34925 h 55"/>
                <a:gd name="T84" fmla="*/ 101600 w 64"/>
                <a:gd name="T85" fmla="*/ 34925 h 55"/>
                <a:gd name="T86" fmla="*/ 101600 w 64"/>
                <a:gd name="T87" fmla="*/ 30163 h 55"/>
                <a:gd name="T88" fmla="*/ 101600 w 64"/>
                <a:gd name="T89" fmla="*/ 26988 h 55"/>
                <a:gd name="T90" fmla="*/ 101600 w 64"/>
                <a:gd name="T91" fmla="*/ 15875 h 55"/>
                <a:gd name="T92" fmla="*/ 98425 w 64"/>
                <a:gd name="T93" fmla="*/ 11113 h 55"/>
                <a:gd name="T94" fmla="*/ 98425 w 64"/>
                <a:gd name="T95" fmla="*/ 11113 h 5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64"/>
                <a:gd name="T145" fmla="*/ 0 h 55"/>
                <a:gd name="T146" fmla="*/ 64 w 64"/>
                <a:gd name="T147" fmla="*/ 55 h 5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64" h="55">
                  <a:moveTo>
                    <a:pt x="62" y="7"/>
                  </a:moveTo>
                  <a:lnTo>
                    <a:pt x="62" y="10"/>
                  </a:lnTo>
                  <a:lnTo>
                    <a:pt x="62" y="7"/>
                  </a:lnTo>
                  <a:lnTo>
                    <a:pt x="62" y="5"/>
                  </a:lnTo>
                  <a:lnTo>
                    <a:pt x="57" y="3"/>
                  </a:lnTo>
                  <a:lnTo>
                    <a:pt x="50" y="3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36" y="3"/>
                  </a:lnTo>
                  <a:lnTo>
                    <a:pt x="33" y="5"/>
                  </a:lnTo>
                  <a:lnTo>
                    <a:pt x="33" y="10"/>
                  </a:lnTo>
                  <a:lnTo>
                    <a:pt x="26" y="10"/>
                  </a:lnTo>
                  <a:lnTo>
                    <a:pt x="21" y="12"/>
                  </a:lnTo>
                  <a:lnTo>
                    <a:pt x="21" y="15"/>
                  </a:lnTo>
                  <a:lnTo>
                    <a:pt x="19" y="15"/>
                  </a:lnTo>
                  <a:lnTo>
                    <a:pt x="19" y="17"/>
                  </a:lnTo>
                  <a:lnTo>
                    <a:pt x="17" y="22"/>
                  </a:lnTo>
                  <a:lnTo>
                    <a:pt x="17" y="26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2" y="43"/>
                  </a:lnTo>
                  <a:lnTo>
                    <a:pt x="7" y="43"/>
                  </a:lnTo>
                  <a:lnTo>
                    <a:pt x="5" y="43"/>
                  </a:lnTo>
                  <a:lnTo>
                    <a:pt x="0" y="45"/>
                  </a:lnTo>
                  <a:lnTo>
                    <a:pt x="3" y="48"/>
                  </a:lnTo>
                  <a:lnTo>
                    <a:pt x="5" y="50"/>
                  </a:lnTo>
                  <a:lnTo>
                    <a:pt x="7" y="50"/>
                  </a:lnTo>
                  <a:lnTo>
                    <a:pt x="10" y="52"/>
                  </a:lnTo>
                  <a:lnTo>
                    <a:pt x="12" y="52"/>
                  </a:lnTo>
                  <a:lnTo>
                    <a:pt x="14" y="50"/>
                  </a:lnTo>
                  <a:lnTo>
                    <a:pt x="17" y="50"/>
                  </a:lnTo>
                  <a:lnTo>
                    <a:pt x="19" y="48"/>
                  </a:lnTo>
                  <a:lnTo>
                    <a:pt x="21" y="48"/>
                  </a:lnTo>
                  <a:lnTo>
                    <a:pt x="24" y="48"/>
                  </a:lnTo>
                  <a:lnTo>
                    <a:pt x="26" y="48"/>
                  </a:lnTo>
                  <a:lnTo>
                    <a:pt x="26" y="50"/>
                  </a:lnTo>
                  <a:lnTo>
                    <a:pt x="26" y="52"/>
                  </a:lnTo>
                  <a:lnTo>
                    <a:pt x="28" y="52"/>
                  </a:lnTo>
                  <a:lnTo>
                    <a:pt x="31" y="52"/>
                  </a:lnTo>
                  <a:lnTo>
                    <a:pt x="33" y="55"/>
                  </a:lnTo>
                  <a:lnTo>
                    <a:pt x="33" y="52"/>
                  </a:lnTo>
                  <a:lnTo>
                    <a:pt x="36" y="48"/>
                  </a:lnTo>
                  <a:lnTo>
                    <a:pt x="38" y="43"/>
                  </a:lnTo>
                  <a:lnTo>
                    <a:pt x="38" y="38"/>
                  </a:lnTo>
                  <a:lnTo>
                    <a:pt x="40" y="36"/>
                  </a:lnTo>
                  <a:lnTo>
                    <a:pt x="40" y="33"/>
                  </a:lnTo>
                  <a:lnTo>
                    <a:pt x="43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50" y="36"/>
                  </a:lnTo>
                  <a:lnTo>
                    <a:pt x="52" y="36"/>
                  </a:lnTo>
                  <a:lnTo>
                    <a:pt x="54" y="33"/>
                  </a:lnTo>
                  <a:lnTo>
                    <a:pt x="54" y="31"/>
                  </a:lnTo>
                  <a:lnTo>
                    <a:pt x="57" y="31"/>
                  </a:lnTo>
                  <a:lnTo>
                    <a:pt x="59" y="29"/>
                  </a:lnTo>
                  <a:lnTo>
                    <a:pt x="62" y="29"/>
                  </a:lnTo>
                  <a:lnTo>
                    <a:pt x="62" y="26"/>
                  </a:lnTo>
                  <a:lnTo>
                    <a:pt x="59" y="24"/>
                  </a:lnTo>
                  <a:lnTo>
                    <a:pt x="59" y="22"/>
                  </a:lnTo>
                  <a:lnTo>
                    <a:pt x="62" y="22"/>
                  </a:lnTo>
                  <a:lnTo>
                    <a:pt x="64" y="22"/>
                  </a:lnTo>
                  <a:lnTo>
                    <a:pt x="64" y="19"/>
                  </a:lnTo>
                  <a:lnTo>
                    <a:pt x="64" y="17"/>
                  </a:lnTo>
                  <a:lnTo>
                    <a:pt x="64" y="15"/>
                  </a:lnTo>
                  <a:lnTo>
                    <a:pt x="64" y="10"/>
                  </a:lnTo>
                  <a:lnTo>
                    <a:pt x="62" y="7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2" name="Freeform 1771"/>
            <p:cNvSpPr>
              <a:spLocks/>
            </p:cNvSpPr>
            <p:nvPr/>
          </p:nvSpPr>
          <p:spPr bwMode="gray">
            <a:xfrm>
              <a:off x="3458621" y="5186661"/>
              <a:ext cx="130621" cy="213739"/>
            </a:xfrm>
            <a:custGeom>
              <a:avLst/>
              <a:gdLst>
                <a:gd name="T0" fmla="*/ 0 w 11"/>
                <a:gd name="T1" fmla="*/ 17463 h 18"/>
                <a:gd name="T2" fmla="*/ 0 w 11"/>
                <a:gd name="T3" fmla="*/ 17463 h 18"/>
                <a:gd name="T4" fmla="*/ 0 w 11"/>
                <a:gd name="T5" fmla="*/ 14288 h 18"/>
                <a:gd name="T6" fmla="*/ 0 w 11"/>
                <a:gd name="T7" fmla="*/ 14288 h 18"/>
                <a:gd name="T8" fmla="*/ 0 w 11"/>
                <a:gd name="T9" fmla="*/ 11113 h 18"/>
                <a:gd name="T10" fmla="*/ 3175 w 11"/>
                <a:gd name="T11" fmla="*/ 6350 h 18"/>
                <a:gd name="T12" fmla="*/ 0 w 11"/>
                <a:gd name="T13" fmla="*/ 3175 h 18"/>
                <a:gd name="T14" fmla="*/ 0 w 11"/>
                <a:gd name="T15" fmla="*/ 3175 h 18"/>
                <a:gd name="T16" fmla="*/ 3175 w 11"/>
                <a:gd name="T17" fmla="*/ 3175 h 18"/>
                <a:gd name="T18" fmla="*/ 3175 w 11"/>
                <a:gd name="T19" fmla="*/ 0 h 18"/>
                <a:gd name="T20" fmla="*/ 6350 w 11"/>
                <a:gd name="T21" fmla="*/ 0 h 18"/>
                <a:gd name="T22" fmla="*/ 6350 w 11"/>
                <a:gd name="T23" fmla="*/ 0 h 18"/>
                <a:gd name="T24" fmla="*/ 6350 w 11"/>
                <a:gd name="T25" fmla="*/ 0 h 18"/>
                <a:gd name="T26" fmla="*/ 11113 w 11"/>
                <a:gd name="T27" fmla="*/ 3175 h 18"/>
                <a:gd name="T28" fmla="*/ 11113 w 11"/>
                <a:gd name="T29" fmla="*/ 6350 h 18"/>
                <a:gd name="T30" fmla="*/ 14288 w 11"/>
                <a:gd name="T31" fmla="*/ 11113 h 18"/>
                <a:gd name="T32" fmla="*/ 14288 w 11"/>
                <a:gd name="T33" fmla="*/ 11113 h 18"/>
                <a:gd name="T34" fmla="*/ 14288 w 11"/>
                <a:gd name="T35" fmla="*/ 11113 h 18"/>
                <a:gd name="T36" fmla="*/ 17463 w 11"/>
                <a:gd name="T37" fmla="*/ 11113 h 18"/>
                <a:gd name="T38" fmla="*/ 17463 w 11"/>
                <a:gd name="T39" fmla="*/ 11113 h 18"/>
                <a:gd name="T40" fmla="*/ 14288 w 11"/>
                <a:gd name="T41" fmla="*/ 17463 h 18"/>
                <a:gd name="T42" fmla="*/ 11113 w 11"/>
                <a:gd name="T43" fmla="*/ 17463 h 18"/>
                <a:gd name="T44" fmla="*/ 11113 w 11"/>
                <a:gd name="T45" fmla="*/ 22225 h 18"/>
                <a:gd name="T46" fmla="*/ 11113 w 11"/>
                <a:gd name="T47" fmla="*/ 25400 h 18"/>
                <a:gd name="T48" fmla="*/ 11113 w 11"/>
                <a:gd name="T49" fmla="*/ 25400 h 18"/>
                <a:gd name="T50" fmla="*/ 14288 w 11"/>
                <a:gd name="T51" fmla="*/ 28575 h 18"/>
                <a:gd name="T52" fmla="*/ 14288 w 11"/>
                <a:gd name="T53" fmla="*/ 28575 h 18"/>
                <a:gd name="T54" fmla="*/ 11113 w 11"/>
                <a:gd name="T55" fmla="*/ 28575 h 18"/>
                <a:gd name="T56" fmla="*/ 3175 w 11"/>
                <a:gd name="T57" fmla="*/ 28575 h 18"/>
                <a:gd name="T58" fmla="*/ 3175 w 11"/>
                <a:gd name="T59" fmla="*/ 25400 h 18"/>
                <a:gd name="T60" fmla="*/ 3175 w 11"/>
                <a:gd name="T61" fmla="*/ 25400 h 18"/>
                <a:gd name="T62" fmla="*/ 0 w 11"/>
                <a:gd name="T63" fmla="*/ 25400 h 18"/>
                <a:gd name="T64" fmla="*/ 0 w 11"/>
                <a:gd name="T65" fmla="*/ 22225 h 18"/>
                <a:gd name="T66" fmla="*/ 0 w 11"/>
                <a:gd name="T67" fmla="*/ 17463 h 18"/>
                <a:gd name="T68" fmla="*/ 0 w 11"/>
                <a:gd name="T69" fmla="*/ 17463 h 18"/>
                <a:gd name="T70" fmla="*/ 0 w 11"/>
                <a:gd name="T71" fmla="*/ 17463 h 18"/>
                <a:gd name="T72" fmla="*/ 0 w 11"/>
                <a:gd name="T73" fmla="*/ 17463 h 18"/>
                <a:gd name="T74" fmla="*/ 0 w 11"/>
                <a:gd name="T75" fmla="*/ 17463 h 1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"/>
                <a:gd name="T115" fmla="*/ 0 h 18"/>
                <a:gd name="T116" fmla="*/ 11 w 11"/>
                <a:gd name="T117" fmla="*/ 18 h 1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" h="18">
                  <a:moveTo>
                    <a:pt x="0" y="11"/>
                  </a:moveTo>
                  <a:lnTo>
                    <a:pt x="0" y="11"/>
                  </a:lnTo>
                  <a:lnTo>
                    <a:pt x="0" y="9"/>
                  </a:lnTo>
                  <a:lnTo>
                    <a:pt x="0" y="7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7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1" y="7"/>
                  </a:lnTo>
                  <a:lnTo>
                    <a:pt x="9" y="11"/>
                  </a:lnTo>
                  <a:lnTo>
                    <a:pt x="7" y="11"/>
                  </a:lnTo>
                  <a:lnTo>
                    <a:pt x="7" y="14"/>
                  </a:lnTo>
                  <a:lnTo>
                    <a:pt x="7" y="16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3" name="Freeform 1802"/>
            <p:cNvSpPr>
              <a:spLocks/>
            </p:cNvSpPr>
            <p:nvPr/>
          </p:nvSpPr>
          <p:spPr bwMode="gray">
            <a:xfrm>
              <a:off x="454414" y="3642994"/>
              <a:ext cx="759957" cy="1151816"/>
            </a:xfrm>
            <a:custGeom>
              <a:avLst/>
              <a:gdLst>
                <a:gd name="T0" fmla="*/ 85725 w 64"/>
                <a:gd name="T1" fmla="*/ 6350 h 97"/>
                <a:gd name="T2" fmla="*/ 85725 w 64"/>
                <a:gd name="T3" fmla="*/ 3175 h 97"/>
                <a:gd name="T4" fmla="*/ 77788 w 64"/>
                <a:gd name="T5" fmla="*/ 0 h 97"/>
                <a:gd name="T6" fmla="*/ 71438 w 64"/>
                <a:gd name="T7" fmla="*/ 11113 h 97"/>
                <a:gd name="T8" fmla="*/ 66675 w 64"/>
                <a:gd name="T9" fmla="*/ 6350 h 97"/>
                <a:gd name="T10" fmla="*/ 55563 w 64"/>
                <a:gd name="T11" fmla="*/ 6350 h 97"/>
                <a:gd name="T12" fmla="*/ 52388 w 64"/>
                <a:gd name="T13" fmla="*/ 17463 h 97"/>
                <a:gd name="T14" fmla="*/ 49213 w 64"/>
                <a:gd name="T15" fmla="*/ 22225 h 97"/>
                <a:gd name="T16" fmla="*/ 55563 w 64"/>
                <a:gd name="T17" fmla="*/ 30163 h 97"/>
                <a:gd name="T18" fmla="*/ 41275 w 64"/>
                <a:gd name="T19" fmla="*/ 41275 h 97"/>
                <a:gd name="T20" fmla="*/ 36513 w 64"/>
                <a:gd name="T21" fmla="*/ 44450 h 97"/>
                <a:gd name="T22" fmla="*/ 30163 w 64"/>
                <a:gd name="T23" fmla="*/ 44450 h 97"/>
                <a:gd name="T24" fmla="*/ 22225 w 64"/>
                <a:gd name="T25" fmla="*/ 44450 h 97"/>
                <a:gd name="T26" fmla="*/ 14288 w 64"/>
                <a:gd name="T27" fmla="*/ 36513 h 97"/>
                <a:gd name="T28" fmla="*/ 19050 w 64"/>
                <a:gd name="T29" fmla="*/ 52388 h 97"/>
                <a:gd name="T30" fmla="*/ 22225 w 64"/>
                <a:gd name="T31" fmla="*/ 55563 h 97"/>
                <a:gd name="T32" fmla="*/ 22225 w 64"/>
                <a:gd name="T33" fmla="*/ 63500 h 97"/>
                <a:gd name="T34" fmla="*/ 7938 w 64"/>
                <a:gd name="T35" fmla="*/ 63500 h 97"/>
                <a:gd name="T36" fmla="*/ 7938 w 64"/>
                <a:gd name="T37" fmla="*/ 71438 h 97"/>
                <a:gd name="T38" fmla="*/ 3175 w 64"/>
                <a:gd name="T39" fmla="*/ 71438 h 97"/>
                <a:gd name="T40" fmla="*/ 14288 w 64"/>
                <a:gd name="T41" fmla="*/ 85725 h 97"/>
                <a:gd name="T42" fmla="*/ 30163 w 64"/>
                <a:gd name="T43" fmla="*/ 85725 h 97"/>
                <a:gd name="T44" fmla="*/ 14288 w 64"/>
                <a:gd name="T45" fmla="*/ 115888 h 97"/>
                <a:gd name="T46" fmla="*/ 0 w 64"/>
                <a:gd name="T47" fmla="*/ 130175 h 97"/>
                <a:gd name="T48" fmla="*/ 7938 w 64"/>
                <a:gd name="T49" fmla="*/ 146050 h 97"/>
                <a:gd name="T50" fmla="*/ 11113 w 64"/>
                <a:gd name="T51" fmla="*/ 146050 h 97"/>
                <a:gd name="T52" fmla="*/ 14288 w 64"/>
                <a:gd name="T53" fmla="*/ 149225 h 97"/>
                <a:gd name="T54" fmla="*/ 19050 w 64"/>
                <a:gd name="T55" fmla="*/ 149225 h 97"/>
                <a:gd name="T56" fmla="*/ 22225 w 64"/>
                <a:gd name="T57" fmla="*/ 149225 h 97"/>
                <a:gd name="T58" fmla="*/ 25400 w 64"/>
                <a:gd name="T59" fmla="*/ 146050 h 97"/>
                <a:gd name="T60" fmla="*/ 33338 w 64"/>
                <a:gd name="T61" fmla="*/ 149225 h 97"/>
                <a:gd name="T62" fmla="*/ 36513 w 64"/>
                <a:gd name="T63" fmla="*/ 153988 h 97"/>
                <a:gd name="T64" fmla="*/ 44450 w 64"/>
                <a:gd name="T65" fmla="*/ 149225 h 97"/>
                <a:gd name="T66" fmla="*/ 63500 w 64"/>
                <a:gd name="T67" fmla="*/ 138113 h 97"/>
                <a:gd name="T68" fmla="*/ 71438 w 64"/>
                <a:gd name="T69" fmla="*/ 127000 h 97"/>
                <a:gd name="T70" fmla="*/ 82550 w 64"/>
                <a:gd name="T71" fmla="*/ 119063 h 97"/>
                <a:gd name="T72" fmla="*/ 85725 w 64"/>
                <a:gd name="T73" fmla="*/ 119063 h 97"/>
                <a:gd name="T74" fmla="*/ 90488 w 64"/>
                <a:gd name="T75" fmla="*/ 123825 h 97"/>
                <a:gd name="T76" fmla="*/ 93663 w 64"/>
                <a:gd name="T77" fmla="*/ 123825 h 97"/>
                <a:gd name="T78" fmla="*/ 93663 w 64"/>
                <a:gd name="T79" fmla="*/ 119063 h 97"/>
                <a:gd name="T80" fmla="*/ 90488 w 64"/>
                <a:gd name="T81" fmla="*/ 115888 h 97"/>
                <a:gd name="T82" fmla="*/ 90488 w 64"/>
                <a:gd name="T83" fmla="*/ 115888 h 97"/>
                <a:gd name="T84" fmla="*/ 93663 w 64"/>
                <a:gd name="T85" fmla="*/ 112713 h 97"/>
                <a:gd name="T86" fmla="*/ 96838 w 64"/>
                <a:gd name="T87" fmla="*/ 104775 h 97"/>
                <a:gd name="T88" fmla="*/ 96838 w 64"/>
                <a:gd name="T89" fmla="*/ 96838 h 97"/>
                <a:gd name="T90" fmla="*/ 90488 w 64"/>
                <a:gd name="T91" fmla="*/ 77788 h 97"/>
                <a:gd name="T92" fmla="*/ 93663 w 64"/>
                <a:gd name="T93" fmla="*/ 55563 h 97"/>
                <a:gd name="T94" fmla="*/ 82550 w 64"/>
                <a:gd name="T95" fmla="*/ 47625 h 97"/>
                <a:gd name="T96" fmla="*/ 74613 w 64"/>
                <a:gd name="T97" fmla="*/ 52388 h 97"/>
                <a:gd name="T98" fmla="*/ 71438 w 64"/>
                <a:gd name="T99" fmla="*/ 52388 h 97"/>
                <a:gd name="T100" fmla="*/ 71438 w 64"/>
                <a:gd name="T101" fmla="*/ 44450 h 97"/>
                <a:gd name="T102" fmla="*/ 66675 w 64"/>
                <a:gd name="T103" fmla="*/ 41275 h 97"/>
                <a:gd name="T104" fmla="*/ 63500 w 64"/>
                <a:gd name="T105" fmla="*/ 41275 h 97"/>
                <a:gd name="T106" fmla="*/ 63500 w 64"/>
                <a:gd name="T107" fmla="*/ 41275 h 97"/>
                <a:gd name="T108" fmla="*/ 63500 w 64"/>
                <a:gd name="T109" fmla="*/ 33338 h 97"/>
                <a:gd name="T110" fmla="*/ 63500 w 64"/>
                <a:gd name="T111" fmla="*/ 33338 h 97"/>
                <a:gd name="T112" fmla="*/ 66675 w 64"/>
                <a:gd name="T113" fmla="*/ 30163 h 97"/>
                <a:gd name="T114" fmla="*/ 71438 w 64"/>
                <a:gd name="T115" fmla="*/ 30163 h 97"/>
                <a:gd name="T116" fmla="*/ 71438 w 64"/>
                <a:gd name="T117" fmla="*/ 25400 h 97"/>
                <a:gd name="T118" fmla="*/ 71438 w 64"/>
                <a:gd name="T119" fmla="*/ 22225 h 97"/>
                <a:gd name="T120" fmla="*/ 77788 w 64"/>
                <a:gd name="T121" fmla="*/ 14288 h 97"/>
                <a:gd name="T122" fmla="*/ 85725 w 64"/>
                <a:gd name="T123" fmla="*/ 11113 h 9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4"/>
                <a:gd name="T187" fmla="*/ 0 h 97"/>
                <a:gd name="T188" fmla="*/ 64 w 64"/>
                <a:gd name="T189" fmla="*/ 97 h 9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4" h="97">
                  <a:moveTo>
                    <a:pt x="54" y="7"/>
                  </a:moveTo>
                  <a:lnTo>
                    <a:pt x="54" y="7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5" y="7"/>
                  </a:lnTo>
                  <a:lnTo>
                    <a:pt x="42" y="4"/>
                  </a:lnTo>
                  <a:lnTo>
                    <a:pt x="38" y="4"/>
                  </a:lnTo>
                  <a:lnTo>
                    <a:pt x="35" y="4"/>
                  </a:lnTo>
                  <a:lnTo>
                    <a:pt x="35" y="7"/>
                  </a:lnTo>
                  <a:lnTo>
                    <a:pt x="35" y="11"/>
                  </a:lnTo>
                  <a:lnTo>
                    <a:pt x="33" y="11"/>
                  </a:lnTo>
                  <a:lnTo>
                    <a:pt x="31" y="14"/>
                  </a:lnTo>
                  <a:lnTo>
                    <a:pt x="35" y="14"/>
                  </a:lnTo>
                  <a:lnTo>
                    <a:pt x="35" y="19"/>
                  </a:lnTo>
                  <a:lnTo>
                    <a:pt x="31" y="19"/>
                  </a:lnTo>
                  <a:lnTo>
                    <a:pt x="28" y="21"/>
                  </a:lnTo>
                  <a:lnTo>
                    <a:pt x="26" y="26"/>
                  </a:lnTo>
                  <a:lnTo>
                    <a:pt x="26" y="28"/>
                  </a:lnTo>
                  <a:lnTo>
                    <a:pt x="23" y="28"/>
                  </a:lnTo>
                  <a:lnTo>
                    <a:pt x="21" y="28"/>
                  </a:lnTo>
                  <a:lnTo>
                    <a:pt x="19" y="28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9" y="23"/>
                  </a:lnTo>
                  <a:lnTo>
                    <a:pt x="9" y="28"/>
                  </a:lnTo>
                  <a:lnTo>
                    <a:pt x="9" y="33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4" y="35"/>
                  </a:lnTo>
                  <a:lnTo>
                    <a:pt x="14" y="37"/>
                  </a:lnTo>
                  <a:lnTo>
                    <a:pt x="14" y="40"/>
                  </a:lnTo>
                  <a:lnTo>
                    <a:pt x="9" y="40"/>
                  </a:lnTo>
                  <a:lnTo>
                    <a:pt x="5" y="40"/>
                  </a:lnTo>
                  <a:lnTo>
                    <a:pt x="5" y="42"/>
                  </a:lnTo>
                  <a:lnTo>
                    <a:pt x="5" y="45"/>
                  </a:lnTo>
                  <a:lnTo>
                    <a:pt x="2" y="45"/>
                  </a:lnTo>
                  <a:lnTo>
                    <a:pt x="5" y="49"/>
                  </a:lnTo>
                  <a:lnTo>
                    <a:pt x="7" y="54"/>
                  </a:lnTo>
                  <a:lnTo>
                    <a:pt x="9" y="54"/>
                  </a:lnTo>
                  <a:lnTo>
                    <a:pt x="12" y="54"/>
                  </a:lnTo>
                  <a:lnTo>
                    <a:pt x="16" y="54"/>
                  </a:lnTo>
                  <a:lnTo>
                    <a:pt x="19" y="54"/>
                  </a:lnTo>
                  <a:lnTo>
                    <a:pt x="16" y="61"/>
                  </a:lnTo>
                  <a:lnTo>
                    <a:pt x="14" y="68"/>
                  </a:lnTo>
                  <a:lnTo>
                    <a:pt x="9" y="73"/>
                  </a:lnTo>
                  <a:lnTo>
                    <a:pt x="7" y="82"/>
                  </a:lnTo>
                  <a:lnTo>
                    <a:pt x="2" y="82"/>
                  </a:lnTo>
                  <a:lnTo>
                    <a:pt x="0" y="82"/>
                  </a:lnTo>
                  <a:lnTo>
                    <a:pt x="2" y="87"/>
                  </a:lnTo>
                  <a:lnTo>
                    <a:pt x="5" y="92"/>
                  </a:lnTo>
                  <a:lnTo>
                    <a:pt x="7" y="92"/>
                  </a:lnTo>
                  <a:lnTo>
                    <a:pt x="9" y="92"/>
                  </a:lnTo>
                  <a:lnTo>
                    <a:pt x="9" y="94"/>
                  </a:lnTo>
                  <a:lnTo>
                    <a:pt x="7" y="97"/>
                  </a:lnTo>
                  <a:lnTo>
                    <a:pt x="12" y="97"/>
                  </a:lnTo>
                  <a:lnTo>
                    <a:pt x="12" y="94"/>
                  </a:lnTo>
                  <a:lnTo>
                    <a:pt x="14" y="94"/>
                  </a:lnTo>
                  <a:lnTo>
                    <a:pt x="16" y="94"/>
                  </a:lnTo>
                  <a:lnTo>
                    <a:pt x="16" y="92"/>
                  </a:lnTo>
                  <a:lnTo>
                    <a:pt x="19" y="92"/>
                  </a:lnTo>
                  <a:lnTo>
                    <a:pt x="21" y="94"/>
                  </a:lnTo>
                  <a:lnTo>
                    <a:pt x="21" y="97"/>
                  </a:lnTo>
                  <a:lnTo>
                    <a:pt x="23" y="97"/>
                  </a:lnTo>
                  <a:lnTo>
                    <a:pt x="28" y="97"/>
                  </a:lnTo>
                  <a:lnTo>
                    <a:pt x="28" y="94"/>
                  </a:lnTo>
                  <a:lnTo>
                    <a:pt x="31" y="92"/>
                  </a:lnTo>
                  <a:lnTo>
                    <a:pt x="35" y="87"/>
                  </a:lnTo>
                  <a:lnTo>
                    <a:pt x="40" y="87"/>
                  </a:lnTo>
                  <a:lnTo>
                    <a:pt x="45" y="87"/>
                  </a:lnTo>
                  <a:lnTo>
                    <a:pt x="45" y="85"/>
                  </a:lnTo>
                  <a:lnTo>
                    <a:pt x="45" y="80"/>
                  </a:lnTo>
                  <a:lnTo>
                    <a:pt x="47" y="80"/>
                  </a:lnTo>
                  <a:lnTo>
                    <a:pt x="52" y="80"/>
                  </a:lnTo>
                  <a:lnTo>
                    <a:pt x="52" y="75"/>
                  </a:lnTo>
                  <a:lnTo>
                    <a:pt x="54" y="75"/>
                  </a:lnTo>
                  <a:lnTo>
                    <a:pt x="54" y="78"/>
                  </a:lnTo>
                  <a:lnTo>
                    <a:pt x="57" y="78"/>
                  </a:lnTo>
                  <a:lnTo>
                    <a:pt x="59" y="78"/>
                  </a:lnTo>
                  <a:lnTo>
                    <a:pt x="59" y="75"/>
                  </a:lnTo>
                  <a:lnTo>
                    <a:pt x="57" y="75"/>
                  </a:lnTo>
                  <a:lnTo>
                    <a:pt x="57" y="73"/>
                  </a:lnTo>
                  <a:lnTo>
                    <a:pt x="59" y="71"/>
                  </a:lnTo>
                  <a:lnTo>
                    <a:pt x="61" y="68"/>
                  </a:lnTo>
                  <a:lnTo>
                    <a:pt x="61" y="66"/>
                  </a:lnTo>
                  <a:lnTo>
                    <a:pt x="61" y="63"/>
                  </a:lnTo>
                  <a:lnTo>
                    <a:pt x="61" y="61"/>
                  </a:lnTo>
                  <a:lnTo>
                    <a:pt x="59" y="56"/>
                  </a:lnTo>
                  <a:lnTo>
                    <a:pt x="57" y="49"/>
                  </a:lnTo>
                  <a:lnTo>
                    <a:pt x="59" y="45"/>
                  </a:lnTo>
                  <a:lnTo>
                    <a:pt x="59" y="40"/>
                  </a:lnTo>
                  <a:lnTo>
                    <a:pt x="59" y="35"/>
                  </a:lnTo>
                  <a:lnTo>
                    <a:pt x="64" y="30"/>
                  </a:lnTo>
                  <a:lnTo>
                    <a:pt x="57" y="33"/>
                  </a:lnTo>
                  <a:lnTo>
                    <a:pt x="52" y="30"/>
                  </a:lnTo>
                  <a:lnTo>
                    <a:pt x="49" y="30"/>
                  </a:lnTo>
                  <a:lnTo>
                    <a:pt x="47" y="33"/>
                  </a:lnTo>
                  <a:lnTo>
                    <a:pt x="45" y="33"/>
                  </a:lnTo>
                  <a:lnTo>
                    <a:pt x="45" y="30"/>
                  </a:lnTo>
                  <a:lnTo>
                    <a:pt x="45" y="28"/>
                  </a:lnTo>
                  <a:lnTo>
                    <a:pt x="42" y="26"/>
                  </a:lnTo>
                  <a:lnTo>
                    <a:pt x="40" y="26"/>
                  </a:lnTo>
                  <a:lnTo>
                    <a:pt x="40" y="23"/>
                  </a:lnTo>
                  <a:lnTo>
                    <a:pt x="40" y="21"/>
                  </a:lnTo>
                  <a:lnTo>
                    <a:pt x="42" y="19"/>
                  </a:lnTo>
                  <a:lnTo>
                    <a:pt x="45" y="19"/>
                  </a:lnTo>
                  <a:lnTo>
                    <a:pt x="45" y="16"/>
                  </a:lnTo>
                  <a:lnTo>
                    <a:pt x="45" y="14"/>
                  </a:lnTo>
                  <a:lnTo>
                    <a:pt x="47" y="11"/>
                  </a:lnTo>
                  <a:lnTo>
                    <a:pt x="49" y="9"/>
                  </a:lnTo>
                  <a:lnTo>
                    <a:pt x="52" y="7"/>
                  </a:lnTo>
                  <a:lnTo>
                    <a:pt x="54" y="7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4" name="Freeform 1803"/>
            <p:cNvSpPr>
              <a:spLocks/>
            </p:cNvSpPr>
            <p:nvPr/>
          </p:nvSpPr>
          <p:spPr bwMode="gray">
            <a:xfrm>
              <a:off x="680030" y="4201093"/>
              <a:ext cx="47497" cy="83124"/>
            </a:xfrm>
            <a:custGeom>
              <a:avLst/>
              <a:gdLst>
                <a:gd name="T0" fmla="*/ 3175 w 4"/>
                <a:gd name="T1" fmla="*/ 3175 h 7"/>
                <a:gd name="T2" fmla="*/ 6350 w 4"/>
                <a:gd name="T3" fmla="*/ 3175 h 7"/>
                <a:gd name="T4" fmla="*/ 6350 w 4"/>
                <a:gd name="T5" fmla="*/ 3175 h 7"/>
                <a:gd name="T6" fmla="*/ 6350 w 4"/>
                <a:gd name="T7" fmla="*/ 7938 h 7"/>
                <a:gd name="T8" fmla="*/ 3175 w 4"/>
                <a:gd name="T9" fmla="*/ 7938 h 7"/>
                <a:gd name="T10" fmla="*/ 3175 w 4"/>
                <a:gd name="T11" fmla="*/ 7938 h 7"/>
                <a:gd name="T12" fmla="*/ 0 w 4"/>
                <a:gd name="T13" fmla="*/ 11113 h 7"/>
                <a:gd name="T14" fmla="*/ 0 w 4"/>
                <a:gd name="T15" fmla="*/ 7938 h 7"/>
                <a:gd name="T16" fmla="*/ 0 w 4"/>
                <a:gd name="T17" fmla="*/ 3175 h 7"/>
                <a:gd name="T18" fmla="*/ 0 w 4"/>
                <a:gd name="T19" fmla="*/ 3175 h 7"/>
                <a:gd name="T20" fmla="*/ 3175 w 4"/>
                <a:gd name="T21" fmla="*/ 3175 h 7"/>
                <a:gd name="T22" fmla="*/ 3175 w 4"/>
                <a:gd name="T23" fmla="*/ 0 h 7"/>
                <a:gd name="T24" fmla="*/ 3175 w 4"/>
                <a:gd name="T25" fmla="*/ 3175 h 7"/>
                <a:gd name="T26" fmla="*/ 3175 w 4"/>
                <a:gd name="T27" fmla="*/ 3175 h 7"/>
                <a:gd name="T28" fmla="*/ 3175 w 4"/>
                <a:gd name="T29" fmla="*/ 3175 h 7"/>
                <a:gd name="T30" fmla="*/ 3175 w 4"/>
                <a:gd name="T31" fmla="*/ 3175 h 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"/>
                <a:gd name="T49" fmla="*/ 0 h 7"/>
                <a:gd name="T50" fmla="*/ 4 w 4"/>
                <a:gd name="T51" fmla="*/ 7 h 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" h="7">
                  <a:moveTo>
                    <a:pt x="2" y="2"/>
                  </a:moveTo>
                  <a:lnTo>
                    <a:pt x="4" y="2"/>
                  </a:lnTo>
                  <a:lnTo>
                    <a:pt x="4" y="5"/>
                  </a:lnTo>
                  <a:lnTo>
                    <a:pt x="2" y="5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5" name="Freeform 1804"/>
            <p:cNvSpPr>
              <a:spLocks/>
            </p:cNvSpPr>
            <p:nvPr/>
          </p:nvSpPr>
          <p:spPr bwMode="gray">
            <a:xfrm>
              <a:off x="644403" y="4426702"/>
              <a:ext cx="59375" cy="59376"/>
            </a:xfrm>
            <a:custGeom>
              <a:avLst/>
              <a:gdLst>
                <a:gd name="T0" fmla="*/ 7938 w 5"/>
                <a:gd name="T1" fmla="*/ 0 h 5"/>
                <a:gd name="T2" fmla="*/ 7938 w 5"/>
                <a:gd name="T3" fmla="*/ 7938 h 5"/>
                <a:gd name="T4" fmla="*/ 4763 w 5"/>
                <a:gd name="T5" fmla="*/ 7938 h 5"/>
                <a:gd name="T6" fmla="*/ 4763 w 5"/>
                <a:gd name="T7" fmla="*/ 7938 h 5"/>
                <a:gd name="T8" fmla="*/ 4763 w 5"/>
                <a:gd name="T9" fmla="*/ 7938 h 5"/>
                <a:gd name="T10" fmla="*/ 4763 w 5"/>
                <a:gd name="T11" fmla="*/ 7938 h 5"/>
                <a:gd name="T12" fmla="*/ 0 w 5"/>
                <a:gd name="T13" fmla="*/ 3175 h 5"/>
                <a:gd name="T14" fmla="*/ 4763 w 5"/>
                <a:gd name="T15" fmla="*/ 3175 h 5"/>
                <a:gd name="T16" fmla="*/ 4763 w 5"/>
                <a:gd name="T17" fmla="*/ 3175 h 5"/>
                <a:gd name="T18" fmla="*/ 4763 w 5"/>
                <a:gd name="T19" fmla="*/ 0 h 5"/>
                <a:gd name="T20" fmla="*/ 7938 w 5"/>
                <a:gd name="T21" fmla="*/ 0 h 5"/>
                <a:gd name="T22" fmla="*/ 7938 w 5"/>
                <a:gd name="T23" fmla="*/ 0 h 5"/>
                <a:gd name="T24" fmla="*/ 7938 w 5"/>
                <a:gd name="T25" fmla="*/ 0 h 5"/>
                <a:gd name="T26" fmla="*/ 7938 w 5"/>
                <a:gd name="T27" fmla="*/ 0 h 5"/>
                <a:gd name="T28" fmla="*/ 7938 w 5"/>
                <a:gd name="T29" fmla="*/ 0 h 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"/>
                <a:gd name="T46" fmla="*/ 0 h 5"/>
                <a:gd name="T47" fmla="*/ 5 w 5"/>
                <a:gd name="T48" fmla="*/ 5 h 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" h="5">
                  <a:moveTo>
                    <a:pt x="5" y="0"/>
                  </a:moveTo>
                  <a:lnTo>
                    <a:pt x="5" y="5"/>
                  </a:lnTo>
                  <a:lnTo>
                    <a:pt x="3" y="5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6" name="Freeform 1884"/>
            <p:cNvSpPr>
              <a:spLocks/>
            </p:cNvSpPr>
            <p:nvPr/>
          </p:nvSpPr>
          <p:spPr bwMode="gray">
            <a:xfrm>
              <a:off x="3422995" y="3773616"/>
              <a:ext cx="1686154" cy="2196761"/>
            </a:xfrm>
            <a:custGeom>
              <a:avLst/>
              <a:gdLst>
                <a:gd name="T0" fmla="*/ 49213 w 142"/>
                <a:gd name="T1" fmla="*/ 101600 h 185"/>
                <a:gd name="T2" fmla="*/ 41275 w 142"/>
                <a:gd name="T3" fmla="*/ 106363 h 185"/>
                <a:gd name="T4" fmla="*/ 46038 w 142"/>
                <a:gd name="T5" fmla="*/ 112713 h 185"/>
                <a:gd name="T6" fmla="*/ 38100 w 142"/>
                <a:gd name="T7" fmla="*/ 120650 h 185"/>
                <a:gd name="T8" fmla="*/ 26988 w 142"/>
                <a:gd name="T9" fmla="*/ 128588 h 185"/>
                <a:gd name="T10" fmla="*/ 11113 w 142"/>
                <a:gd name="T11" fmla="*/ 128588 h 185"/>
                <a:gd name="T12" fmla="*/ 0 w 142"/>
                <a:gd name="T13" fmla="*/ 158750 h 185"/>
                <a:gd name="T14" fmla="*/ 11113 w 142"/>
                <a:gd name="T15" fmla="*/ 165100 h 185"/>
                <a:gd name="T16" fmla="*/ 7938 w 142"/>
                <a:gd name="T17" fmla="*/ 169863 h 185"/>
                <a:gd name="T18" fmla="*/ 11113 w 142"/>
                <a:gd name="T19" fmla="*/ 173038 h 185"/>
                <a:gd name="T20" fmla="*/ 11113 w 142"/>
                <a:gd name="T21" fmla="*/ 188913 h 185"/>
                <a:gd name="T22" fmla="*/ 19050 w 142"/>
                <a:gd name="T23" fmla="*/ 200025 h 185"/>
                <a:gd name="T24" fmla="*/ 15875 w 142"/>
                <a:gd name="T25" fmla="*/ 214313 h 185"/>
                <a:gd name="T26" fmla="*/ 30163 w 142"/>
                <a:gd name="T27" fmla="*/ 217488 h 185"/>
                <a:gd name="T28" fmla="*/ 41275 w 142"/>
                <a:gd name="T29" fmla="*/ 225425 h 185"/>
                <a:gd name="T30" fmla="*/ 60325 w 142"/>
                <a:gd name="T31" fmla="*/ 230188 h 185"/>
                <a:gd name="T32" fmla="*/ 63500 w 142"/>
                <a:gd name="T33" fmla="*/ 241300 h 185"/>
                <a:gd name="T34" fmla="*/ 60325 w 142"/>
                <a:gd name="T35" fmla="*/ 263525 h 185"/>
                <a:gd name="T36" fmla="*/ 68263 w 142"/>
                <a:gd name="T37" fmla="*/ 282575 h 185"/>
                <a:gd name="T38" fmla="*/ 82550 w 142"/>
                <a:gd name="T39" fmla="*/ 274638 h 185"/>
                <a:gd name="T40" fmla="*/ 120650 w 142"/>
                <a:gd name="T41" fmla="*/ 285750 h 185"/>
                <a:gd name="T42" fmla="*/ 139700 w 142"/>
                <a:gd name="T43" fmla="*/ 277813 h 185"/>
                <a:gd name="T44" fmla="*/ 150813 w 142"/>
                <a:gd name="T45" fmla="*/ 271463 h 185"/>
                <a:gd name="T46" fmla="*/ 173038 w 142"/>
                <a:gd name="T47" fmla="*/ 274638 h 185"/>
                <a:gd name="T48" fmla="*/ 184150 w 142"/>
                <a:gd name="T49" fmla="*/ 282575 h 185"/>
                <a:gd name="T50" fmla="*/ 180975 w 142"/>
                <a:gd name="T51" fmla="*/ 263525 h 185"/>
                <a:gd name="T52" fmla="*/ 184150 w 142"/>
                <a:gd name="T53" fmla="*/ 255588 h 185"/>
                <a:gd name="T54" fmla="*/ 195263 w 142"/>
                <a:gd name="T55" fmla="*/ 244475 h 185"/>
                <a:gd name="T56" fmla="*/ 203200 w 142"/>
                <a:gd name="T57" fmla="*/ 233363 h 185"/>
                <a:gd name="T58" fmla="*/ 187325 w 142"/>
                <a:gd name="T59" fmla="*/ 222250 h 185"/>
                <a:gd name="T60" fmla="*/ 180975 w 142"/>
                <a:gd name="T61" fmla="*/ 206375 h 185"/>
                <a:gd name="T62" fmla="*/ 169863 w 142"/>
                <a:gd name="T63" fmla="*/ 184150 h 185"/>
                <a:gd name="T64" fmla="*/ 169863 w 142"/>
                <a:gd name="T65" fmla="*/ 173038 h 185"/>
                <a:gd name="T66" fmla="*/ 184150 w 142"/>
                <a:gd name="T67" fmla="*/ 169863 h 185"/>
                <a:gd name="T68" fmla="*/ 198438 w 142"/>
                <a:gd name="T69" fmla="*/ 158750 h 185"/>
                <a:gd name="T70" fmla="*/ 225425 w 142"/>
                <a:gd name="T71" fmla="*/ 128588 h 185"/>
                <a:gd name="T72" fmla="*/ 222250 w 142"/>
                <a:gd name="T73" fmla="*/ 90488 h 185"/>
                <a:gd name="T74" fmla="*/ 214313 w 142"/>
                <a:gd name="T75" fmla="*/ 71438 h 185"/>
                <a:gd name="T76" fmla="*/ 217488 w 142"/>
                <a:gd name="T77" fmla="*/ 49213 h 185"/>
                <a:gd name="T78" fmla="*/ 192088 w 142"/>
                <a:gd name="T79" fmla="*/ 30163 h 185"/>
                <a:gd name="T80" fmla="*/ 161925 w 142"/>
                <a:gd name="T81" fmla="*/ 41275 h 185"/>
                <a:gd name="T82" fmla="*/ 150813 w 142"/>
                <a:gd name="T83" fmla="*/ 49213 h 185"/>
                <a:gd name="T84" fmla="*/ 128588 w 142"/>
                <a:gd name="T85" fmla="*/ 38100 h 185"/>
                <a:gd name="T86" fmla="*/ 112713 w 142"/>
                <a:gd name="T87" fmla="*/ 23813 h 185"/>
                <a:gd name="T88" fmla="*/ 101600 w 142"/>
                <a:gd name="T89" fmla="*/ 4763 h 185"/>
                <a:gd name="T90" fmla="*/ 74613 w 142"/>
                <a:gd name="T91" fmla="*/ 12700 h 185"/>
                <a:gd name="T92" fmla="*/ 87313 w 142"/>
                <a:gd name="T93" fmla="*/ 38100 h 185"/>
                <a:gd name="T94" fmla="*/ 87313 w 142"/>
                <a:gd name="T95" fmla="*/ 60325 h 185"/>
                <a:gd name="T96" fmla="*/ 82550 w 142"/>
                <a:gd name="T97" fmla="*/ 57150 h 185"/>
                <a:gd name="T98" fmla="*/ 71438 w 142"/>
                <a:gd name="T99" fmla="*/ 68263 h 185"/>
                <a:gd name="T100" fmla="*/ 57150 w 142"/>
                <a:gd name="T101" fmla="*/ 68263 h 185"/>
                <a:gd name="T102" fmla="*/ 46038 w 142"/>
                <a:gd name="T103" fmla="*/ 79375 h 185"/>
                <a:gd name="T104" fmla="*/ 49213 w 142"/>
                <a:gd name="T105" fmla="*/ 82550 h 18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2"/>
                <a:gd name="T160" fmla="*/ 0 h 185"/>
                <a:gd name="T161" fmla="*/ 142 w 142"/>
                <a:gd name="T162" fmla="*/ 185 h 18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2" h="185">
                  <a:moveTo>
                    <a:pt x="29" y="52"/>
                  </a:moveTo>
                  <a:lnTo>
                    <a:pt x="31" y="55"/>
                  </a:lnTo>
                  <a:lnTo>
                    <a:pt x="31" y="60"/>
                  </a:lnTo>
                  <a:lnTo>
                    <a:pt x="31" y="62"/>
                  </a:lnTo>
                  <a:lnTo>
                    <a:pt x="31" y="64"/>
                  </a:lnTo>
                  <a:lnTo>
                    <a:pt x="31" y="67"/>
                  </a:lnTo>
                  <a:lnTo>
                    <a:pt x="29" y="67"/>
                  </a:lnTo>
                  <a:lnTo>
                    <a:pt x="26" y="67"/>
                  </a:lnTo>
                  <a:lnTo>
                    <a:pt x="26" y="69"/>
                  </a:lnTo>
                  <a:lnTo>
                    <a:pt x="29" y="71"/>
                  </a:lnTo>
                  <a:lnTo>
                    <a:pt x="29" y="74"/>
                  </a:lnTo>
                  <a:lnTo>
                    <a:pt x="26" y="74"/>
                  </a:lnTo>
                  <a:lnTo>
                    <a:pt x="24" y="76"/>
                  </a:lnTo>
                  <a:lnTo>
                    <a:pt x="21" y="76"/>
                  </a:lnTo>
                  <a:lnTo>
                    <a:pt x="21" y="78"/>
                  </a:lnTo>
                  <a:lnTo>
                    <a:pt x="19" y="81"/>
                  </a:lnTo>
                  <a:lnTo>
                    <a:pt x="17" y="81"/>
                  </a:lnTo>
                  <a:lnTo>
                    <a:pt x="14" y="78"/>
                  </a:lnTo>
                  <a:lnTo>
                    <a:pt x="12" y="78"/>
                  </a:lnTo>
                  <a:lnTo>
                    <a:pt x="10" y="78"/>
                  </a:lnTo>
                  <a:lnTo>
                    <a:pt x="7" y="78"/>
                  </a:lnTo>
                  <a:lnTo>
                    <a:pt x="7" y="81"/>
                  </a:lnTo>
                  <a:lnTo>
                    <a:pt x="5" y="83"/>
                  </a:lnTo>
                  <a:lnTo>
                    <a:pt x="5" y="88"/>
                  </a:lnTo>
                  <a:lnTo>
                    <a:pt x="3" y="93"/>
                  </a:lnTo>
                  <a:lnTo>
                    <a:pt x="0" y="97"/>
                  </a:lnTo>
                  <a:lnTo>
                    <a:pt x="0" y="100"/>
                  </a:lnTo>
                  <a:lnTo>
                    <a:pt x="3" y="102"/>
                  </a:lnTo>
                  <a:lnTo>
                    <a:pt x="5" y="102"/>
                  </a:lnTo>
                  <a:lnTo>
                    <a:pt x="7" y="102"/>
                  </a:lnTo>
                  <a:lnTo>
                    <a:pt x="7" y="104"/>
                  </a:lnTo>
                  <a:lnTo>
                    <a:pt x="5" y="104"/>
                  </a:lnTo>
                  <a:lnTo>
                    <a:pt x="5" y="107"/>
                  </a:lnTo>
                  <a:lnTo>
                    <a:pt x="7" y="109"/>
                  </a:lnTo>
                  <a:lnTo>
                    <a:pt x="10" y="112"/>
                  </a:lnTo>
                  <a:lnTo>
                    <a:pt x="10" y="114"/>
                  </a:lnTo>
                  <a:lnTo>
                    <a:pt x="7" y="119"/>
                  </a:lnTo>
                  <a:lnTo>
                    <a:pt x="10" y="121"/>
                  </a:lnTo>
                  <a:lnTo>
                    <a:pt x="10" y="123"/>
                  </a:lnTo>
                  <a:lnTo>
                    <a:pt x="12" y="126"/>
                  </a:lnTo>
                  <a:lnTo>
                    <a:pt x="14" y="126"/>
                  </a:lnTo>
                  <a:lnTo>
                    <a:pt x="12" y="130"/>
                  </a:lnTo>
                  <a:lnTo>
                    <a:pt x="12" y="133"/>
                  </a:lnTo>
                  <a:lnTo>
                    <a:pt x="10" y="133"/>
                  </a:lnTo>
                  <a:lnTo>
                    <a:pt x="10" y="135"/>
                  </a:lnTo>
                  <a:lnTo>
                    <a:pt x="12" y="137"/>
                  </a:lnTo>
                  <a:lnTo>
                    <a:pt x="14" y="137"/>
                  </a:lnTo>
                  <a:lnTo>
                    <a:pt x="17" y="137"/>
                  </a:lnTo>
                  <a:lnTo>
                    <a:pt x="19" y="137"/>
                  </a:lnTo>
                  <a:lnTo>
                    <a:pt x="21" y="137"/>
                  </a:lnTo>
                  <a:lnTo>
                    <a:pt x="24" y="137"/>
                  </a:lnTo>
                  <a:lnTo>
                    <a:pt x="24" y="140"/>
                  </a:lnTo>
                  <a:lnTo>
                    <a:pt x="26" y="140"/>
                  </a:lnTo>
                  <a:lnTo>
                    <a:pt x="26" y="142"/>
                  </a:lnTo>
                  <a:lnTo>
                    <a:pt x="29" y="142"/>
                  </a:lnTo>
                  <a:lnTo>
                    <a:pt x="31" y="142"/>
                  </a:lnTo>
                  <a:lnTo>
                    <a:pt x="33" y="142"/>
                  </a:lnTo>
                  <a:lnTo>
                    <a:pt x="38" y="145"/>
                  </a:lnTo>
                  <a:lnTo>
                    <a:pt x="40" y="145"/>
                  </a:lnTo>
                  <a:lnTo>
                    <a:pt x="40" y="147"/>
                  </a:lnTo>
                  <a:lnTo>
                    <a:pt x="40" y="149"/>
                  </a:lnTo>
                  <a:lnTo>
                    <a:pt x="40" y="152"/>
                  </a:lnTo>
                  <a:lnTo>
                    <a:pt x="40" y="154"/>
                  </a:lnTo>
                  <a:lnTo>
                    <a:pt x="38" y="156"/>
                  </a:lnTo>
                  <a:lnTo>
                    <a:pt x="38" y="159"/>
                  </a:lnTo>
                  <a:lnTo>
                    <a:pt x="38" y="161"/>
                  </a:lnTo>
                  <a:lnTo>
                    <a:pt x="38" y="163"/>
                  </a:lnTo>
                  <a:lnTo>
                    <a:pt x="38" y="166"/>
                  </a:lnTo>
                  <a:lnTo>
                    <a:pt x="38" y="171"/>
                  </a:lnTo>
                  <a:lnTo>
                    <a:pt x="38" y="173"/>
                  </a:lnTo>
                  <a:lnTo>
                    <a:pt x="38" y="175"/>
                  </a:lnTo>
                  <a:lnTo>
                    <a:pt x="40" y="178"/>
                  </a:lnTo>
                  <a:lnTo>
                    <a:pt x="43" y="178"/>
                  </a:lnTo>
                  <a:lnTo>
                    <a:pt x="47" y="175"/>
                  </a:lnTo>
                  <a:lnTo>
                    <a:pt x="47" y="173"/>
                  </a:lnTo>
                  <a:lnTo>
                    <a:pt x="50" y="173"/>
                  </a:lnTo>
                  <a:lnTo>
                    <a:pt x="52" y="173"/>
                  </a:lnTo>
                  <a:lnTo>
                    <a:pt x="55" y="173"/>
                  </a:lnTo>
                  <a:lnTo>
                    <a:pt x="59" y="175"/>
                  </a:lnTo>
                  <a:lnTo>
                    <a:pt x="62" y="175"/>
                  </a:lnTo>
                  <a:lnTo>
                    <a:pt x="73" y="185"/>
                  </a:lnTo>
                  <a:lnTo>
                    <a:pt x="73" y="182"/>
                  </a:lnTo>
                  <a:lnTo>
                    <a:pt x="76" y="180"/>
                  </a:lnTo>
                  <a:lnTo>
                    <a:pt x="78" y="180"/>
                  </a:lnTo>
                  <a:lnTo>
                    <a:pt x="78" y="178"/>
                  </a:lnTo>
                  <a:lnTo>
                    <a:pt x="81" y="178"/>
                  </a:lnTo>
                  <a:lnTo>
                    <a:pt x="85" y="178"/>
                  </a:lnTo>
                  <a:lnTo>
                    <a:pt x="88" y="175"/>
                  </a:lnTo>
                  <a:lnTo>
                    <a:pt x="90" y="175"/>
                  </a:lnTo>
                  <a:lnTo>
                    <a:pt x="92" y="175"/>
                  </a:lnTo>
                  <a:lnTo>
                    <a:pt x="92" y="173"/>
                  </a:lnTo>
                  <a:lnTo>
                    <a:pt x="95" y="171"/>
                  </a:lnTo>
                  <a:lnTo>
                    <a:pt x="99" y="171"/>
                  </a:lnTo>
                  <a:lnTo>
                    <a:pt x="104" y="173"/>
                  </a:lnTo>
                  <a:lnTo>
                    <a:pt x="107" y="173"/>
                  </a:lnTo>
                  <a:lnTo>
                    <a:pt x="109" y="173"/>
                  </a:lnTo>
                  <a:lnTo>
                    <a:pt x="109" y="175"/>
                  </a:lnTo>
                  <a:lnTo>
                    <a:pt x="111" y="175"/>
                  </a:lnTo>
                  <a:lnTo>
                    <a:pt x="114" y="178"/>
                  </a:lnTo>
                  <a:lnTo>
                    <a:pt x="116" y="178"/>
                  </a:lnTo>
                  <a:lnTo>
                    <a:pt x="116" y="175"/>
                  </a:lnTo>
                  <a:lnTo>
                    <a:pt x="116" y="171"/>
                  </a:lnTo>
                  <a:lnTo>
                    <a:pt x="114" y="168"/>
                  </a:lnTo>
                  <a:lnTo>
                    <a:pt x="114" y="166"/>
                  </a:lnTo>
                  <a:lnTo>
                    <a:pt x="111" y="166"/>
                  </a:lnTo>
                  <a:lnTo>
                    <a:pt x="111" y="163"/>
                  </a:lnTo>
                  <a:lnTo>
                    <a:pt x="114" y="161"/>
                  </a:lnTo>
                  <a:lnTo>
                    <a:pt x="116" y="161"/>
                  </a:lnTo>
                  <a:lnTo>
                    <a:pt x="118" y="159"/>
                  </a:lnTo>
                  <a:lnTo>
                    <a:pt x="121" y="159"/>
                  </a:lnTo>
                  <a:lnTo>
                    <a:pt x="123" y="159"/>
                  </a:lnTo>
                  <a:lnTo>
                    <a:pt x="123" y="156"/>
                  </a:lnTo>
                  <a:lnTo>
                    <a:pt x="123" y="154"/>
                  </a:lnTo>
                  <a:lnTo>
                    <a:pt x="123" y="152"/>
                  </a:lnTo>
                  <a:lnTo>
                    <a:pt x="123" y="149"/>
                  </a:lnTo>
                  <a:lnTo>
                    <a:pt x="125" y="149"/>
                  </a:lnTo>
                  <a:lnTo>
                    <a:pt x="128" y="147"/>
                  </a:lnTo>
                  <a:lnTo>
                    <a:pt x="123" y="142"/>
                  </a:lnTo>
                  <a:lnTo>
                    <a:pt x="121" y="140"/>
                  </a:lnTo>
                  <a:lnTo>
                    <a:pt x="118" y="140"/>
                  </a:lnTo>
                  <a:lnTo>
                    <a:pt x="116" y="140"/>
                  </a:lnTo>
                  <a:lnTo>
                    <a:pt x="116" y="137"/>
                  </a:lnTo>
                  <a:lnTo>
                    <a:pt x="116" y="135"/>
                  </a:lnTo>
                  <a:lnTo>
                    <a:pt x="114" y="133"/>
                  </a:lnTo>
                  <a:lnTo>
                    <a:pt x="114" y="130"/>
                  </a:lnTo>
                  <a:lnTo>
                    <a:pt x="114" y="128"/>
                  </a:lnTo>
                  <a:lnTo>
                    <a:pt x="111" y="126"/>
                  </a:lnTo>
                  <a:lnTo>
                    <a:pt x="109" y="123"/>
                  </a:lnTo>
                  <a:lnTo>
                    <a:pt x="109" y="121"/>
                  </a:lnTo>
                  <a:lnTo>
                    <a:pt x="107" y="119"/>
                  </a:lnTo>
                  <a:lnTo>
                    <a:pt x="107" y="116"/>
                  </a:lnTo>
                  <a:lnTo>
                    <a:pt x="104" y="114"/>
                  </a:lnTo>
                  <a:lnTo>
                    <a:pt x="104" y="112"/>
                  </a:lnTo>
                  <a:lnTo>
                    <a:pt x="104" y="109"/>
                  </a:lnTo>
                  <a:lnTo>
                    <a:pt x="107" y="109"/>
                  </a:lnTo>
                  <a:lnTo>
                    <a:pt x="109" y="109"/>
                  </a:lnTo>
                  <a:lnTo>
                    <a:pt x="111" y="109"/>
                  </a:lnTo>
                  <a:lnTo>
                    <a:pt x="114" y="109"/>
                  </a:lnTo>
                  <a:lnTo>
                    <a:pt x="114" y="107"/>
                  </a:lnTo>
                  <a:lnTo>
                    <a:pt x="116" y="107"/>
                  </a:lnTo>
                  <a:lnTo>
                    <a:pt x="116" y="104"/>
                  </a:lnTo>
                  <a:lnTo>
                    <a:pt x="118" y="102"/>
                  </a:lnTo>
                  <a:lnTo>
                    <a:pt x="121" y="102"/>
                  </a:lnTo>
                  <a:lnTo>
                    <a:pt x="125" y="100"/>
                  </a:lnTo>
                  <a:lnTo>
                    <a:pt x="132" y="95"/>
                  </a:lnTo>
                  <a:lnTo>
                    <a:pt x="135" y="93"/>
                  </a:lnTo>
                  <a:lnTo>
                    <a:pt x="142" y="95"/>
                  </a:lnTo>
                  <a:lnTo>
                    <a:pt x="142" y="93"/>
                  </a:lnTo>
                  <a:lnTo>
                    <a:pt x="142" y="88"/>
                  </a:lnTo>
                  <a:lnTo>
                    <a:pt x="142" y="81"/>
                  </a:lnTo>
                  <a:lnTo>
                    <a:pt x="140" y="76"/>
                  </a:lnTo>
                  <a:lnTo>
                    <a:pt x="140" y="71"/>
                  </a:lnTo>
                  <a:lnTo>
                    <a:pt x="137" y="67"/>
                  </a:lnTo>
                  <a:lnTo>
                    <a:pt x="137" y="62"/>
                  </a:lnTo>
                  <a:lnTo>
                    <a:pt x="137" y="60"/>
                  </a:lnTo>
                  <a:lnTo>
                    <a:pt x="140" y="57"/>
                  </a:lnTo>
                  <a:lnTo>
                    <a:pt x="140" y="55"/>
                  </a:lnTo>
                  <a:lnTo>
                    <a:pt x="137" y="55"/>
                  </a:lnTo>
                  <a:lnTo>
                    <a:pt x="137" y="50"/>
                  </a:lnTo>
                  <a:lnTo>
                    <a:pt x="135" y="50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5" y="43"/>
                  </a:lnTo>
                  <a:lnTo>
                    <a:pt x="137" y="41"/>
                  </a:lnTo>
                  <a:lnTo>
                    <a:pt x="137" y="38"/>
                  </a:lnTo>
                  <a:lnTo>
                    <a:pt x="137" y="36"/>
                  </a:lnTo>
                  <a:lnTo>
                    <a:pt x="137" y="31"/>
                  </a:lnTo>
                  <a:lnTo>
                    <a:pt x="137" y="29"/>
                  </a:lnTo>
                  <a:lnTo>
                    <a:pt x="135" y="29"/>
                  </a:lnTo>
                  <a:lnTo>
                    <a:pt x="130" y="26"/>
                  </a:lnTo>
                  <a:lnTo>
                    <a:pt x="125" y="26"/>
                  </a:lnTo>
                  <a:lnTo>
                    <a:pt x="123" y="24"/>
                  </a:lnTo>
                  <a:lnTo>
                    <a:pt x="121" y="19"/>
                  </a:lnTo>
                  <a:lnTo>
                    <a:pt x="116" y="19"/>
                  </a:lnTo>
                  <a:lnTo>
                    <a:pt x="114" y="19"/>
                  </a:lnTo>
                  <a:lnTo>
                    <a:pt x="109" y="19"/>
                  </a:lnTo>
                  <a:lnTo>
                    <a:pt x="107" y="19"/>
                  </a:lnTo>
                  <a:lnTo>
                    <a:pt x="104" y="24"/>
                  </a:lnTo>
                  <a:lnTo>
                    <a:pt x="102" y="26"/>
                  </a:lnTo>
                  <a:lnTo>
                    <a:pt x="97" y="26"/>
                  </a:lnTo>
                  <a:lnTo>
                    <a:pt x="95" y="26"/>
                  </a:lnTo>
                  <a:lnTo>
                    <a:pt x="95" y="29"/>
                  </a:lnTo>
                  <a:lnTo>
                    <a:pt x="95" y="31"/>
                  </a:lnTo>
                  <a:lnTo>
                    <a:pt x="92" y="34"/>
                  </a:lnTo>
                  <a:lnTo>
                    <a:pt x="90" y="29"/>
                  </a:lnTo>
                  <a:lnTo>
                    <a:pt x="85" y="24"/>
                  </a:lnTo>
                  <a:lnTo>
                    <a:pt x="83" y="24"/>
                  </a:lnTo>
                  <a:lnTo>
                    <a:pt x="81" y="24"/>
                  </a:lnTo>
                  <a:lnTo>
                    <a:pt x="78" y="26"/>
                  </a:lnTo>
                  <a:lnTo>
                    <a:pt x="76" y="26"/>
                  </a:lnTo>
                  <a:lnTo>
                    <a:pt x="73" y="24"/>
                  </a:lnTo>
                  <a:lnTo>
                    <a:pt x="73" y="19"/>
                  </a:lnTo>
                  <a:lnTo>
                    <a:pt x="71" y="15"/>
                  </a:lnTo>
                  <a:lnTo>
                    <a:pt x="66" y="10"/>
                  </a:lnTo>
                  <a:lnTo>
                    <a:pt x="69" y="8"/>
                  </a:lnTo>
                  <a:lnTo>
                    <a:pt x="73" y="3"/>
                  </a:lnTo>
                  <a:lnTo>
                    <a:pt x="69" y="3"/>
                  </a:lnTo>
                  <a:lnTo>
                    <a:pt x="64" y="3"/>
                  </a:lnTo>
                  <a:lnTo>
                    <a:pt x="64" y="0"/>
                  </a:lnTo>
                  <a:lnTo>
                    <a:pt x="52" y="0"/>
                  </a:lnTo>
                  <a:lnTo>
                    <a:pt x="50" y="3"/>
                  </a:lnTo>
                  <a:lnTo>
                    <a:pt x="50" y="5"/>
                  </a:lnTo>
                  <a:lnTo>
                    <a:pt x="47" y="5"/>
                  </a:lnTo>
                  <a:lnTo>
                    <a:pt x="47" y="8"/>
                  </a:lnTo>
                  <a:lnTo>
                    <a:pt x="47" y="10"/>
                  </a:lnTo>
                  <a:lnTo>
                    <a:pt x="52" y="10"/>
                  </a:lnTo>
                  <a:lnTo>
                    <a:pt x="52" y="15"/>
                  </a:lnTo>
                  <a:lnTo>
                    <a:pt x="55" y="19"/>
                  </a:lnTo>
                  <a:lnTo>
                    <a:pt x="55" y="24"/>
                  </a:lnTo>
                  <a:lnTo>
                    <a:pt x="55" y="29"/>
                  </a:lnTo>
                  <a:lnTo>
                    <a:pt x="55" y="31"/>
                  </a:lnTo>
                  <a:lnTo>
                    <a:pt x="55" y="34"/>
                  </a:lnTo>
                  <a:lnTo>
                    <a:pt x="55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6"/>
                  </a:lnTo>
                  <a:lnTo>
                    <a:pt x="50" y="38"/>
                  </a:lnTo>
                  <a:lnTo>
                    <a:pt x="47" y="43"/>
                  </a:lnTo>
                  <a:lnTo>
                    <a:pt x="47" y="45"/>
                  </a:lnTo>
                  <a:lnTo>
                    <a:pt x="45" y="43"/>
                  </a:lnTo>
                  <a:lnTo>
                    <a:pt x="43" y="43"/>
                  </a:lnTo>
                  <a:lnTo>
                    <a:pt x="40" y="43"/>
                  </a:lnTo>
                  <a:lnTo>
                    <a:pt x="40" y="41"/>
                  </a:lnTo>
                  <a:lnTo>
                    <a:pt x="38" y="41"/>
                  </a:lnTo>
                  <a:lnTo>
                    <a:pt x="36" y="43"/>
                  </a:lnTo>
                  <a:lnTo>
                    <a:pt x="33" y="43"/>
                  </a:lnTo>
                  <a:lnTo>
                    <a:pt x="29" y="48"/>
                  </a:lnTo>
                  <a:lnTo>
                    <a:pt x="29" y="50"/>
                  </a:lnTo>
                  <a:lnTo>
                    <a:pt x="31" y="50"/>
                  </a:lnTo>
                  <a:lnTo>
                    <a:pt x="31" y="52"/>
                  </a:lnTo>
                  <a:lnTo>
                    <a:pt x="29" y="52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7" name="Freeform 1893"/>
            <p:cNvSpPr>
              <a:spLocks/>
            </p:cNvSpPr>
            <p:nvPr/>
          </p:nvSpPr>
          <p:spPr bwMode="gray">
            <a:xfrm>
              <a:off x="1463735" y="4877927"/>
              <a:ext cx="2469860" cy="1111309"/>
            </a:xfrm>
            <a:custGeom>
              <a:avLst/>
              <a:gdLst/>
              <a:ahLst/>
              <a:cxnLst/>
              <a:rect l="l" t="t" r="r" b="b"/>
              <a:pathLst>
                <a:path w="2993741" h="1347028">
                  <a:moveTo>
                    <a:pt x="1597626" y="0"/>
                  </a:moveTo>
                  <a:lnTo>
                    <a:pt x="1669586" y="57572"/>
                  </a:lnTo>
                  <a:lnTo>
                    <a:pt x="1698372" y="57572"/>
                  </a:lnTo>
                  <a:lnTo>
                    <a:pt x="1727158" y="100756"/>
                  </a:lnTo>
                  <a:lnTo>
                    <a:pt x="1727158" y="158328"/>
                  </a:lnTo>
                  <a:lnTo>
                    <a:pt x="1727158" y="201503"/>
                  </a:lnTo>
                  <a:lnTo>
                    <a:pt x="1770342" y="201503"/>
                  </a:lnTo>
                  <a:lnTo>
                    <a:pt x="1799128" y="230289"/>
                  </a:lnTo>
                  <a:lnTo>
                    <a:pt x="1827914" y="273472"/>
                  </a:lnTo>
                  <a:lnTo>
                    <a:pt x="1871088" y="302258"/>
                  </a:lnTo>
                  <a:lnTo>
                    <a:pt x="1899874" y="302258"/>
                  </a:lnTo>
                  <a:lnTo>
                    <a:pt x="1943058" y="273472"/>
                  </a:lnTo>
                  <a:lnTo>
                    <a:pt x="1943058" y="302258"/>
                  </a:lnTo>
                  <a:lnTo>
                    <a:pt x="1971844" y="302258"/>
                  </a:lnTo>
                  <a:lnTo>
                    <a:pt x="1971844" y="331045"/>
                  </a:lnTo>
                  <a:lnTo>
                    <a:pt x="2000630" y="374219"/>
                  </a:lnTo>
                  <a:lnTo>
                    <a:pt x="2043804" y="403005"/>
                  </a:lnTo>
                  <a:lnTo>
                    <a:pt x="2072590" y="431791"/>
                  </a:lnTo>
                  <a:lnTo>
                    <a:pt x="2101376" y="431791"/>
                  </a:lnTo>
                  <a:lnTo>
                    <a:pt x="2144559" y="431791"/>
                  </a:lnTo>
                  <a:lnTo>
                    <a:pt x="2173345" y="431791"/>
                  </a:lnTo>
                  <a:lnTo>
                    <a:pt x="2173345" y="403005"/>
                  </a:lnTo>
                  <a:lnTo>
                    <a:pt x="2202131" y="403005"/>
                  </a:lnTo>
                  <a:lnTo>
                    <a:pt x="2202131" y="431791"/>
                  </a:lnTo>
                  <a:lnTo>
                    <a:pt x="2202131" y="474975"/>
                  </a:lnTo>
                  <a:lnTo>
                    <a:pt x="2202131" y="503761"/>
                  </a:lnTo>
                  <a:lnTo>
                    <a:pt x="2202131" y="532547"/>
                  </a:lnTo>
                  <a:lnTo>
                    <a:pt x="2245306" y="532547"/>
                  </a:lnTo>
                  <a:lnTo>
                    <a:pt x="2302878" y="532547"/>
                  </a:lnTo>
                  <a:lnTo>
                    <a:pt x="2418022" y="503761"/>
                  </a:lnTo>
                  <a:lnTo>
                    <a:pt x="2418022" y="532547"/>
                  </a:lnTo>
                  <a:lnTo>
                    <a:pt x="2418022" y="575721"/>
                  </a:lnTo>
                  <a:lnTo>
                    <a:pt x="2418022" y="604508"/>
                  </a:lnTo>
                  <a:lnTo>
                    <a:pt x="2446808" y="604508"/>
                  </a:lnTo>
                  <a:lnTo>
                    <a:pt x="2446808" y="633294"/>
                  </a:lnTo>
                  <a:lnTo>
                    <a:pt x="2518777" y="633294"/>
                  </a:lnTo>
                  <a:lnTo>
                    <a:pt x="2547563" y="633294"/>
                  </a:lnTo>
                  <a:lnTo>
                    <a:pt x="2576349" y="633294"/>
                  </a:lnTo>
                  <a:lnTo>
                    <a:pt x="2619523" y="633294"/>
                  </a:lnTo>
                  <a:lnTo>
                    <a:pt x="2648309" y="633294"/>
                  </a:lnTo>
                  <a:lnTo>
                    <a:pt x="2677095" y="633294"/>
                  </a:lnTo>
                  <a:lnTo>
                    <a:pt x="2720279" y="633294"/>
                  </a:lnTo>
                  <a:lnTo>
                    <a:pt x="2720279" y="676477"/>
                  </a:lnTo>
                  <a:lnTo>
                    <a:pt x="2749065" y="676477"/>
                  </a:lnTo>
                  <a:lnTo>
                    <a:pt x="2749065" y="705263"/>
                  </a:lnTo>
                  <a:lnTo>
                    <a:pt x="2792239" y="705263"/>
                  </a:lnTo>
                  <a:lnTo>
                    <a:pt x="2821025" y="705263"/>
                  </a:lnTo>
                  <a:lnTo>
                    <a:pt x="2849811" y="705263"/>
                  </a:lnTo>
                  <a:lnTo>
                    <a:pt x="2950567" y="748438"/>
                  </a:lnTo>
                  <a:lnTo>
                    <a:pt x="2993741" y="777224"/>
                  </a:lnTo>
                  <a:lnTo>
                    <a:pt x="2950567" y="806010"/>
                  </a:lnTo>
                  <a:lnTo>
                    <a:pt x="2950567" y="849194"/>
                  </a:lnTo>
                  <a:lnTo>
                    <a:pt x="2950567" y="877980"/>
                  </a:lnTo>
                  <a:lnTo>
                    <a:pt x="2921781" y="906766"/>
                  </a:lnTo>
                  <a:lnTo>
                    <a:pt x="2921781" y="949940"/>
                  </a:lnTo>
                  <a:lnTo>
                    <a:pt x="2921781" y="978726"/>
                  </a:lnTo>
                  <a:lnTo>
                    <a:pt x="2921781" y="1007512"/>
                  </a:lnTo>
                  <a:lnTo>
                    <a:pt x="2921781" y="1050696"/>
                  </a:lnTo>
                  <a:lnTo>
                    <a:pt x="2921781" y="1122657"/>
                  </a:lnTo>
                  <a:lnTo>
                    <a:pt x="2921781" y="1151443"/>
                  </a:lnTo>
                  <a:lnTo>
                    <a:pt x="2950567" y="1223412"/>
                  </a:lnTo>
                  <a:lnTo>
                    <a:pt x="2950567" y="1252199"/>
                  </a:lnTo>
                  <a:lnTo>
                    <a:pt x="2921781" y="1252199"/>
                  </a:lnTo>
                  <a:lnTo>
                    <a:pt x="2892995" y="1252199"/>
                  </a:lnTo>
                  <a:lnTo>
                    <a:pt x="2849811" y="1252199"/>
                  </a:lnTo>
                  <a:lnTo>
                    <a:pt x="2849811" y="1280985"/>
                  </a:lnTo>
                  <a:lnTo>
                    <a:pt x="2849811" y="1324159"/>
                  </a:lnTo>
                  <a:lnTo>
                    <a:pt x="2821025" y="1324159"/>
                  </a:lnTo>
                  <a:lnTo>
                    <a:pt x="2821025" y="1347028"/>
                  </a:lnTo>
                  <a:lnTo>
                    <a:pt x="469056" y="1347028"/>
                  </a:lnTo>
                  <a:lnTo>
                    <a:pt x="446187" y="1324159"/>
                  </a:lnTo>
                  <a:lnTo>
                    <a:pt x="474973" y="1223412"/>
                  </a:lnTo>
                  <a:lnTo>
                    <a:pt x="331043" y="1280985"/>
                  </a:lnTo>
                  <a:lnTo>
                    <a:pt x="331043" y="1223412"/>
                  </a:lnTo>
                  <a:lnTo>
                    <a:pt x="230288" y="1180229"/>
                  </a:lnTo>
                  <a:lnTo>
                    <a:pt x="172716" y="1151443"/>
                  </a:lnTo>
                  <a:lnTo>
                    <a:pt x="129541" y="1151443"/>
                  </a:lnTo>
                  <a:lnTo>
                    <a:pt x="28786" y="1151443"/>
                  </a:lnTo>
                  <a:lnTo>
                    <a:pt x="28786" y="1122657"/>
                  </a:lnTo>
                  <a:lnTo>
                    <a:pt x="28786" y="1079482"/>
                  </a:lnTo>
                  <a:lnTo>
                    <a:pt x="28786" y="1050696"/>
                  </a:lnTo>
                  <a:lnTo>
                    <a:pt x="0" y="1007512"/>
                  </a:lnTo>
                  <a:lnTo>
                    <a:pt x="71970" y="1007512"/>
                  </a:lnTo>
                  <a:lnTo>
                    <a:pt x="129541" y="978726"/>
                  </a:lnTo>
                  <a:lnTo>
                    <a:pt x="71970" y="949940"/>
                  </a:lnTo>
                  <a:lnTo>
                    <a:pt x="0" y="906766"/>
                  </a:lnTo>
                  <a:lnTo>
                    <a:pt x="28786" y="906766"/>
                  </a:lnTo>
                  <a:lnTo>
                    <a:pt x="100755" y="877980"/>
                  </a:lnTo>
                  <a:lnTo>
                    <a:pt x="129541" y="877980"/>
                  </a:lnTo>
                  <a:lnTo>
                    <a:pt x="201502" y="877980"/>
                  </a:lnTo>
                  <a:lnTo>
                    <a:pt x="230288" y="849194"/>
                  </a:lnTo>
                  <a:lnTo>
                    <a:pt x="331043" y="849194"/>
                  </a:lnTo>
                  <a:lnTo>
                    <a:pt x="374218" y="849194"/>
                  </a:lnTo>
                  <a:lnTo>
                    <a:pt x="403004" y="849194"/>
                  </a:lnTo>
                  <a:lnTo>
                    <a:pt x="403004" y="877980"/>
                  </a:lnTo>
                  <a:lnTo>
                    <a:pt x="403004" y="906766"/>
                  </a:lnTo>
                  <a:lnTo>
                    <a:pt x="446187" y="906766"/>
                  </a:lnTo>
                  <a:lnTo>
                    <a:pt x="474973" y="906766"/>
                  </a:lnTo>
                  <a:lnTo>
                    <a:pt x="575720" y="849194"/>
                  </a:lnTo>
                  <a:lnTo>
                    <a:pt x="604506" y="849194"/>
                  </a:lnTo>
                  <a:lnTo>
                    <a:pt x="647689" y="849194"/>
                  </a:lnTo>
                  <a:lnTo>
                    <a:pt x="676475" y="849194"/>
                  </a:lnTo>
                  <a:lnTo>
                    <a:pt x="705261" y="877980"/>
                  </a:lnTo>
                  <a:lnTo>
                    <a:pt x="777221" y="877980"/>
                  </a:lnTo>
                  <a:lnTo>
                    <a:pt x="777221" y="806010"/>
                  </a:lnTo>
                  <a:lnTo>
                    <a:pt x="777221" y="748438"/>
                  </a:lnTo>
                  <a:lnTo>
                    <a:pt x="748435" y="676477"/>
                  </a:lnTo>
                  <a:lnTo>
                    <a:pt x="705261" y="575721"/>
                  </a:lnTo>
                  <a:lnTo>
                    <a:pt x="676475" y="532547"/>
                  </a:lnTo>
                  <a:lnTo>
                    <a:pt x="676475" y="503761"/>
                  </a:lnTo>
                  <a:lnTo>
                    <a:pt x="705261" y="474975"/>
                  </a:lnTo>
                  <a:lnTo>
                    <a:pt x="748435" y="474975"/>
                  </a:lnTo>
                  <a:lnTo>
                    <a:pt x="748435" y="431791"/>
                  </a:lnTo>
                  <a:lnTo>
                    <a:pt x="777221" y="431791"/>
                  </a:lnTo>
                  <a:lnTo>
                    <a:pt x="820405" y="474975"/>
                  </a:lnTo>
                  <a:lnTo>
                    <a:pt x="820405" y="503761"/>
                  </a:lnTo>
                  <a:lnTo>
                    <a:pt x="820405" y="575721"/>
                  </a:lnTo>
                  <a:lnTo>
                    <a:pt x="877977" y="575721"/>
                  </a:lnTo>
                  <a:lnTo>
                    <a:pt x="978723" y="575721"/>
                  </a:lnTo>
                  <a:lnTo>
                    <a:pt x="1021907" y="604508"/>
                  </a:lnTo>
                  <a:lnTo>
                    <a:pt x="1079479" y="575721"/>
                  </a:lnTo>
                  <a:lnTo>
                    <a:pt x="1122653" y="575721"/>
                  </a:lnTo>
                  <a:lnTo>
                    <a:pt x="1194622" y="575721"/>
                  </a:lnTo>
                  <a:lnTo>
                    <a:pt x="1194622" y="503761"/>
                  </a:lnTo>
                  <a:lnTo>
                    <a:pt x="1194622" y="431791"/>
                  </a:lnTo>
                  <a:lnTo>
                    <a:pt x="1223408" y="403005"/>
                  </a:lnTo>
                  <a:lnTo>
                    <a:pt x="1252194" y="403005"/>
                  </a:lnTo>
                  <a:lnTo>
                    <a:pt x="1295369" y="374219"/>
                  </a:lnTo>
                  <a:lnTo>
                    <a:pt x="1324155" y="374219"/>
                  </a:lnTo>
                  <a:lnTo>
                    <a:pt x="1396124" y="374219"/>
                  </a:lnTo>
                  <a:lnTo>
                    <a:pt x="1453696" y="331045"/>
                  </a:lnTo>
                  <a:lnTo>
                    <a:pt x="1424910" y="273472"/>
                  </a:lnTo>
                  <a:lnTo>
                    <a:pt x="1424910" y="201503"/>
                  </a:lnTo>
                  <a:lnTo>
                    <a:pt x="1424910" y="129542"/>
                  </a:lnTo>
                  <a:lnTo>
                    <a:pt x="1424910" y="57572"/>
                  </a:lnTo>
                  <a:lnTo>
                    <a:pt x="1453696" y="57572"/>
                  </a:lnTo>
                  <a:lnTo>
                    <a:pt x="1525657" y="28786"/>
                  </a:lnTo>
                  <a:lnTo>
                    <a:pt x="1568840" y="28786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8" name="Freeform 1916"/>
            <p:cNvSpPr>
              <a:spLocks/>
            </p:cNvSpPr>
            <p:nvPr/>
          </p:nvSpPr>
          <p:spPr bwMode="gray">
            <a:xfrm>
              <a:off x="3874219" y="2883035"/>
              <a:ext cx="558097" cy="1033073"/>
            </a:xfrm>
            <a:custGeom>
              <a:avLst/>
              <a:gdLst>
                <a:gd name="T0" fmla="*/ 44450 w 47"/>
                <a:gd name="T1" fmla="*/ 115888 h 87"/>
                <a:gd name="T2" fmla="*/ 49213 w 47"/>
                <a:gd name="T3" fmla="*/ 104775 h 87"/>
                <a:gd name="T4" fmla="*/ 52388 w 47"/>
                <a:gd name="T5" fmla="*/ 115888 h 87"/>
                <a:gd name="T6" fmla="*/ 68263 w 47"/>
                <a:gd name="T7" fmla="*/ 123825 h 87"/>
                <a:gd name="T8" fmla="*/ 74613 w 47"/>
                <a:gd name="T9" fmla="*/ 138113 h 87"/>
                <a:gd name="T10" fmla="*/ 68263 w 47"/>
                <a:gd name="T11" fmla="*/ 107950 h 87"/>
                <a:gd name="T12" fmla="*/ 60325 w 47"/>
                <a:gd name="T13" fmla="*/ 101600 h 87"/>
                <a:gd name="T14" fmla="*/ 55563 w 47"/>
                <a:gd name="T15" fmla="*/ 101600 h 87"/>
                <a:gd name="T16" fmla="*/ 55563 w 47"/>
                <a:gd name="T17" fmla="*/ 85725 h 87"/>
                <a:gd name="T18" fmla="*/ 63500 w 47"/>
                <a:gd name="T19" fmla="*/ 71438 h 87"/>
                <a:gd name="T20" fmla="*/ 71438 w 47"/>
                <a:gd name="T21" fmla="*/ 74613 h 87"/>
                <a:gd name="T22" fmla="*/ 71438 w 47"/>
                <a:gd name="T23" fmla="*/ 66675 h 87"/>
                <a:gd name="T24" fmla="*/ 60325 w 47"/>
                <a:gd name="T25" fmla="*/ 63500 h 87"/>
                <a:gd name="T26" fmla="*/ 60325 w 47"/>
                <a:gd name="T27" fmla="*/ 52388 h 87"/>
                <a:gd name="T28" fmla="*/ 60325 w 47"/>
                <a:gd name="T29" fmla="*/ 33338 h 87"/>
                <a:gd name="T30" fmla="*/ 49213 w 47"/>
                <a:gd name="T31" fmla="*/ 33338 h 87"/>
                <a:gd name="T32" fmla="*/ 60325 w 47"/>
                <a:gd name="T33" fmla="*/ 30163 h 87"/>
                <a:gd name="T34" fmla="*/ 63500 w 47"/>
                <a:gd name="T35" fmla="*/ 25400 h 87"/>
                <a:gd name="T36" fmla="*/ 68263 w 47"/>
                <a:gd name="T37" fmla="*/ 19050 h 87"/>
                <a:gd name="T38" fmla="*/ 68263 w 47"/>
                <a:gd name="T39" fmla="*/ 7938 h 87"/>
                <a:gd name="T40" fmla="*/ 68263 w 47"/>
                <a:gd name="T41" fmla="*/ 0 h 87"/>
                <a:gd name="T42" fmla="*/ 49213 w 47"/>
                <a:gd name="T43" fmla="*/ 11113 h 87"/>
                <a:gd name="T44" fmla="*/ 38100 w 47"/>
                <a:gd name="T45" fmla="*/ 25400 h 87"/>
                <a:gd name="T46" fmla="*/ 30163 w 47"/>
                <a:gd name="T47" fmla="*/ 30163 h 87"/>
                <a:gd name="T48" fmla="*/ 19050 w 47"/>
                <a:gd name="T49" fmla="*/ 25400 h 87"/>
                <a:gd name="T50" fmla="*/ 14288 w 47"/>
                <a:gd name="T51" fmla="*/ 33338 h 87"/>
                <a:gd name="T52" fmla="*/ 3175 w 47"/>
                <a:gd name="T53" fmla="*/ 44450 h 87"/>
                <a:gd name="T54" fmla="*/ 7938 w 47"/>
                <a:gd name="T55" fmla="*/ 49213 h 87"/>
                <a:gd name="T56" fmla="*/ 11113 w 47"/>
                <a:gd name="T57" fmla="*/ 52388 h 87"/>
                <a:gd name="T58" fmla="*/ 22225 w 47"/>
                <a:gd name="T59" fmla="*/ 41275 h 87"/>
                <a:gd name="T60" fmla="*/ 19050 w 47"/>
                <a:gd name="T61" fmla="*/ 52388 h 87"/>
                <a:gd name="T62" fmla="*/ 22225 w 47"/>
                <a:gd name="T63" fmla="*/ 52388 h 87"/>
                <a:gd name="T64" fmla="*/ 26988 w 47"/>
                <a:gd name="T65" fmla="*/ 49213 h 87"/>
                <a:gd name="T66" fmla="*/ 26988 w 47"/>
                <a:gd name="T67" fmla="*/ 41275 h 87"/>
                <a:gd name="T68" fmla="*/ 22225 w 47"/>
                <a:gd name="T69" fmla="*/ 33338 h 87"/>
                <a:gd name="T70" fmla="*/ 38100 w 47"/>
                <a:gd name="T71" fmla="*/ 38100 h 87"/>
                <a:gd name="T72" fmla="*/ 38100 w 47"/>
                <a:gd name="T73" fmla="*/ 52388 h 87"/>
                <a:gd name="T74" fmla="*/ 30163 w 47"/>
                <a:gd name="T75" fmla="*/ 49213 h 87"/>
                <a:gd name="T76" fmla="*/ 22225 w 47"/>
                <a:gd name="T77" fmla="*/ 63500 h 87"/>
                <a:gd name="T78" fmla="*/ 3175 w 47"/>
                <a:gd name="T79" fmla="*/ 66675 h 87"/>
                <a:gd name="T80" fmla="*/ 0 w 47"/>
                <a:gd name="T81" fmla="*/ 74613 h 87"/>
                <a:gd name="T82" fmla="*/ 7938 w 47"/>
                <a:gd name="T83" fmla="*/ 79375 h 87"/>
                <a:gd name="T84" fmla="*/ 11113 w 47"/>
                <a:gd name="T85" fmla="*/ 82550 h 87"/>
                <a:gd name="T86" fmla="*/ 11113 w 47"/>
                <a:gd name="T87" fmla="*/ 90488 h 87"/>
                <a:gd name="T88" fmla="*/ 7938 w 47"/>
                <a:gd name="T89" fmla="*/ 107950 h 87"/>
                <a:gd name="T90" fmla="*/ 22225 w 47"/>
                <a:gd name="T91" fmla="*/ 119063 h 87"/>
                <a:gd name="T92" fmla="*/ 22225 w 47"/>
                <a:gd name="T93" fmla="*/ 119063 h 8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7"/>
                <a:gd name="T142" fmla="*/ 0 h 87"/>
                <a:gd name="T143" fmla="*/ 47 w 47"/>
                <a:gd name="T144" fmla="*/ 87 h 8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7" h="87">
                  <a:moveTo>
                    <a:pt x="14" y="75"/>
                  </a:moveTo>
                  <a:lnTo>
                    <a:pt x="26" y="75"/>
                  </a:lnTo>
                  <a:lnTo>
                    <a:pt x="28" y="73"/>
                  </a:lnTo>
                  <a:lnTo>
                    <a:pt x="31" y="68"/>
                  </a:lnTo>
                  <a:lnTo>
                    <a:pt x="31" y="66"/>
                  </a:lnTo>
                  <a:lnTo>
                    <a:pt x="33" y="68"/>
                  </a:lnTo>
                  <a:lnTo>
                    <a:pt x="31" y="71"/>
                  </a:lnTo>
                  <a:lnTo>
                    <a:pt x="33" y="73"/>
                  </a:lnTo>
                  <a:lnTo>
                    <a:pt x="35" y="75"/>
                  </a:lnTo>
                  <a:lnTo>
                    <a:pt x="43" y="75"/>
                  </a:lnTo>
                  <a:lnTo>
                    <a:pt x="43" y="78"/>
                  </a:lnTo>
                  <a:lnTo>
                    <a:pt x="43" y="83"/>
                  </a:lnTo>
                  <a:lnTo>
                    <a:pt x="45" y="85"/>
                  </a:lnTo>
                  <a:lnTo>
                    <a:pt x="47" y="87"/>
                  </a:lnTo>
                  <a:lnTo>
                    <a:pt x="45" y="83"/>
                  </a:lnTo>
                  <a:lnTo>
                    <a:pt x="43" y="75"/>
                  </a:lnTo>
                  <a:lnTo>
                    <a:pt x="43" y="68"/>
                  </a:lnTo>
                  <a:lnTo>
                    <a:pt x="43" y="64"/>
                  </a:lnTo>
                  <a:lnTo>
                    <a:pt x="38" y="64"/>
                  </a:lnTo>
                  <a:lnTo>
                    <a:pt x="38" y="66"/>
                  </a:lnTo>
                  <a:lnTo>
                    <a:pt x="35" y="64"/>
                  </a:lnTo>
                  <a:lnTo>
                    <a:pt x="33" y="64"/>
                  </a:lnTo>
                  <a:lnTo>
                    <a:pt x="35" y="59"/>
                  </a:lnTo>
                  <a:lnTo>
                    <a:pt x="35" y="54"/>
                  </a:lnTo>
                  <a:lnTo>
                    <a:pt x="38" y="50"/>
                  </a:lnTo>
                  <a:lnTo>
                    <a:pt x="38" y="45"/>
                  </a:lnTo>
                  <a:lnTo>
                    <a:pt x="40" y="45"/>
                  </a:lnTo>
                  <a:lnTo>
                    <a:pt x="43" y="47"/>
                  </a:lnTo>
                  <a:lnTo>
                    <a:pt x="45" y="47"/>
                  </a:lnTo>
                  <a:lnTo>
                    <a:pt x="47" y="47"/>
                  </a:lnTo>
                  <a:lnTo>
                    <a:pt x="45" y="42"/>
                  </a:lnTo>
                  <a:lnTo>
                    <a:pt x="47" y="40"/>
                  </a:lnTo>
                  <a:lnTo>
                    <a:pt x="43" y="40"/>
                  </a:lnTo>
                  <a:lnTo>
                    <a:pt x="38" y="40"/>
                  </a:lnTo>
                  <a:lnTo>
                    <a:pt x="38" y="38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8" y="31"/>
                  </a:lnTo>
                  <a:lnTo>
                    <a:pt x="38" y="26"/>
                  </a:lnTo>
                  <a:lnTo>
                    <a:pt x="38" y="21"/>
                  </a:lnTo>
                  <a:lnTo>
                    <a:pt x="35" y="21"/>
                  </a:lnTo>
                  <a:lnTo>
                    <a:pt x="33" y="21"/>
                  </a:lnTo>
                  <a:lnTo>
                    <a:pt x="31" y="21"/>
                  </a:lnTo>
                  <a:lnTo>
                    <a:pt x="28" y="19"/>
                  </a:lnTo>
                  <a:lnTo>
                    <a:pt x="33" y="19"/>
                  </a:lnTo>
                  <a:lnTo>
                    <a:pt x="38" y="19"/>
                  </a:lnTo>
                  <a:lnTo>
                    <a:pt x="40" y="19"/>
                  </a:lnTo>
                  <a:lnTo>
                    <a:pt x="40" y="16"/>
                  </a:lnTo>
                  <a:lnTo>
                    <a:pt x="43" y="14"/>
                  </a:lnTo>
                  <a:lnTo>
                    <a:pt x="43" y="12"/>
                  </a:lnTo>
                  <a:lnTo>
                    <a:pt x="43" y="9"/>
                  </a:lnTo>
                  <a:lnTo>
                    <a:pt x="43" y="7"/>
                  </a:lnTo>
                  <a:lnTo>
                    <a:pt x="43" y="5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38" y="2"/>
                  </a:lnTo>
                  <a:lnTo>
                    <a:pt x="35" y="5"/>
                  </a:lnTo>
                  <a:lnTo>
                    <a:pt x="31" y="7"/>
                  </a:lnTo>
                  <a:lnTo>
                    <a:pt x="28" y="7"/>
                  </a:lnTo>
                  <a:lnTo>
                    <a:pt x="26" y="12"/>
                  </a:lnTo>
                  <a:lnTo>
                    <a:pt x="24" y="16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12" y="19"/>
                  </a:lnTo>
                  <a:lnTo>
                    <a:pt x="9" y="19"/>
                  </a:lnTo>
                  <a:lnTo>
                    <a:pt x="9" y="21"/>
                  </a:lnTo>
                  <a:lnTo>
                    <a:pt x="7" y="21"/>
                  </a:lnTo>
                  <a:lnTo>
                    <a:pt x="5" y="26"/>
                  </a:lnTo>
                  <a:lnTo>
                    <a:pt x="2" y="28"/>
                  </a:lnTo>
                  <a:lnTo>
                    <a:pt x="5" y="31"/>
                  </a:lnTo>
                  <a:lnTo>
                    <a:pt x="5" y="33"/>
                  </a:lnTo>
                  <a:lnTo>
                    <a:pt x="7" y="33"/>
                  </a:lnTo>
                  <a:lnTo>
                    <a:pt x="9" y="26"/>
                  </a:lnTo>
                  <a:lnTo>
                    <a:pt x="14" y="26"/>
                  </a:lnTo>
                  <a:lnTo>
                    <a:pt x="12" y="31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7" y="31"/>
                  </a:lnTo>
                  <a:lnTo>
                    <a:pt x="17" y="28"/>
                  </a:lnTo>
                  <a:lnTo>
                    <a:pt x="17" y="26"/>
                  </a:lnTo>
                  <a:lnTo>
                    <a:pt x="17" y="24"/>
                  </a:lnTo>
                  <a:lnTo>
                    <a:pt x="14" y="21"/>
                  </a:lnTo>
                  <a:lnTo>
                    <a:pt x="17" y="24"/>
                  </a:lnTo>
                  <a:lnTo>
                    <a:pt x="19" y="24"/>
                  </a:lnTo>
                  <a:lnTo>
                    <a:pt x="24" y="24"/>
                  </a:lnTo>
                  <a:lnTo>
                    <a:pt x="24" y="21"/>
                  </a:lnTo>
                  <a:lnTo>
                    <a:pt x="24" y="28"/>
                  </a:lnTo>
                  <a:lnTo>
                    <a:pt x="24" y="33"/>
                  </a:lnTo>
                  <a:lnTo>
                    <a:pt x="24" y="31"/>
                  </a:lnTo>
                  <a:lnTo>
                    <a:pt x="19" y="31"/>
                  </a:lnTo>
                  <a:lnTo>
                    <a:pt x="17" y="35"/>
                  </a:lnTo>
                  <a:lnTo>
                    <a:pt x="14" y="38"/>
                  </a:lnTo>
                  <a:lnTo>
                    <a:pt x="14" y="40"/>
                  </a:lnTo>
                  <a:lnTo>
                    <a:pt x="0" y="40"/>
                  </a:lnTo>
                  <a:lnTo>
                    <a:pt x="2" y="40"/>
                  </a:lnTo>
                  <a:lnTo>
                    <a:pt x="2" y="42"/>
                  </a:lnTo>
                  <a:lnTo>
                    <a:pt x="2" y="45"/>
                  </a:lnTo>
                  <a:lnTo>
                    <a:pt x="0" y="47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5" y="50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7" y="57"/>
                  </a:lnTo>
                  <a:lnTo>
                    <a:pt x="7" y="61"/>
                  </a:lnTo>
                  <a:lnTo>
                    <a:pt x="5" y="66"/>
                  </a:lnTo>
                  <a:lnTo>
                    <a:pt x="5" y="68"/>
                  </a:lnTo>
                  <a:lnTo>
                    <a:pt x="12" y="71"/>
                  </a:lnTo>
                  <a:lnTo>
                    <a:pt x="14" y="73"/>
                  </a:lnTo>
                  <a:lnTo>
                    <a:pt x="14" y="75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29" name="Freeform 1917"/>
            <p:cNvSpPr>
              <a:spLocks/>
            </p:cNvSpPr>
            <p:nvPr/>
          </p:nvSpPr>
          <p:spPr bwMode="gray">
            <a:xfrm>
              <a:off x="4491676" y="3832983"/>
              <a:ext cx="225616" cy="142492"/>
            </a:xfrm>
            <a:custGeom>
              <a:avLst/>
              <a:gdLst>
                <a:gd name="T0" fmla="*/ 19050 w 19"/>
                <a:gd name="T1" fmla="*/ 0 h 12"/>
                <a:gd name="T2" fmla="*/ 14288 w 19"/>
                <a:gd name="T3" fmla="*/ 0 h 12"/>
                <a:gd name="T4" fmla="*/ 11113 w 19"/>
                <a:gd name="T5" fmla="*/ 0 h 12"/>
                <a:gd name="T6" fmla="*/ 3175 w 19"/>
                <a:gd name="T7" fmla="*/ 4763 h 12"/>
                <a:gd name="T8" fmla="*/ 0 w 19"/>
                <a:gd name="T9" fmla="*/ 4763 h 12"/>
                <a:gd name="T10" fmla="*/ 0 w 19"/>
                <a:gd name="T11" fmla="*/ 7938 h 12"/>
                <a:gd name="T12" fmla="*/ 0 w 19"/>
                <a:gd name="T13" fmla="*/ 7938 h 12"/>
                <a:gd name="T14" fmla="*/ 0 w 19"/>
                <a:gd name="T15" fmla="*/ 11113 h 12"/>
                <a:gd name="T16" fmla="*/ 0 w 19"/>
                <a:gd name="T17" fmla="*/ 15875 h 12"/>
                <a:gd name="T18" fmla="*/ 0 w 19"/>
                <a:gd name="T19" fmla="*/ 19050 h 12"/>
                <a:gd name="T20" fmla="*/ 3175 w 19"/>
                <a:gd name="T21" fmla="*/ 19050 h 12"/>
                <a:gd name="T22" fmla="*/ 3175 w 19"/>
                <a:gd name="T23" fmla="*/ 19050 h 12"/>
                <a:gd name="T24" fmla="*/ 3175 w 19"/>
                <a:gd name="T25" fmla="*/ 19050 h 12"/>
                <a:gd name="T26" fmla="*/ 7938 w 19"/>
                <a:gd name="T27" fmla="*/ 19050 h 12"/>
                <a:gd name="T28" fmla="*/ 11113 w 19"/>
                <a:gd name="T29" fmla="*/ 19050 h 12"/>
                <a:gd name="T30" fmla="*/ 11113 w 19"/>
                <a:gd name="T31" fmla="*/ 19050 h 12"/>
                <a:gd name="T32" fmla="*/ 19050 w 19"/>
                <a:gd name="T33" fmla="*/ 15875 h 12"/>
                <a:gd name="T34" fmla="*/ 22225 w 19"/>
                <a:gd name="T35" fmla="*/ 11113 h 12"/>
                <a:gd name="T36" fmla="*/ 26988 w 19"/>
                <a:gd name="T37" fmla="*/ 7938 h 12"/>
                <a:gd name="T38" fmla="*/ 30163 w 19"/>
                <a:gd name="T39" fmla="*/ 7938 h 12"/>
                <a:gd name="T40" fmla="*/ 30163 w 19"/>
                <a:gd name="T41" fmla="*/ 4763 h 12"/>
                <a:gd name="T42" fmla="*/ 30163 w 19"/>
                <a:gd name="T43" fmla="*/ 4763 h 12"/>
                <a:gd name="T44" fmla="*/ 30163 w 19"/>
                <a:gd name="T45" fmla="*/ 0 h 12"/>
                <a:gd name="T46" fmla="*/ 30163 w 19"/>
                <a:gd name="T47" fmla="*/ 0 h 12"/>
                <a:gd name="T48" fmla="*/ 26988 w 19"/>
                <a:gd name="T49" fmla="*/ 0 h 12"/>
                <a:gd name="T50" fmla="*/ 22225 w 19"/>
                <a:gd name="T51" fmla="*/ 0 h 12"/>
                <a:gd name="T52" fmla="*/ 19050 w 19"/>
                <a:gd name="T53" fmla="*/ 0 h 12"/>
                <a:gd name="T54" fmla="*/ 19050 w 19"/>
                <a:gd name="T55" fmla="*/ 0 h 12"/>
                <a:gd name="T56" fmla="*/ 19050 w 19"/>
                <a:gd name="T57" fmla="*/ 0 h 12"/>
                <a:gd name="T58" fmla="*/ 19050 w 19"/>
                <a:gd name="T59" fmla="*/ 0 h 1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9"/>
                <a:gd name="T91" fmla="*/ 0 h 12"/>
                <a:gd name="T92" fmla="*/ 19 w 19"/>
                <a:gd name="T93" fmla="*/ 12 h 1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9" h="12">
                  <a:moveTo>
                    <a:pt x="12" y="0"/>
                  </a:moveTo>
                  <a:lnTo>
                    <a:pt x="9" y="0"/>
                  </a:lnTo>
                  <a:lnTo>
                    <a:pt x="7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5" y="12"/>
                  </a:lnTo>
                  <a:lnTo>
                    <a:pt x="7" y="12"/>
                  </a:lnTo>
                  <a:lnTo>
                    <a:pt x="12" y="10"/>
                  </a:lnTo>
                  <a:lnTo>
                    <a:pt x="14" y="7"/>
                  </a:lnTo>
                  <a:lnTo>
                    <a:pt x="17" y="5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0" name="Freeform 1918"/>
            <p:cNvSpPr>
              <a:spLocks/>
            </p:cNvSpPr>
            <p:nvPr/>
          </p:nvSpPr>
          <p:spPr bwMode="gray">
            <a:xfrm>
              <a:off x="4432309" y="3441133"/>
              <a:ext cx="284984" cy="332482"/>
            </a:xfrm>
            <a:custGeom>
              <a:avLst/>
              <a:gdLst>
                <a:gd name="T0" fmla="*/ 26988 w 24"/>
                <a:gd name="T1" fmla="*/ 0 h 28"/>
                <a:gd name="T2" fmla="*/ 19050 w 24"/>
                <a:gd name="T3" fmla="*/ 11113 h 28"/>
                <a:gd name="T4" fmla="*/ 19050 w 24"/>
                <a:gd name="T5" fmla="*/ 11113 h 28"/>
                <a:gd name="T6" fmla="*/ 19050 w 24"/>
                <a:gd name="T7" fmla="*/ 11113 h 28"/>
                <a:gd name="T8" fmla="*/ 19050 w 24"/>
                <a:gd name="T9" fmla="*/ 11113 h 28"/>
                <a:gd name="T10" fmla="*/ 22225 w 24"/>
                <a:gd name="T11" fmla="*/ 11113 h 28"/>
                <a:gd name="T12" fmla="*/ 19050 w 24"/>
                <a:gd name="T13" fmla="*/ 15875 h 28"/>
                <a:gd name="T14" fmla="*/ 22225 w 24"/>
                <a:gd name="T15" fmla="*/ 19050 h 28"/>
                <a:gd name="T16" fmla="*/ 11113 w 24"/>
                <a:gd name="T17" fmla="*/ 11113 h 28"/>
                <a:gd name="T18" fmla="*/ 4763 w 24"/>
                <a:gd name="T19" fmla="*/ 15875 h 28"/>
                <a:gd name="T20" fmla="*/ 0 w 24"/>
                <a:gd name="T21" fmla="*/ 22225 h 28"/>
                <a:gd name="T22" fmla="*/ 0 w 24"/>
                <a:gd name="T23" fmla="*/ 26988 h 28"/>
                <a:gd name="T24" fmla="*/ 4763 w 24"/>
                <a:gd name="T25" fmla="*/ 30163 h 28"/>
                <a:gd name="T26" fmla="*/ 4763 w 24"/>
                <a:gd name="T27" fmla="*/ 30163 h 28"/>
                <a:gd name="T28" fmla="*/ 7938 w 24"/>
                <a:gd name="T29" fmla="*/ 33338 h 28"/>
                <a:gd name="T30" fmla="*/ 7938 w 24"/>
                <a:gd name="T31" fmla="*/ 41275 h 28"/>
                <a:gd name="T32" fmla="*/ 11113 w 24"/>
                <a:gd name="T33" fmla="*/ 41275 h 28"/>
                <a:gd name="T34" fmla="*/ 11113 w 24"/>
                <a:gd name="T35" fmla="*/ 41275 h 28"/>
                <a:gd name="T36" fmla="*/ 11113 w 24"/>
                <a:gd name="T37" fmla="*/ 41275 h 28"/>
                <a:gd name="T38" fmla="*/ 11113 w 24"/>
                <a:gd name="T39" fmla="*/ 41275 h 28"/>
                <a:gd name="T40" fmla="*/ 15875 w 24"/>
                <a:gd name="T41" fmla="*/ 41275 h 28"/>
                <a:gd name="T42" fmla="*/ 19050 w 24"/>
                <a:gd name="T43" fmla="*/ 41275 h 28"/>
                <a:gd name="T44" fmla="*/ 22225 w 24"/>
                <a:gd name="T45" fmla="*/ 41275 h 28"/>
                <a:gd name="T46" fmla="*/ 19050 w 24"/>
                <a:gd name="T47" fmla="*/ 41275 h 28"/>
                <a:gd name="T48" fmla="*/ 19050 w 24"/>
                <a:gd name="T49" fmla="*/ 44450 h 28"/>
                <a:gd name="T50" fmla="*/ 15875 w 24"/>
                <a:gd name="T51" fmla="*/ 44450 h 28"/>
                <a:gd name="T52" fmla="*/ 15875 w 24"/>
                <a:gd name="T53" fmla="*/ 44450 h 28"/>
                <a:gd name="T54" fmla="*/ 19050 w 24"/>
                <a:gd name="T55" fmla="*/ 44450 h 28"/>
                <a:gd name="T56" fmla="*/ 22225 w 24"/>
                <a:gd name="T57" fmla="*/ 44450 h 28"/>
                <a:gd name="T58" fmla="*/ 26988 w 24"/>
                <a:gd name="T59" fmla="*/ 44450 h 28"/>
                <a:gd name="T60" fmla="*/ 26988 w 24"/>
                <a:gd name="T61" fmla="*/ 41275 h 28"/>
                <a:gd name="T62" fmla="*/ 26988 w 24"/>
                <a:gd name="T63" fmla="*/ 41275 h 28"/>
                <a:gd name="T64" fmla="*/ 26988 w 24"/>
                <a:gd name="T65" fmla="*/ 41275 h 28"/>
                <a:gd name="T66" fmla="*/ 26988 w 24"/>
                <a:gd name="T67" fmla="*/ 41275 h 28"/>
                <a:gd name="T68" fmla="*/ 26988 w 24"/>
                <a:gd name="T69" fmla="*/ 41275 h 28"/>
                <a:gd name="T70" fmla="*/ 38100 w 24"/>
                <a:gd name="T71" fmla="*/ 38100 h 28"/>
                <a:gd name="T72" fmla="*/ 38100 w 24"/>
                <a:gd name="T73" fmla="*/ 33338 h 28"/>
                <a:gd name="T74" fmla="*/ 38100 w 24"/>
                <a:gd name="T75" fmla="*/ 22225 h 28"/>
                <a:gd name="T76" fmla="*/ 38100 w 24"/>
                <a:gd name="T77" fmla="*/ 11113 h 28"/>
                <a:gd name="T78" fmla="*/ 38100 w 24"/>
                <a:gd name="T79" fmla="*/ 0 h 28"/>
                <a:gd name="T80" fmla="*/ 30163 w 24"/>
                <a:gd name="T81" fmla="*/ 0 h 28"/>
                <a:gd name="T82" fmla="*/ 26988 w 24"/>
                <a:gd name="T83" fmla="*/ 0 h 28"/>
                <a:gd name="T84" fmla="*/ 26988 w 24"/>
                <a:gd name="T85" fmla="*/ 0 h 28"/>
                <a:gd name="T86" fmla="*/ 26988 w 24"/>
                <a:gd name="T87" fmla="*/ 0 h 28"/>
                <a:gd name="T88" fmla="*/ 26988 w 24"/>
                <a:gd name="T89" fmla="*/ 0 h 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4"/>
                <a:gd name="T136" fmla="*/ 0 h 28"/>
                <a:gd name="T137" fmla="*/ 24 w 24"/>
                <a:gd name="T138" fmla="*/ 28 h 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4" h="28">
                  <a:moveTo>
                    <a:pt x="17" y="0"/>
                  </a:moveTo>
                  <a:lnTo>
                    <a:pt x="12" y="7"/>
                  </a:lnTo>
                  <a:lnTo>
                    <a:pt x="14" y="7"/>
                  </a:lnTo>
                  <a:lnTo>
                    <a:pt x="12" y="10"/>
                  </a:lnTo>
                  <a:lnTo>
                    <a:pt x="14" y="12"/>
                  </a:lnTo>
                  <a:lnTo>
                    <a:pt x="7" y="7"/>
                  </a:lnTo>
                  <a:lnTo>
                    <a:pt x="3" y="10"/>
                  </a:lnTo>
                  <a:lnTo>
                    <a:pt x="0" y="14"/>
                  </a:lnTo>
                  <a:lnTo>
                    <a:pt x="0" y="17"/>
                  </a:lnTo>
                  <a:lnTo>
                    <a:pt x="3" y="19"/>
                  </a:lnTo>
                  <a:lnTo>
                    <a:pt x="5" y="21"/>
                  </a:lnTo>
                  <a:lnTo>
                    <a:pt x="5" y="26"/>
                  </a:lnTo>
                  <a:lnTo>
                    <a:pt x="7" y="26"/>
                  </a:lnTo>
                  <a:lnTo>
                    <a:pt x="10" y="26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7" y="28"/>
                  </a:lnTo>
                  <a:lnTo>
                    <a:pt x="17" y="26"/>
                  </a:lnTo>
                  <a:lnTo>
                    <a:pt x="24" y="24"/>
                  </a:lnTo>
                  <a:lnTo>
                    <a:pt x="24" y="21"/>
                  </a:lnTo>
                  <a:lnTo>
                    <a:pt x="24" y="14"/>
                  </a:lnTo>
                  <a:lnTo>
                    <a:pt x="24" y="7"/>
                  </a:lnTo>
                  <a:lnTo>
                    <a:pt x="24" y="0"/>
                  </a:lnTo>
                  <a:lnTo>
                    <a:pt x="19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1" name="Freeform 1919"/>
            <p:cNvSpPr>
              <a:spLocks/>
            </p:cNvSpPr>
            <p:nvPr/>
          </p:nvSpPr>
          <p:spPr bwMode="gray">
            <a:xfrm>
              <a:off x="4657917" y="4877927"/>
              <a:ext cx="706520" cy="700591"/>
            </a:xfrm>
            <a:custGeom>
              <a:avLst/>
              <a:gdLst/>
              <a:ahLst/>
              <a:cxnLst/>
              <a:rect l="l" t="t" r="r" b="b"/>
              <a:pathLst>
                <a:path w="94456" h="93663">
                  <a:moveTo>
                    <a:pt x="49213" y="0"/>
                  </a:moveTo>
                  <a:lnTo>
                    <a:pt x="60325" y="6350"/>
                  </a:lnTo>
                  <a:lnTo>
                    <a:pt x="68263" y="11113"/>
                  </a:lnTo>
                  <a:lnTo>
                    <a:pt x="71438" y="11113"/>
                  </a:lnTo>
                  <a:lnTo>
                    <a:pt x="82551" y="14288"/>
                  </a:lnTo>
                  <a:lnTo>
                    <a:pt x="85726" y="14288"/>
                  </a:lnTo>
                  <a:lnTo>
                    <a:pt x="85726" y="17463"/>
                  </a:lnTo>
                  <a:lnTo>
                    <a:pt x="90488" y="17463"/>
                  </a:lnTo>
                  <a:lnTo>
                    <a:pt x="93663" y="17463"/>
                  </a:lnTo>
                  <a:lnTo>
                    <a:pt x="94456" y="17463"/>
                  </a:lnTo>
                  <a:lnTo>
                    <a:pt x="94456" y="85726"/>
                  </a:lnTo>
                  <a:lnTo>
                    <a:pt x="93663" y="85726"/>
                  </a:lnTo>
                  <a:lnTo>
                    <a:pt x="90488" y="85726"/>
                  </a:lnTo>
                  <a:lnTo>
                    <a:pt x="85726" y="85726"/>
                  </a:lnTo>
                  <a:lnTo>
                    <a:pt x="82551" y="82551"/>
                  </a:lnTo>
                  <a:lnTo>
                    <a:pt x="82551" y="77788"/>
                  </a:lnTo>
                  <a:lnTo>
                    <a:pt x="79376" y="77788"/>
                  </a:lnTo>
                  <a:lnTo>
                    <a:pt x="74613" y="77788"/>
                  </a:lnTo>
                  <a:lnTo>
                    <a:pt x="71438" y="77788"/>
                  </a:lnTo>
                  <a:lnTo>
                    <a:pt x="68263" y="77788"/>
                  </a:lnTo>
                  <a:lnTo>
                    <a:pt x="63500" y="82551"/>
                  </a:lnTo>
                  <a:lnTo>
                    <a:pt x="60325" y="85726"/>
                  </a:lnTo>
                  <a:lnTo>
                    <a:pt x="57150" y="93663"/>
                  </a:lnTo>
                  <a:lnTo>
                    <a:pt x="52388" y="93663"/>
                  </a:lnTo>
                  <a:lnTo>
                    <a:pt x="49213" y="93663"/>
                  </a:lnTo>
                  <a:lnTo>
                    <a:pt x="44450" y="93663"/>
                  </a:lnTo>
                  <a:lnTo>
                    <a:pt x="41275" y="85726"/>
                  </a:lnTo>
                  <a:lnTo>
                    <a:pt x="38100" y="85726"/>
                  </a:lnTo>
                  <a:lnTo>
                    <a:pt x="30163" y="77788"/>
                  </a:lnTo>
                  <a:lnTo>
                    <a:pt x="26988" y="74613"/>
                  </a:lnTo>
                  <a:lnTo>
                    <a:pt x="22225" y="74613"/>
                  </a:lnTo>
                  <a:lnTo>
                    <a:pt x="19050" y="74613"/>
                  </a:lnTo>
                  <a:lnTo>
                    <a:pt x="19050" y="69850"/>
                  </a:lnTo>
                  <a:lnTo>
                    <a:pt x="15875" y="69850"/>
                  </a:lnTo>
                  <a:lnTo>
                    <a:pt x="15875" y="66675"/>
                  </a:lnTo>
                  <a:lnTo>
                    <a:pt x="15875" y="63500"/>
                  </a:lnTo>
                  <a:lnTo>
                    <a:pt x="15875" y="58738"/>
                  </a:lnTo>
                  <a:lnTo>
                    <a:pt x="15875" y="55563"/>
                  </a:lnTo>
                  <a:lnTo>
                    <a:pt x="11113" y="52388"/>
                  </a:lnTo>
                  <a:lnTo>
                    <a:pt x="7938" y="47625"/>
                  </a:lnTo>
                  <a:lnTo>
                    <a:pt x="4763" y="44450"/>
                  </a:lnTo>
                  <a:lnTo>
                    <a:pt x="4763" y="41275"/>
                  </a:lnTo>
                  <a:lnTo>
                    <a:pt x="0" y="36513"/>
                  </a:lnTo>
                  <a:lnTo>
                    <a:pt x="0" y="33338"/>
                  </a:lnTo>
                  <a:lnTo>
                    <a:pt x="0" y="30163"/>
                  </a:lnTo>
                  <a:lnTo>
                    <a:pt x="4763" y="30163"/>
                  </a:lnTo>
                  <a:lnTo>
                    <a:pt x="7938" y="25400"/>
                  </a:lnTo>
                  <a:lnTo>
                    <a:pt x="11113" y="25400"/>
                  </a:lnTo>
                  <a:lnTo>
                    <a:pt x="15875" y="25400"/>
                  </a:lnTo>
                  <a:lnTo>
                    <a:pt x="15875" y="22225"/>
                  </a:lnTo>
                  <a:lnTo>
                    <a:pt x="19050" y="22225"/>
                  </a:lnTo>
                  <a:lnTo>
                    <a:pt x="19050" y="17463"/>
                  </a:lnTo>
                  <a:lnTo>
                    <a:pt x="22225" y="17463"/>
                  </a:lnTo>
                  <a:lnTo>
                    <a:pt x="22225" y="14288"/>
                  </a:lnTo>
                  <a:lnTo>
                    <a:pt x="26988" y="14288"/>
                  </a:lnTo>
                  <a:lnTo>
                    <a:pt x="33338" y="11113"/>
                  </a:lnTo>
                  <a:lnTo>
                    <a:pt x="44450" y="3175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2" name="Freeform 2041"/>
            <p:cNvSpPr>
              <a:spLocks/>
            </p:cNvSpPr>
            <p:nvPr/>
          </p:nvSpPr>
          <p:spPr bwMode="gray">
            <a:xfrm>
              <a:off x="2781782" y="4842309"/>
              <a:ext cx="759957" cy="474974"/>
            </a:xfrm>
            <a:custGeom>
              <a:avLst/>
              <a:gdLst>
                <a:gd name="T0" fmla="*/ 7938 w 64"/>
                <a:gd name="T1" fmla="*/ 11113 h 40"/>
                <a:gd name="T2" fmla="*/ 7938 w 64"/>
                <a:gd name="T3" fmla="*/ 11113 h 40"/>
                <a:gd name="T4" fmla="*/ 11113 w 64"/>
                <a:gd name="T5" fmla="*/ 11113 h 40"/>
                <a:gd name="T6" fmla="*/ 11113 w 64"/>
                <a:gd name="T7" fmla="*/ 15875 h 40"/>
                <a:gd name="T8" fmla="*/ 14288 w 64"/>
                <a:gd name="T9" fmla="*/ 26988 h 40"/>
                <a:gd name="T10" fmla="*/ 19050 w 64"/>
                <a:gd name="T11" fmla="*/ 26988 h 40"/>
                <a:gd name="T12" fmla="*/ 25400 w 64"/>
                <a:gd name="T13" fmla="*/ 34925 h 40"/>
                <a:gd name="T14" fmla="*/ 30163 w 64"/>
                <a:gd name="T15" fmla="*/ 38100 h 40"/>
                <a:gd name="T16" fmla="*/ 33338 w 64"/>
                <a:gd name="T17" fmla="*/ 38100 h 40"/>
                <a:gd name="T18" fmla="*/ 38100 w 64"/>
                <a:gd name="T19" fmla="*/ 34925 h 40"/>
                <a:gd name="T20" fmla="*/ 38100 w 64"/>
                <a:gd name="T21" fmla="*/ 38100 h 40"/>
                <a:gd name="T22" fmla="*/ 38100 w 64"/>
                <a:gd name="T23" fmla="*/ 41275 h 40"/>
                <a:gd name="T24" fmla="*/ 41275 w 64"/>
                <a:gd name="T25" fmla="*/ 46038 h 40"/>
                <a:gd name="T26" fmla="*/ 49213 w 64"/>
                <a:gd name="T27" fmla="*/ 49213 h 40"/>
                <a:gd name="T28" fmla="*/ 55563 w 64"/>
                <a:gd name="T29" fmla="*/ 52388 h 40"/>
                <a:gd name="T30" fmla="*/ 60325 w 64"/>
                <a:gd name="T31" fmla="*/ 52388 h 40"/>
                <a:gd name="T32" fmla="*/ 63500 w 64"/>
                <a:gd name="T33" fmla="*/ 49213 h 40"/>
                <a:gd name="T34" fmla="*/ 66675 w 64"/>
                <a:gd name="T35" fmla="*/ 49213 h 40"/>
                <a:gd name="T36" fmla="*/ 66675 w 64"/>
                <a:gd name="T37" fmla="*/ 52388 h 40"/>
                <a:gd name="T38" fmla="*/ 66675 w 64"/>
                <a:gd name="T39" fmla="*/ 60325 h 40"/>
                <a:gd name="T40" fmla="*/ 66675 w 64"/>
                <a:gd name="T41" fmla="*/ 63500 h 40"/>
                <a:gd name="T42" fmla="*/ 71438 w 64"/>
                <a:gd name="T43" fmla="*/ 63500 h 40"/>
                <a:gd name="T44" fmla="*/ 77788 w 64"/>
                <a:gd name="T45" fmla="*/ 63500 h 40"/>
                <a:gd name="T46" fmla="*/ 90488 w 64"/>
                <a:gd name="T47" fmla="*/ 60325 h 40"/>
                <a:gd name="T48" fmla="*/ 93663 w 64"/>
                <a:gd name="T49" fmla="*/ 52388 h 40"/>
                <a:gd name="T50" fmla="*/ 90488 w 64"/>
                <a:gd name="T51" fmla="*/ 49213 h 40"/>
                <a:gd name="T52" fmla="*/ 93663 w 64"/>
                <a:gd name="T53" fmla="*/ 46038 h 40"/>
                <a:gd name="T54" fmla="*/ 96838 w 64"/>
                <a:gd name="T55" fmla="*/ 46038 h 40"/>
                <a:gd name="T56" fmla="*/ 101600 w 64"/>
                <a:gd name="T57" fmla="*/ 38100 h 40"/>
                <a:gd name="T58" fmla="*/ 96838 w 64"/>
                <a:gd name="T59" fmla="*/ 30163 h 40"/>
                <a:gd name="T60" fmla="*/ 96838 w 64"/>
                <a:gd name="T61" fmla="*/ 30163 h 40"/>
                <a:gd name="T62" fmla="*/ 93663 w 64"/>
                <a:gd name="T63" fmla="*/ 26988 h 40"/>
                <a:gd name="T64" fmla="*/ 93663 w 64"/>
                <a:gd name="T65" fmla="*/ 26988 h 40"/>
                <a:gd name="T66" fmla="*/ 93663 w 64"/>
                <a:gd name="T67" fmla="*/ 22225 h 40"/>
                <a:gd name="T68" fmla="*/ 96838 w 64"/>
                <a:gd name="T69" fmla="*/ 22225 h 40"/>
                <a:gd name="T70" fmla="*/ 96838 w 64"/>
                <a:gd name="T71" fmla="*/ 22225 h 40"/>
                <a:gd name="T72" fmla="*/ 96838 w 64"/>
                <a:gd name="T73" fmla="*/ 19050 h 40"/>
                <a:gd name="T74" fmla="*/ 93663 w 64"/>
                <a:gd name="T75" fmla="*/ 19050 h 40"/>
                <a:gd name="T76" fmla="*/ 85725 w 64"/>
                <a:gd name="T77" fmla="*/ 15875 h 40"/>
                <a:gd name="T78" fmla="*/ 82550 w 64"/>
                <a:gd name="T79" fmla="*/ 15875 h 40"/>
                <a:gd name="T80" fmla="*/ 77788 w 64"/>
                <a:gd name="T81" fmla="*/ 11113 h 40"/>
                <a:gd name="T82" fmla="*/ 74613 w 64"/>
                <a:gd name="T83" fmla="*/ 11113 h 40"/>
                <a:gd name="T84" fmla="*/ 74613 w 64"/>
                <a:gd name="T85" fmla="*/ 7938 h 40"/>
                <a:gd name="T86" fmla="*/ 74613 w 64"/>
                <a:gd name="T87" fmla="*/ 4763 h 40"/>
                <a:gd name="T88" fmla="*/ 66675 w 64"/>
                <a:gd name="T89" fmla="*/ 7938 h 40"/>
                <a:gd name="T90" fmla="*/ 63500 w 64"/>
                <a:gd name="T91" fmla="*/ 7938 h 40"/>
                <a:gd name="T92" fmla="*/ 60325 w 64"/>
                <a:gd name="T93" fmla="*/ 7938 h 40"/>
                <a:gd name="T94" fmla="*/ 55563 w 64"/>
                <a:gd name="T95" fmla="*/ 11113 h 40"/>
                <a:gd name="T96" fmla="*/ 52388 w 64"/>
                <a:gd name="T97" fmla="*/ 11113 h 40"/>
                <a:gd name="T98" fmla="*/ 44450 w 64"/>
                <a:gd name="T99" fmla="*/ 11113 h 40"/>
                <a:gd name="T100" fmla="*/ 38100 w 64"/>
                <a:gd name="T101" fmla="*/ 7938 h 40"/>
                <a:gd name="T102" fmla="*/ 33338 w 64"/>
                <a:gd name="T103" fmla="*/ 0 h 40"/>
                <a:gd name="T104" fmla="*/ 22225 w 64"/>
                <a:gd name="T105" fmla="*/ 0 h 40"/>
                <a:gd name="T106" fmla="*/ 7938 w 64"/>
                <a:gd name="T107" fmla="*/ 4763 h 40"/>
                <a:gd name="T108" fmla="*/ 0 w 64"/>
                <a:gd name="T109" fmla="*/ 7938 h 40"/>
                <a:gd name="T110" fmla="*/ 0 w 64"/>
                <a:gd name="T111" fmla="*/ 7938 h 4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4"/>
                <a:gd name="T169" fmla="*/ 0 h 40"/>
                <a:gd name="T170" fmla="*/ 64 w 64"/>
                <a:gd name="T171" fmla="*/ 40 h 4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4" h="40">
                  <a:moveTo>
                    <a:pt x="0" y="5"/>
                  </a:moveTo>
                  <a:lnTo>
                    <a:pt x="5" y="7"/>
                  </a:lnTo>
                  <a:lnTo>
                    <a:pt x="7" y="7"/>
                  </a:lnTo>
                  <a:lnTo>
                    <a:pt x="7" y="10"/>
                  </a:lnTo>
                  <a:lnTo>
                    <a:pt x="9" y="14"/>
                  </a:lnTo>
                  <a:lnTo>
                    <a:pt x="9" y="17"/>
                  </a:lnTo>
                  <a:lnTo>
                    <a:pt x="12" y="17"/>
                  </a:lnTo>
                  <a:lnTo>
                    <a:pt x="14" y="19"/>
                  </a:lnTo>
                  <a:lnTo>
                    <a:pt x="16" y="22"/>
                  </a:lnTo>
                  <a:lnTo>
                    <a:pt x="19" y="24"/>
                  </a:lnTo>
                  <a:lnTo>
                    <a:pt x="21" y="24"/>
                  </a:lnTo>
                  <a:lnTo>
                    <a:pt x="24" y="24"/>
                  </a:lnTo>
                  <a:lnTo>
                    <a:pt x="24" y="22"/>
                  </a:lnTo>
                  <a:lnTo>
                    <a:pt x="24" y="24"/>
                  </a:lnTo>
                  <a:lnTo>
                    <a:pt x="24" y="26"/>
                  </a:lnTo>
                  <a:lnTo>
                    <a:pt x="26" y="26"/>
                  </a:lnTo>
                  <a:lnTo>
                    <a:pt x="26" y="29"/>
                  </a:lnTo>
                  <a:lnTo>
                    <a:pt x="28" y="31"/>
                  </a:lnTo>
                  <a:lnTo>
                    <a:pt x="31" y="31"/>
                  </a:lnTo>
                  <a:lnTo>
                    <a:pt x="33" y="33"/>
                  </a:lnTo>
                  <a:lnTo>
                    <a:pt x="35" y="33"/>
                  </a:lnTo>
                  <a:lnTo>
                    <a:pt x="38" y="33"/>
                  </a:lnTo>
                  <a:lnTo>
                    <a:pt x="40" y="31"/>
                  </a:lnTo>
                  <a:lnTo>
                    <a:pt x="42" y="31"/>
                  </a:lnTo>
                  <a:lnTo>
                    <a:pt x="42" y="33"/>
                  </a:lnTo>
                  <a:lnTo>
                    <a:pt x="42" y="36"/>
                  </a:lnTo>
                  <a:lnTo>
                    <a:pt x="42" y="38"/>
                  </a:lnTo>
                  <a:lnTo>
                    <a:pt x="42" y="40"/>
                  </a:lnTo>
                  <a:lnTo>
                    <a:pt x="45" y="40"/>
                  </a:lnTo>
                  <a:lnTo>
                    <a:pt x="49" y="40"/>
                  </a:lnTo>
                  <a:lnTo>
                    <a:pt x="57" y="38"/>
                  </a:lnTo>
                  <a:lnTo>
                    <a:pt x="57" y="36"/>
                  </a:lnTo>
                  <a:lnTo>
                    <a:pt x="59" y="33"/>
                  </a:lnTo>
                  <a:lnTo>
                    <a:pt x="57" y="31"/>
                  </a:lnTo>
                  <a:lnTo>
                    <a:pt x="59" y="31"/>
                  </a:lnTo>
                  <a:lnTo>
                    <a:pt x="59" y="29"/>
                  </a:lnTo>
                  <a:lnTo>
                    <a:pt x="61" y="29"/>
                  </a:lnTo>
                  <a:lnTo>
                    <a:pt x="64" y="24"/>
                  </a:lnTo>
                  <a:lnTo>
                    <a:pt x="61" y="22"/>
                  </a:lnTo>
                  <a:lnTo>
                    <a:pt x="61" y="19"/>
                  </a:lnTo>
                  <a:lnTo>
                    <a:pt x="59" y="19"/>
                  </a:lnTo>
                  <a:lnTo>
                    <a:pt x="59" y="17"/>
                  </a:lnTo>
                  <a:lnTo>
                    <a:pt x="59" y="14"/>
                  </a:lnTo>
                  <a:lnTo>
                    <a:pt x="61" y="14"/>
                  </a:lnTo>
                  <a:lnTo>
                    <a:pt x="61" y="12"/>
                  </a:lnTo>
                  <a:lnTo>
                    <a:pt x="59" y="12"/>
                  </a:lnTo>
                  <a:lnTo>
                    <a:pt x="57" y="12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49" y="7"/>
                  </a:lnTo>
                  <a:lnTo>
                    <a:pt x="47" y="7"/>
                  </a:lnTo>
                  <a:lnTo>
                    <a:pt x="47" y="5"/>
                  </a:lnTo>
                  <a:lnTo>
                    <a:pt x="47" y="3"/>
                  </a:lnTo>
                  <a:lnTo>
                    <a:pt x="45" y="3"/>
                  </a:lnTo>
                  <a:lnTo>
                    <a:pt x="42" y="5"/>
                  </a:lnTo>
                  <a:lnTo>
                    <a:pt x="40" y="5"/>
                  </a:lnTo>
                  <a:lnTo>
                    <a:pt x="38" y="5"/>
                  </a:lnTo>
                  <a:lnTo>
                    <a:pt x="35" y="5"/>
                  </a:lnTo>
                  <a:lnTo>
                    <a:pt x="35" y="7"/>
                  </a:lnTo>
                  <a:lnTo>
                    <a:pt x="33" y="7"/>
                  </a:lnTo>
                  <a:lnTo>
                    <a:pt x="31" y="7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5"/>
                  </a:lnTo>
                  <a:lnTo>
                    <a:pt x="21" y="3"/>
                  </a:lnTo>
                  <a:lnTo>
                    <a:pt x="21" y="0"/>
                  </a:lnTo>
                  <a:lnTo>
                    <a:pt x="14" y="0"/>
                  </a:lnTo>
                  <a:lnTo>
                    <a:pt x="9" y="0"/>
                  </a:lnTo>
                  <a:lnTo>
                    <a:pt x="5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  <p:sp>
          <p:nvSpPr>
            <p:cNvPr id="33" name="Freeform 2047"/>
            <p:cNvSpPr>
              <a:spLocks/>
            </p:cNvSpPr>
            <p:nvPr/>
          </p:nvSpPr>
          <p:spPr bwMode="gray">
            <a:xfrm>
              <a:off x="4266061" y="5459775"/>
              <a:ext cx="1098377" cy="522472"/>
            </a:xfrm>
            <a:custGeom>
              <a:avLst/>
              <a:gdLst/>
              <a:ahLst/>
              <a:cxnLst/>
              <a:rect l="l" t="t" r="r" b="b"/>
              <a:pathLst>
                <a:path w="146844" h="69850">
                  <a:moveTo>
                    <a:pt x="120651" y="0"/>
                  </a:moveTo>
                  <a:lnTo>
                    <a:pt x="123826" y="0"/>
                  </a:lnTo>
                  <a:lnTo>
                    <a:pt x="127001" y="0"/>
                  </a:lnTo>
                  <a:lnTo>
                    <a:pt x="131763" y="0"/>
                  </a:lnTo>
                  <a:lnTo>
                    <a:pt x="134938" y="4763"/>
                  </a:lnTo>
                  <a:lnTo>
                    <a:pt x="138113" y="7938"/>
                  </a:lnTo>
                  <a:lnTo>
                    <a:pt x="142876" y="7938"/>
                  </a:lnTo>
                  <a:lnTo>
                    <a:pt x="146051" y="7938"/>
                  </a:lnTo>
                  <a:lnTo>
                    <a:pt x="146051" y="11113"/>
                  </a:lnTo>
                  <a:lnTo>
                    <a:pt x="146844" y="11113"/>
                  </a:lnTo>
                  <a:lnTo>
                    <a:pt x="146844" y="69850"/>
                  </a:lnTo>
                  <a:lnTo>
                    <a:pt x="0" y="69850"/>
                  </a:lnTo>
                  <a:lnTo>
                    <a:pt x="0" y="68263"/>
                  </a:lnTo>
                  <a:lnTo>
                    <a:pt x="3175" y="63500"/>
                  </a:lnTo>
                  <a:lnTo>
                    <a:pt x="7938" y="60325"/>
                  </a:lnTo>
                  <a:lnTo>
                    <a:pt x="11113" y="57150"/>
                  </a:lnTo>
                  <a:lnTo>
                    <a:pt x="19050" y="57150"/>
                  </a:lnTo>
                  <a:lnTo>
                    <a:pt x="26988" y="57150"/>
                  </a:lnTo>
                  <a:lnTo>
                    <a:pt x="26988" y="52388"/>
                  </a:lnTo>
                  <a:lnTo>
                    <a:pt x="30163" y="52388"/>
                  </a:lnTo>
                  <a:lnTo>
                    <a:pt x="33338" y="49213"/>
                  </a:lnTo>
                  <a:lnTo>
                    <a:pt x="44450" y="49213"/>
                  </a:lnTo>
                  <a:lnTo>
                    <a:pt x="52388" y="49213"/>
                  </a:lnTo>
                  <a:lnTo>
                    <a:pt x="57150" y="49213"/>
                  </a:lnTo>
                  <a:lnTo>
                    <a:pt x="60325" y="52388"/>
                  </a:lnTo>
                  <a:lnTo>
                    <a:pt x="63500" y="57150"/>
                  </a:lnTo>
                  <a:lnTo>
                    <a:pt x="68263" y="57150"/>
                  </a:lnTo>
                  <a:lnTo>
                    <a:pt x="71438" y="52388"/>
                  </a:lnTo>
                  <a:lnTo>
                    <a:pt x="71438" y="49213"/>
                  </a:lnTo>
                  <a:lnTo>
                    <a:pt x="71438" y="46038"/>
                  </a:lnTo>
                  <a:lnTo>
                    <a:pt x="68263" y="41275"/>
                  </a:lnTo>
                  <a:lnTo>
                    <a:pt x="68263" y="38100"/>
                  </a:lnTo>
                  <a:lnTo>
                    <a:pt x="63500" y="38100"/>
                  </a:lnTo>
                  <a:lnTo>
                    <a:pt x="60325" y="38100"/>
                  </a:lnTo>
                  <a:lnTo>
                    <a:pt x="63500" y="33338"/>
                  </a:lnTo>
                  <a:lnTo>
                    <a:pt x="68263" y="30163"/>
                  </a:lnTo>
                  <a:lnTo>
                    <a:pt x="71438" y="30163"/>
                  </a:lnTo>
                  <a:lnTo>
                    <a:pt x="74613" y="30163"/>
                  </a:lnTo>
                  <a:lnTo>
                    <a:pt x="79375" y="26988"/>
                  </a:lnTo>
                  <a:lnTo>
                    <a:pt x="79375" y="22225"/>
                  </a:lnTo>
                  <a:lnTo>
                    <a:pt x="79375" y="19050"/>
                  </a:lnTo>
                  <a:lnTo>
                    <a:pt x="82550" y="15875"/>
                  </a:lnTo>
                  <a:lnTo>
                    <a:pt x="82550" y="11113"/>
                  </a:lnTo>
                  <a:lnTo>
                    <a:pt x="85725" y="11113"/>
                  </a:lnTo>
                  <a:lnTo>
                    <a:pt x="90488" y="7938"/>
                  </a:lnTo>
                  <a:lnTo>
                    <a:pt x="93663" y="11113"/>
                  </a:lnTo>
                  <a:lnTo>
                    <a:pt x="96838" y="15875"/>
                  </a:lnTo>
                  <a:lnTo>
                    <a:pt x="101601" y="15875"/>
                  </a:lnTo>
                  <a:lnTo>
                    <a:pt x="104776" y="15875"/>
                  </a:lnTo>
                  <a:lnTo>
                    <a:pt x="109538" y="15875"/>
                  </a:lnTo>
                  <a:lnTo>
                    <a:pt x="112713" y="7938"/>
                  </a:lnTo>
                  <a:lnTo>
                    <a:pt x="115888" y="4763"/>
                  </a:lnTo>
                  <a:close/>
                </a:path>
              </a:pathLst>
            </a:custGeom>
            <a:grpFill/>
            <a:ln w="6350" cap="rnd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/>
            </a:p>
          </p:txBody>
        </p:sp>
      </p:grpSp>
      <p:sp>
        <p:nvSpPr>
          <p:cNvPr id="38" name="TextBox 37"/>
          <p:cNvSpPr txBox="1"/>
          <p:nvPr/>
        </p:nvSpPr>
        <p:spPr bwMode="gray">
          <a:xfrm>
            <a:off x="1169857" y="3334259"/>
            <a:ext cx="872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Walney Extension</a:t>
            </a:r>
          </a:p>
        </p:txBody>
      </p:sp>
      <p:sp>
        <p:nvSpPr>
          <p:cNvPr id="39" name="TextBox 38"/>
          <p:cNvSpPr txBox="1"/>
          <p:nvPr/>
        </p:nvSpPr>
        <p:spPr bwMode="gray">
          <a:xfrm>
            <a:off x="2341874" y="3211446"/>
            <a:ext cx="111889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West of Duddon Sands</a:t>
            </a:r>
          </a:p>
        </p:txBody>
      </p:sp>
      <p:sp>
        <p:nvSpPr>
          <p:cNvPr id="40" name="TextBox 39"/>
          <p:cNvSpPr txBox="1"/>
          <p:nvPr/>
        </p:nvSpPr>
        <p:spPr bwMode="gray">
          <a:xfrm>
            <a:off x="3104073" y="3398197"/>
            <a:ext cx="94583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dirty="0"/>
              <a:t>Westermost Rough</a:t>
            </a:r>
          </a:p>
        </p:txBody>
      </p:sp>
      <p:sp>
        <p:nvSpPr>
          <p:cNvPr id="41" name="TextBox 40"/>
          <p:cNvSpPr txBox="1"/>
          <p:nvPr/>
        </p:nvSpPr>
        <p:spPr bwMode="gray">
          <a:xfrm>
            <a:off x="1169857" y="3842842"/>
            <a:ext cx="52738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Isle of Man</a:t>
            </a:r>
          </a:p>
        </p:txBody>
      </p:sp>
      <p:sp>
        <p:nvSpPr>
          <p:cNvPr id="42" name="TextBox 41"/>
          <p:cNvSpPr txBox="1"/>
          <p:nvPr/>
        </p:nvSpPr>
        <p:spPr bwMode="gray">
          <a:xfrm>
            <a:off x="1169857" y="3579274"/>
            <a:ext cx="87600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dirty="0"/>
              <a:t>Walney 1 &amp; 2</a:t>
            </a:r>
          </a:p>
        </p:txBody>
      </p:sp>
      <p:sp>
        <p:nvSpPr>
          <p:cNvPr id="43" name="TextBox 42"/>
          <p:cNvSpPr txBox="1"/>
          <p:nvPr/>
        </p:nvSpPr>
        <p:spPr bwMode="gray">
          <a:xfrm>
            <a:off x="1169857" y="4106411"/>
            <a:ext cx="35907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Barrow</a:t>
            </a:r>
          </a:p>
        </p:txBody>
      </p:sp>
      <p:sp>
        <p:nvSpPr>
          <p:cNvPr id="44" name="TextBox 43"/>
          <p:cNvSpPr txBox="1"/>
          <p:nvPr/>
        </p:nvSpPr>
        <p:spPr bwMode="gray">
          <a:xfrm>
            <a:off x="1169857" y="4369981"/>
            <a:ext cx="77104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Burbo Bank Ext.</a:t>
            </a:r>
          </a:p>
        </p:txBody>
      </p:sp>
      <p:sp>
        <p:nvSpPr>
          <p:cNvPr id="45" name="TextBox 44"/>
          <p:cNvSpPr txBox="1"/>
          <p:nvPr/>
        </p:nvSpPr>
        <p:spPr bwMode="gray">
          <a:xfrm>
            <a:off x="1865755" y="4514059"/>
            <a:ext cx="56906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Burbo Bank</a:t>
            </a:r>
          </a:p>
        </p:txBody>
      </p:sp>
      <p:sp>
        <p:nvSpPr>
          <p:cNvPr id="46" name="TextBox 45"/>
          <p:cNvSpPr txBox="1"/>
          <p:nvPr/>
        </p:nvSpPr>
        <p:spPr bwMode="gray">
          <a:xfrm>
            <a:off x="2533219" y="4669696"/>
            <a:ext cx="83676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Gunfleet Sands 3</a:t>
            </a:r>
          </a:p>
        </p:txBody>
      </p:sp>
      <p:sp>
        <p:nvSpPr>
          <p:cNvPr id="47" name="TextBox 46"/>
          <p:cNvSpPr txBox="1"/>
          <p:nvPr/>
        </p:nvSpPr>
        <p:spPr bwMode="gray">
          <a:xfrm>
            <a:off x="2834745" y="4271298"/>
            <a:ext cx="105433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dirty="0"/>
              <a:t>Gunfleet Sands 1 &amp; 2</a:t>
            </a:r>
          </a:p>
        </p:txBody>
      </p:sp>
      <p:sp>
        <p:nvSpPr>
          <p:cNvPr id="48" name="TextBox 47"/>
          <p:cNvSpPr txBox="1"/>
          <p:nvPr/>
        </p:nvSpPr>
        <p:spPr bwMode="gray">
          <a:xfrm>
            <a:off x="3189784" y="4008748"/>
            <a:ext cx="240450" cy="1231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Lincs</a:t>
            </a:r>
          </a:p>
        </p:txBody>
      </p:sp>
      <p:sp>
        <p:nvSpPr>
          <p:cNvPr id="49" name="TextBox 48"/>
          <p:cNvSpPr txBox="1"/>
          <p:nvPr/>
        </p:nvSpPr>
        <p:spPr bwMode="gray">
          <a:xfrm>
            <a:off x="3262896" y="4757060"/>
            <a:ext cx="66524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London Array</a:t>
            </a:r>
          </a:p>
        </p:txBody>
      </p:sp>
      <p:sp>
        <p:nvSpPr>
          <p:cNvPr id="50" name="TextBox 49"/>
          <p:cNvSpPr txBox="1"/>
          <p:nvPr/>
        </p:nvSpPr>
        <p:spPr bwMode="gray">
          <a:xfrm>
            <a:off x="3808750" y="3859215"/>
            <a:ext cx="52738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Race Bank</a:t>
            </a:r>
          </a:p>
        </p:txBody>
      </p:sp>
      <p:sp>
        <p:nvSpPr>
          <p:cNvPr id="51" name="TextBox 50"/>
          <p:cNvSpPr txBox="1"/>
          <p:nvPr/>
        </p:nvSpPr>
        <p:spPr bwMode="gray">
          <a:xfrm>
            <a:off x="4111264" y="3302611"/>
            <a:ext cx="77585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Horns Rev 1 &amp; 2</a:t>
            </a:r>
          </a:p>
        </p:txBody>
      </p:sp>
      <p:sp>
        <p:nvSpPr>
          <p:cNvPr id="52" name="TextBox 51"/>
          <p:cNvSpPr txBox="1"/>
          <p:nvPr/>
        </p:nvSpPr>
        <p:spPr bwMode="gray">
          <a:xfrm>
            <a:off x="3659928" y="3521532"/>
            <a:ext cx="50013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Hornsea 1</a:t>
            </a:r>
          </a:p>
        </p:txBody>
      </p:sp>
      <p:sp>
        <p:nvSpPr>
          <p:cNvPr id="53" name="TextBox 52"/>
          <p:cNvSpPr txBox="1"/>
          <p:nvPr/>
        </p:nvSpPr>
        <p:spPr bwMode="gray">
          <a:xfrm>
            <a:off x="5321491" y="2949677"/>
            <a:ext cx="33182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Anholt</a:t>
            </a:r>
          </a:p>
        </p:txBody>
      </p:sp>
      <p:sp>
        <p:nvSpPr>
          <p:cNvPr id="54" name="TextBox 53"/>
          <p:cNvSpPr txBox="1"/>
          <p:nvPr/>
        </p:nvSpPr>
        <p:spPr bwMode="gray">
          <a:xfrm>
            <a:off x="5567501" y="3164419"/>
            <a:ext cx="73577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Middelgrunden</a:t>
            </a:r>
          </a:p>
        </p:txBody>
      </p:sp>
      <p:sp>
        <p:nvSpPr>
          <p:cNvPr id="55" name="TextBox 54"/>
          <p:cNvSpPr txBox="1"/>
          <p:nvPr/>
        </p:nvSpPr>
        <p:spPr bwMode="gray">
          <a:xfrm>
            <a:off x="5504374" y="3583558"/>
            <a:ext cx="40235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Vindeby</a:t>
            </a:r>
          </a:p>
        </p:txBody>
      </p:sp>
      <p:sp>
        <p:nvSpPr>
          <p:cNvPr id="56" name="TextBox 55"/>
          <p:cNvSpPr txBox="1"/>
          <p:nvPr/>
        </p:nvSpPr>
        <p:spPr bwMode="gray">
          <a:xfrm>
            <a:off x="5676943" y="3793334"/>
            <a:ext cx="35426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Nysted</a:t>
            </a:r>
          </a:p>
        </p:txBody>
      </p:sp>
      <p:sp>
        <p:nvSpPr>
          <p:cNvPr id="57" name="TextBox 56"/>
          <p:cNvSpPr txBox="1"/>
          <p:nvPr/>
        </p:nvSpPr>
        <p:spPr bwMode="gray">
          <a:xfrm>
            <a:off x="4710284" y="4941493"/>
            <a:ext cx="136896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Borkum Riffgrund West 1&amp;2</a:t>
            </a:r>
          </a:p>
        </p:txBody>
      </p:sp>
      <p:sp>
        <p:nvSpPr>
          <p:cNvPr id="58" name="TextBox 57"/>
          <p:cNvSpPr txBox="1"/>
          <p:nvPr/>
        </p:nvSpPr>
        <p:spPr bwMode="gray">
          <a:xfrm>
            <a:off x="4708411" y="4623546"/>
            <a:ext cx="94897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Borkum Riffgrund 2</a:t>
            </a:r>
          </a:p>
        </p:txBody>
      </p:sp>
      <p:sp>
        <p:nvSpPr>
          <p:cNvPr id="59" name="TextBox 58"/>
          <p:cNvSpPr txBox="1"/>
          <p:nvPr/>
        </p:nvSpPr>
        <p:spPr bwMode="gray">
          <a:xfrm>
            <a:off x="4810420" y="4428420"/>
            <a:ext cx="94897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Borkum Riffgrund 1</a:t>
            </a:r>
          </a:p>
        </p:txBody>
      </p:sp>
      <p:sp>
        <p:nvSpPr>
          <p:cNvPr id="60" name="TextBox 59"/>
          <p:cNvSpPr txBox="1"/>
          <p:nvPr/>
        </p:nvSpPr>
        <p:spPr bwMode="gray">
          <a:xfrm>
            <a:off x="4949153" y="4258969"/>
            <a:ext cx="63799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Gode Wind 1</a:t>
            </a:r>
          </a:p>
        </p:txBody>
      </p:sp>
      <p:sp>
        <p:nvSpPr>
          <p:cNvPr id="61" name="TextBox 60"/>
          <p:cNvSpPr txBox="1"/>
          <p:nvPr/>
        </p:nvSpPr>
        <p:spPr bwMode="gray">
          <a:xfrm>
            <a:off x="4985876" y="4058707"/>
            <a:ext cx="82394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Gode Wind 3 &amp; 4</a:t>
            </a:r>
          </a:p>
        </p:txBody>
      </p:sp>
      <p:sp>
        <p:nvSpPr>
          <p:cNvPr id="62" name="TextBox 61"/>
          <p:cNvSpPr txBox="1"/>
          <p:nvPr/>
        </p:nvSpPr>
        <p:spPr bwMode="gray">
          <a:xfrm>
            <a:off x="5015643" y="3909795"/>
            <a:ext cx="63799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Gode Wind 2</a:t>
            </a:r>
          </a:p>
        </p:txBody>
      </p:sp>
      <p:cxnSp>
        <p:nvCxnSpPr>
          <p:cNvPr id="63" name="Elbow Connector 62"/>
          <p:cNvCxnSpPr>
            <a:endCxn id="61" idx="1"/>
          </p:cNvCxnSpPr>
          <p:nvPr/>
        </p:nvCxnSpPr>
        <p:spPr bwMode="gray">
          <a:xfrm rot="16200000" flipH="1">
            <a:off x="4842637" y="3977023"/>
            <a:ext cx="111025" cy="175454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4" name="Elbow Connector 63"/>
          <p:cNvCxnSpPr>
            <a:stCxn id="251" idx="9"/>
            <a:endCxn id="62" idx="1"/>
          </p:cNvCxnSpPr>
          <p:nvPr/>
        </p:nvCxnSpPr>
        <p:spPr bwMode="gray">
          <a:xfrm>
            <a:off x="4901701" y="3837669"/>
            <a:ext cx="113942" cy="133682"/>
          </a:xfrm>
          <a:prstGeom prst="bentConnector3">
            <a:avLst>
              <a:gd name="adj1" fmla="val 81783"/>
            </a:avLst>
          </a:prstGeom>
          <a:solidFill>
            <a:schemeClr val="accent2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5" name="Elbow Connector 64"/>
          <p:cNvCxnSpPr/>
          <p:nvPr/>
        </p:nvCxnSpPr>
        <p:spPr bwMode="gray">
          <a:xfrm rot="16200000" flipH="1">
            <a:off x="4489558" y="4184353"/>
            <a:ext cx="477548" cy="133697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6" name="Elbow Connector 65"/>
          <p:cNvCxnSpPr>
            <a:endCxn id="58" idx="1"/>
          </p:cNvCxnSpPr>
          <p:nvPr/>
        </p:nvCxnSpPr>
        <p:spPr bwMode="gray">
          <a:xfrm rot="16200000" flipH="1">
            <a:off x="4324156" y="4300847"/>
            <a:ext cx="639012" cy="129497"/>
          </a:xfrm>
          <a:prstGeom prst="bentConnector2">
            <a:avLst/>
          </a:prstGeom>
          <a:solidFill>
            <a:srgbClr val="0F96AA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Elbow Connector 66"/>
          <p:cNvCxnSpPr>
            <a:endCxn id="57" idx="1"/>
          </p:cNvCxnSpPr>
          <p:nvPr/>
        </p:nvCxnSpPr>
        <p:spPr bwMode="gray">
          <a:xfrm rot="16200000" flipH="1">
            <a:off x="4101174" y="4393939"/>
            <a:ext cx="961928" cy="256292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8" name="Elbow Connector 67"/>
          <p:cNvCxnSpPr>
            <a:endCxn id="39" idx="2"/>
          </p:cNvCxnSpPr>
          <p:nvPr/>
        </p:nvCxnSpPr>
        <p:spPr bwMode="gray">
          <a:xfrm rot="5400000" flipH="1" flipV="1">
            <a:off x="2624594" y="3574811"/>
            <a:ext cx="516981" cy="36475"/>
          </a:xfrm>
          <a:prstGeom prst="bentConnector3">
            <a:avLst>
              <a:gd name="adj1" fmla="val 966"/>
            </a:avLst>
          </a:prstGeom>
          <a:solidFill>
            <a:schemeClr val="accent2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69" name="Elbow Connector 68"/>
          <p:cNvCxnSpPr>
            <a:endCxn id="38" idx="3"/>
          </p:cNvCxnSpPr>
          <p:nvPr/>
        </p:nvCxnSpPr>
        <p:spPr bwMode="gray">
          <a:xfrm rot="10800000">
            <a:off x="2041892" y="3395815"/>
            <a:ext cx="592895" cy="141880"/>
          </a:xfrm>
          <a:prstGeom prst="bentConnector3">
            <a:avLst>
              <a:gd name="adj1" fmla="val 118"/>
            </a:avLst>
          </a:prstGeom>
          <a:solidFill>
            <a:srgbClr val="0F96AA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0" name="Elbow Connector 69"/>
          <p:cNvCxnSpPr>
            <a:endCxn id="41" idx="3"/>
          </p:cNvCxnSpPr>
          <p:nvPr/>
        </p:nvCxnSpPr>
        <p:spPr bwMode="gray">
          <a:xfrm rot="10800000" flipV="1">
            <a:off x="1697246" y="3860258"/>
            <a:ext cx="685139" cy="44139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1" name="Elbow Connector 70"/>
          <p:cNvCxnSpPr>
            <a:endCxn id="42" idx="3"/>
          </p:cNvCxnSpPr>
          <p:nvPr/>
        </p:nvCxnSpPr>
        <p:spPr bwMode="gray">
          <a:xfrm rot="10800000">
            <a:off x="2045863" y="3640831"/>
            <a:ext cx="535237" cy="129365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2" name="Elbow Connector 71"/>
          <p:cNvCxnSpPr>
            <a:endCxn id="44" idx="3"/>
          </p:cNvCxnSpPr>
          <p:nvPr/>
        </p:nvCxnSpPr>
        <p:spPr bwMode="gray">
          <a:xfrm rot="10800000" flipV="1">
            <a:off x="1940902" y="4058639"/>
            <a:ext cx="640198" cy="372897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3" name="Elbow Connector 72"/>
          <p:cNvCxnSpPr>
            <a:stCxn id="40" idx="2"/>
          </p:cNvCxnSpPr>
          <p:nvPr/>
        </p:nvCxnSpPr>
        <p:spPr bwMode="gray">
          <a:xfrm rot="5400000">
            <a:off x="3381807" y="3537808"/>
            <a:ext cx="211685" cy="178684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4" name="Elbow Connector 73"/>
          <p:cNvCxnSpPr>
            <a:endCxn id="50" idx="1"/>
          </p:cNvCxnSpPr>
          <p:nvPr/>
        </p:nvCxnSpPr>
        <p:spPr bwMode="gray">
          <a:xfrm flipV="1">
            <a:off x="3635080" y="3920771"/>
            <a:ext cx="173670" cy="15824"/>
          </a:xfrm>
          <a:prstGeom prst="bentConnector3">
            <a:avLst>
              <a:gd name="adj1" fmla="val -392"/>
            </a:avLst>
          </a:prstGeom>
          <a:solidFill>
            <a:schemeClr val="accent2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6" name="Elbow Connector 75"/>
          <p:cNvCxnSpPr>
            <a:stCxn id="46" idx="3"/>
          </p:cNvCxnSpPr>
          <p:nvPr/>
        </p:nvCxnSpPr>
        <p:spPr bwMode="gray">
          <a:xfrm flipV="1">
            <a:off x="3369987" y="4602940"/>
            <a:ext cx="157471" cy="12831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7" name="Elbow Connector 76"/>
          <p:cNvCxnSpPr>
            <a:stCxn id="47" idx="2"/>
          </p:cNvCxnSpPr>
          <p:nvPr/>
        </p:nvCxnSpPr>
        <p:spPr bwMode="gray">
          <a:xfrm rot="16200000" flipH="1">
            <a:off x="3487900" y="4268423"/>
            <a:ext cx="63558" cy="315529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79" name="Elbow Connector 78"/>
          <p:cNvCxnSpPr/>
          <p:nvPr/>
        </p:nvCxnSpPr>
        <p:spPr bwMode="gray">
          <a:xfrm rot="16200000" flipH="1">
            <a:off x="4632810" y="4071444"/>
            <a:ext cx="374513" cy="156170"/>
          </a:xfrm>
          <a:prstGeom prst="bentConnector3">
            <a:avLst>
              <a:gd name="adj1" fmla="val 99893"/>
            </a:avLst>
          </a:prstGeom>
          <a:solidFill>
            <a:schemeClr val="accent2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88" name="Elbow Connector 87"/>
          <p:cNvCxnSpPr>
            <a:stCxn id="45" idx="3"/>
          </p:cNvCxnSpPr>
          <p:nvPr/>
        </p:nvCxnSpPr>
        <p:spPr bwMode="gray">
          <a:xfrm flipV="1">
            <a:off x="2434822" y="4064749"/>
            <a:ext cx="371630" cy="510866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91" name="Elbow Connector 90"/>
          <p:cNvCxnSpPr>
            <a:stCxn id="43" idx="3"/>
          </p:cNvCxnSpPr>
          <p:nvPr/>
        </p:nvCxnSpPr>
        <p:spPr bwMode="gray">
          <a:xfrm flipV="1">
            <a:off x="1528930" y="3936595"/>
            <a:ext cx="1024890" cy="231372"/>
          </a:xfrm>
          <a:prstGeom prst="bentConnector3">
            <a:avLst>
              <a:gd name="adj1" fmla="val 50000"/>
            </a:avLst>
          </a:prstGeom>
          <a:solidFill>
            <a:schemeClr val="accent2"/>
          </a:solidFill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94" name="Freeform 9"/>
          <p:cNvSpPr>
            <a:spLocks/>
          </p:cNvSpPr>
          <p:nvPr/>
        </p:nvSpPr>
        <p:spPr bwMode="auto">
          <a:xfrm>
            <a:off x="416496" y="1581310"/>
            <a:ext cx="1447257" cy="822104"/>
          </a:xfrm>
          <a:custGeom>
            <a:avLst/>
            <a:gdLst/>
            <a:ahLst/>
            <a:cxnLst>
              <a:cxn ang="0">
                <a:pos x="312" y="0"/>
              </a:cxn>
              <a:cxn ang="0">
                <a:pos x="344" y="24"/>
              </a:cxn>
              <a:cxn ang="0">
                <a:pos x="352" y="40"/>
              </a:cxn>
              <a:cxn ang="0">
                <a:pos x="376" y="48"/>
              </a:cxn>
              <a:cxn ang="0">
                <a:pos x="408" y="48"/>
              </a:cxn>
              <a:cxn ang="0">
                <a:pos x="424" y="64"/>
              </a:cxn>
              <a:cxn ang="0">
                <a:pos x="392" y="72"/>
              </a:cxn>
              <a:cxn ang="0">
                <a:pos x="384" y="120"/>
              </a:cxn>
              <a:cxn ang="0">
                <a:pos x="400" y="88"/>
              </a:cxn>
              <a:cxn ang="0">
                <a:pos x="408" y="64"/>
              </a:cxn>
              <a:cxn ang="0">
                <a:pos x="424" y="96"/>
              </a:cxn>
              <a:cxn ang="0">
                <a:pos x="448" y="104"/>
              </a:cxn>
              <a:cxn ang="0">
                <a:pos x="448" y="120"/>
              </a:cxn>
              <a:cxn ang="0">
                <a:pos x="504" y="96"/>
              </a:cxn>
              <a:cxn ang="0">
                <a:pos x="552" y="72"/>
              </a:cxn>
              <a:cxn ang="0">
                <a:pos x="584" y="40"/>
              </a:cxn>
              <a:cxn ang="0">
                <a:pos x="600" y="64"/>
              </a:cxn>
              <a:cxn ang="0">
                <a:pos x="600" y="80"/>
              </a:cxn>
              <a:cxn ang="0">
                <a:pos x="568" y="120"/>
              </a:cxn>
              <a:cxn ang="0">
                <a:pos x="552" y="120"/>
              </a:cxn>
              <a:cxn ang="0">
                <a:pos x="528" y="160"/>
              </a:cxn>
              <a:cxn ang="0">
                <a:pos x="512" y="184"/>
              </a:cxn>
              <a:cxn ang="0">
                <a:pos x="504" y="152"/>
              </a:cxn>
              <a:cxn ang="0">
                <a:pos x="512" y="208"/>
              </a:cxn>
              <a:cxn ang="0">
                <a:pos x="456" y="256"/>
              </a:cxn>
              <a:cxn ang="0">
                <a:pos x="464" y="336"/>
              </a:cxn>
              <a:cxn ang="0">
                <a:pos x="440" y="312"/>
              </a:cxn>
              <a:cxn ang="0">
                <a:pos x="408" y="280"/>
              </a:cxn>
              <a:cxn ang="0">
                <a:pos x="368" y="280"/>
              </a:cxn>
              <a:cxn ang="0">
                <a:pos x="344" y="280"/>
              </a:cxn>
              <a:cxn ang="0">
                <a:pos x="288" y="304"/>
              </a:cxn>
              <a:cxn ang="0">
                <a:pos x="240" y="280"/>
              </a:cxn>
              <a:cxn ang="0">
                <a:pos x="216" y="288"/>
              </a:cxn>
              <a:cxn ang="0">
                <a:pos x="192" y="256"/>
              </a:cxn>
              <a:cxn ang="0">
                <a:pos x="80" y="248"/>
              </a:cxn>
              <a:cxn ang="0">
                <a:pos x="64" y="224"/>
              </a:cxn>
              <a:cxn ang="0">
                <a:pos x="24" y="200"/>
              </a:cxn>
              <a:cxn ang="0">
                <a:pos x="16" y="176"/>
              </a:cxn>
              <a:cxn ang="0">
                <a:pos x="8" y="168"/>
              </a:cxn>
              <a:cxn ang="0">
                <a:pos x="8" y="152"/>
              </a:cxn>
              <a:cxn ang="0">
                <a:pos x="0" y="104"/>
              </a:cxn>
              <a:cxn ang="0">
                <a:pos x="8" y="24"/>
              </a:cxn>
              <a:cxn ang="0">
                <a:pos x="16" y="8"/>
              </a:cxn>
            </a:cxnLst>
            <a:rect l="0" t="0" r="r" b="b"/>
            <a:pathLst>
              <a:path w="609" h="337">
                <a:moveTo>
                  <a:pt x="16" y="8"/>
                </a:moveTo>
                <a:lnTo>
                  <a:pt x="304" y="8"/>
                </a:lnTo>
                <a:lnTo>
                  <a:pt x="312" y="0"/>
                </a:lnTo>
                <a:lnTo>
                  <a:pt x="320" y="16"/>
                </a:lnTo>
                <a:lnTo>
                  <a:pt x="328" y="16"/>
                </a:lnTo>
                <a:lnTo>
                  <a:pt x="344" y="24"/>
                </a:lnTo>
                <a:lnTo>
                  <a:pt x="368" y="24"/>
                </a:lnTo>
                <a:lnTo>
                  <a:pt x="336" y="48"/>
                </a:lnTo>
                <a:lnTo>
                  <a:pt x="352" y="40"/>
                </a:lnTo>
                <a:lnTo>
                  <a:pt x="360" y="48"/>
                </a:lnTo>
                <a:lnTo>
                  <a:pt x="376" y="40"/>
                </a:lnTo>
                <a:lnTo>
                  <a:pt x="376" y="48"/>
                </a:lnTo>
                <a:lnTo>
                  <a:pt x="384" y="40"/>
                </a:lnTo>
                <a:lnTo>
                  <a:pt x="392" y="48"/>
                </a:lnTo>
                <a:lnTo>
                  <a:pt x="408" y="48"/>
                </a:lnTo>
                <a:lnTo>
                  <a:pt x="416" y="48"/>
                </a:lnTo>
                <a:lnTo>
                  <a:pt x="424" y="56"/>
                </a:lnTo>
                <a:lnTo>
                  <a:pt x="424" y="64"/>
                </a:lnTo>
                <a:lnTo>
                  <a:pt x="392" y="64"/>
                </a:lnTo>
                <a:lnTo>
                  <a:pt x="384" y="80"/>
                </a:lnTo>
                <a:lnTo>
                  <a:pt x="392" y="72"/>
                </a:lnTo>
                <a:lnTo>
                  <a:pt x="384" y="104"/>
                </a:lnTo>
                <a:lnTo>
                  <a:pt x="384" y="120"/>
                </a:lnTo>
                <a:lnTo>
                  <a:pt x="384" y="120"/>
                </a:lnTo>
                <a:lnTo>
                  <a:pt x="392" y="120"/>
                </a:lnTo>
                <a:lnTo>
                  <a:pt x="400" y="120"/>
                </a:lnTo>
                <a:lnTo>
                  <a:pt x="400" y="88"/>
                </a:lnTo>
                <a:lnTo>
                  <a:pt x="408" y="72"/>
                </a:lnTo>
                <a:lnTo>
                  <a:pt x="408" y="72"/>
                </a:lnTo>
                <a:lnTo>
                  <a:pt x="408" y="64"/>
                </a:lnTo>
                <a:lnTo>
                  <a:pt x="432" y="72"/>
                </a:lnTo>
                <a:lnTo>
                  <a:pt x="432" y="80"/>
                </a:lnTo>
                <a:lnTo>
                  <a:pt x="424" y="96"/>
                </a:lnTo>
                <a:lnTo>
                  <a:pt x="440" y="88"/>
                </a:lnTo>
                <a:lnTo>
                  <a:pt x="440" y="104"/>
                </a:lnTo>
                <a:lnTo>
                  <a:pt x="448" y="104"/>
                </a:lnTo>
                <a:lnTo>
                  <a:pt x="432" y="120"/>
                </a:lnTo>
                <a:lnTo>
                  <a:pt x="440" y="120"/>
                </a:lnTo>
                <a:lnTo>
                  <a:pt x="448" y="120"/>
                </a:lnTo>
                <a:lnTo>
                  <a:pt x="480" y="104"/>
                </a:lnTo>
                <a:lnTo>
                  <a:pt x="480" y="96"/>
                </a:lnTo>
                <a:lnTo>
                  <a:pt x="504" y="96"/>
                </a:lnTo>
                <a:lnTo>
                  <a:pt x="504" y="80"/>
                </a:lnTo>
                <a:lnTo>
                  <a:pt x="520" y="72"/>
                </a:lnTo>
                <a:lnTo>
                  <a:pt x="552" y="72"/>
                </a:lnTo>
                <a:lnTo>
                  <a:pt x="568" y="72"/>
                </a:lnTo>
                <a:lnTo>
                  <a:pt x="576" y="32"/>
                </a:lnTo>
                <a:lnTo>
                  <a:pt x="584" y="40"/>
                </a:lnTo>
                <a:lnTo>
                  <a:pt x="592" y="32"/>
                </a:lnTo>
                <a:lnTo>
                  <a:pt x="592" y="40"/>
                </a:lnTo>
                <a:lnTo>
                  <a:pt x="600" y="64"/>
                </a:lnTo>
                <a:lnTo>
                  <a:pt x="608" y="72"/>
                </a:lnTo>
                <a:lnTo>
                  <a:pt x="608" y="72"/>
                </a:lnTo>
                <a:lnTo>
                  <a:pt x="600" y="80"/>
                </a:lnTo>
                <a:lnTo>
                  <a:pt x="584" y="80"/>
                </a:lnTo>
                <a:lnTo>
                  <a:pt x="560" y="112"/>
                </a:lnTo>
                <a:lnTo>
                  <a:pt x="568" y="120"/>
                </a:lnTo>
                <a:lnTo>
                  <a:pt x="568" y="120"/>
                </a:lnTo>
                <a:lnTo>
                  <a:pt x="568" y="128"/>
                </a:lnTo>
                <a:lnTo>
                  <a:pt x="552" y="120"/>
                </a:lnTo>
                <a:lnTo>
                  <a:pt x="536" y="128"/>
                </a:lnTo>
                <a:lnTo>
                  <a:pt x="528" y="136"/>
                </a:lnTo>
                <a:lnTo>
                  <a:pt x="528" y="160"/>
                </a:lnTo>
                <a:lnTo>
                  <a:pt x="520" y="160"/>
                </a:lnTo>
                <a:lnTo>
                  <a:pt x="520" y="160"/>
                </a:lnTo>
                <a:lnTo>
                  <a:pt x="512" y="184"/>
                </a:lnTo>
                <a:lnTo>
                  <a:pt x="512" y="168"/>
                </a:lnTo>
                <a:lnTo>
                  <a:pt x="504" y="160"/>
                </a:lnTo>
                <a:lnTo>
                  <a:pt x="504" y="152"/>
                </a:lnTo>
                <a:lnTo>
                  <a:pt x="496" y="160"/>
                </a:lnTo>
                <a:lnTo>
                  <a:pt x="504" y="184"/>
                </a:lnTo>
                <a:lnTo>
                  <a:pt x="512" y="208"/>
                </a:lnTo>
                <a:lnTo>
                  <a:pt x="504" y="216"/>
                </a:lnTo>
                <a:lnTo>
                  <a:pt x="480" y="232"/>
                </a:lnTo>
                <a:lnTo>
                  <a:pt x="456" y="256"/>
                </a:lnTo>
                <a:lnTo>
                  <a:pt x="448" y="264"/>
                </a:lnTo>
                <a:lnTo>
                  <a:pt x="464" y="312"/>
                </a:lnTo>
                <a:lnTo>
                  <a:pt x="464" y="336"/>
                </a:lnTo>
                <a:lnTo>
                  <a:pt x="456" y="336"/>
                </a:lnTo>
                <a:lnTo>
                  <a:pt x="448" y="328"/>
                </a:lnTo>
                <a:lnTo>
                  <a:pt x="440" y="312"/>
                </a:lnTo>
                <a:lnTo>
                  <a:pt x="440" y="288"/>
                </a:lnTo>
                <a:lnTo>
                  <a:pt x="424" y="272"/>
                </a:lnTo>
                <a:lnTo>
                  <a:pt x="408" y="280"/>
                </a:lnTo>
                <a:lnTo>
                  <a:pt x="408" y="272"/>
                </a:lnTo>
                <a:lnTo>
                  <a:pt x="368" y="272"/>
                </a:lnTo>
                <a:lnTo>
                  <a:pt x="368" y="280"/>
                </a:lnTo>
                <a:lnTo>
                  <a:pt x="368" y="288"/>
                </a:lnTo>
                <a:lnTo>
                  <a:pt x="352" y="288"/>
                </a:lnTo>
                <a:lnTo>
                  <a:pt x="344" y="280"/>
                </a:lnTo>
                <a:lnTo>
                  <a:pt x="328" y="280"/>
                </a:lnTo>
                <a:lnTo>
                  <a:pt x="312" y="288"/>
                </a:lnTo>
                <a:lnTo>
                  <a:pt x="288" y="304"/>
                </a:lnTo>
                <a:lnTo>
                  <a:pt x="288" y="328"/>
                </a:lnTo>
                <a:lnTo>
                  <a:pt x="264" y="320"/>
                </a:lnTo>
                <a:lnTo>
                  <a:pt x="240" y="280"/>
                </a:lnTo>
                <a:lnTo>
                  <a:pt x="232" y="280"/>
                </a:lnTo>
                <a:lnTo>
                  <a:pt x="224" y="288"/>
                </a:lnTo>
                <a:lnTo>
                  <a:pt x="216" y="288"/>
                </a:lnTo>
                <a:lnTo>
                  <a:pt x="208" y="280"/>
                </a:lnTo>
                <a:lnTo>
                  <a:pt x="208" y="264"/>
                </a:lnTo>
                <a:lnTo>
                  <a:pt x="192" y="256"/>
                </a:lnTo>
                <a:lnTo>
                  <a:pt x="136" y="256"/>
                </a:lnTo>
                <a:lnTo>
                  <a:pt x="96" y="248"/>
                </a:lnTo>
                <a:lnTo>
                  <a:pt x="80" y="248"/>
                </a:lnTo>
                <a:lnTo>
                  <a:pt x="72" y="232"/>
                </a:lnTo>
                <a:lnTo>
                  <a:pt x="64" y="232"/>
                </a:lnTo>
                <a:lnTo>
                  <a:pt x="64" y="224"/>
                </a:lnTo>
                <a:lnTo>
                  <a:pt x="40" y="216"/>
                </a:lnTo>
                <a:lnTo>
                  <a:pt x="40" y="208"/>
                </a:lnTo>
                <a:lnTo>
                  <a:pt x="24" y="200"/>
                </a:lnTo>
                <a:lnTo>
                  <a:pt x="24" y="184"/>
                </a:lnTo>
                <a:lnTo>
                  <a:pt x="16" y="184"/>
                </a:lnTo>
                <a:lnTo>
                  <a:pt x="16" y="176"/>
                </a:lnTo>
                <a:lnTo>
                  <a:pt x="24" y="176"/>
                </a:lnTo>
                <a:lnTo>
                  <a:pt x="24" y="168"/>
                </a:lnTo>
                <a:lnTo>
                  <a:pt x="8" y="168"/>
                </a:lnTo>
                <a:lnTo>
                  <a:pt x="16" y="168"/>
                </a:lnTo>
                <a:lnTo>
                  <a:pt x="8" y="160"/>
                </a:lnTo>
                <a:lnTo>
                  <a:pt x="8" y="152"/>
                </a:lnTo>
                <a:lnTo>
                  <a:pt x="0" y="144"/>
                </a:lnTo>
                <a:lnTo>
                  <a:pt x="8" y="120"/>
                </a:lnTo>
                <a:lnTo>
                  <a:pt x="0" y="104"/>
                </a:lnTo>
                <a:lnTo>
                  <a:pt x="8" y="56"/>
                </a:lnTo>
                <a:lnTo>
                  <a:pt x="0" y="24"/>
                </a:lnTo>
                <a:lnTo>
                  <a:pt x="8" y="24"/>
                </a:lnTo>
                <a:lnTo>
                  <a:pt x="8" y="32"/>
                </a:lnTo>
                <a:lnTo>
                  <a:pt x="16" y="32"/>
                </a:lnTo>
                <a:lnTo>
                  <a:pt x="16" y="8"/>
                </a:lnTo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bg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6" name="TextBox 95"/>
          <p:cNvSpPr txBox="1"/>
          <p:nvPr/>
        </p:nvSpPr>
        <p:spPr bwMode="gray">
          <a:xfrm>
            <a:off x="1593076" y="1540733"/>
            <a:ext cx="76783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Bay State Wind</a:t>
            </a:r>
          </a:p>
          <a:p>
            <a:endParaRPr lang="en-GB" sz="800" dirty="0"/>
          </a:p>
        </p:txBody>
      </p:sp>
      <p:pic>
        <p:nvPicPr>
          <p:cNvPr id="97" name="Picture 9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8851" y="1467198"/>
            <a:ext cx="505164" cy="314324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88938" y="1467198"/>
            <a:ext cx="504000" cy="330207"/>
          </a:xfrm>
          <a:prstGeom prst="rect">
            <a:avLst/>
          </a:prstGeom>
        </p:spPr>
      </p:pic>
      <p:sp>
        <p:nvSpPr>
          <p:cNvPr id="99" name="Rounded Rectangle 98"/>
          <p:cNvSpPr/>
          <p:nvPr/>
        </p:nvSpPr>
        <p:spPr bwMode="auto">
          <a:xfrm>
            <a:off x="6593856" y="2848992"/>
            <a:ext cx="1368000" cy="605361"/>
          </a:xfrm>
          <a:prstGeom prst="roundRect">
            <a:avLst/>
          </a:prstGeom>
          <a:solidFill>
            <a:schemeClr val="accent1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629415"/>
              </a:buClr>
              <a:buSzTx/>
              <a:buNone/>
              <a:tabLst/>
            </a:pPr>
            <a:r>
              <a:rPr lang="sv-SE" sz="900" b="1" dirty="0">
                <a:solidFill>
                  <a:schemeClr val="bg1"/>
                </a:solidFill>
                <a:cs typeface="Arial" charset="0"/>
              </a:rPr>
              <a:t>23</a:t>
            </a:r>
            <a:r>
              <a:rPr kumimoji="0" lang="sv-SE" sz="9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cs typeface="Arial" charset="0"/>
              </a:rPr>
              <a:t> offshore</a:t>
            </a:r>
            <a:r>
              <a:rPr kumimoji="0" lang="sv-SE" sz="900" b="1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cs typeface="Arial" charset="0"/>
              </a:rPr>
              <a:t> wind farms       in operation</a:t>
            </a:r>
            <a:endParaRPr kumimoji="0" lang="en-US" sz="9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cs typeface="Arial" charset="0"/>
            </a:endParaRPr>
          </a:p>
        </p:txBody>
      </p:sp>
      <p:sp>
        <p:nvSpPr>
          <p:cNvPr id="100" name="Rounded Rectangle 99"/>
          <p:cNvSpPr/>
          <p:nvPr/>
        </p:nvSpPr>
        <p:spPr bwMode="auto">
          <a:xfrm>
            <a:off x="8035687" y="2848992"/>
            <a:ext cx="1368000" cy="605361"/>
          </a:xfrm>
          <a:prstGeom prst="roundRect">
            <a:avLst/>
          </a:prstGeom>
          <a:solidFill>
            <a:schemeClr val="accent2"/>
          </a:solidFill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30000"/>
              </a:spcBef>
              <a:buClr>
                <a:srgbClr val="629415"/>
              </a:buClr>
            </a:pPr>
            <a:r>
              <a:rPr lang="sv-SE" sz="900" b="1" dirty="0">
                <a:solidFill>
                  <a:schemeClr val="bg1"/>
                </a:solidFill>
              </a:rPr>
              <a:t>5 offshore wind farms under construction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01" name="Oval 100"/>
          <p:cNvSpPr>
            <a:spLocks noChangeAspect="1"/>
          </p:cNvSpPr>
          <p:nvPr/>
        </p:nvSpPr>
        <p:spPr bwMode="auto">
          <a:xfrm>
            <a:off x="8554800" y="4872823"/>
            <a:ext cx="856235" cy="918000"/>
          </a:xfrm>
          <a:prstGeom prst="ellipse">
            <a:avLst/>
          </a:prstGeom>
          <a:noFill/>
          <a:ln w="1905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30000"/>
              </a:spcBef>
              <a:buClr>
                <a:srgbClr val="629415"/>
              </a:buClr>
            </a:pPr>
            <a:r>
              <a:rPr lang="sv-SE" sz="900" b="1" dirty="0">
                <a:solidFill>
                  <a:srgbClr val="002060"/>
                </a:solidFill>
              </a:rPr>
              <a:t>16 </a:t>
            </a:r>
            <a:r>
              <a:rPr lang="sv-SE" sz="800" dirty="0">
                <a:solidFill>
                  <a:srgbClr val="002060"/>
                </a:solidFill>
              </a:rPr>
              <a:t>Partnerships</a:t>
            </a:r>
          </a:p>
          <a:p>
            <a:pPr algn="ctr">
              <a:lnSpc>
                <a:spcPct val="110000"/>
              </a:lnSpc>
              <a:spcBef>
                <a:spcPct val="30000"/>
              </a:spcBef>
              <a:buClr>
                <a:srgbClr val="629415"/>
              </a:buClr>
            </a:pPr>
            <a:endParaRPr lang="en-US" sz="800" dirty="0">
              <a:solidFill>
                <a:schemeClr val="accent4"/>
              </a:solidFill>
            </a:endParaRPr>
          </a:p>
        </p:txBody>
      </p:sp>
      <p:grpSp>
        <p:nvGrpSpPr>
          <p:cNvPr id="102" name="Group 101"/>
          <p:cNvGrpSpPr/>
          <p:nvPr/>
        </p:nvGrpSpPr>
        <p:grpSpPr>
          <a:xfrm>
            <a:off x="6512945" y="1902518"/>
            <a:ext cx="2909222" cy="604800"/>
            <a:chOff x="6448937" y="1902518"/>
            <a:chExt cx="2909222" cy="604800"/>
          </a:xfrm>
        </p:grpSpPr>
        <p:sp>
          <p:nvSpPr>
            <p:cNvPr id="103" name="Pentagon 102"/>
            <p:cNvSpPr/>
            <p:nvPr/>
          </p:nvSpPr>
          <p:spPr bwMode="auto">
            <a:xfrm>
              <a:off x="6850946" y="1902518"/>
              <a:ext cx="2079876" cy="604800"/>
            </a:xfrm>
            <a:prstGeom prst="homePlate">
              <a:avLst>
                <a:gd name="adj" fmla="val 34018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12700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6000" rIns="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110000"/>
                </a:lnSpc>
                <a:spcBef>
                  <a:spcPct val="30000"/>
                </a:spcBef>
              </a:pPr>
              <a:r>
                <a:rPr lang="en-GB" sz="900" dirty="0"/>
                <a:t>25+ years of experience                   and track record</a:t>
              </a:r>
              <a:r>
                <a:rPr lang="en-GB" sz="900" dirty="0">
                  <a:solidFill>
                    <a:srgbClr val="FF0000"/>
                  </a:solidFill>
                </a:rPr>
                <a:t> </a:t>
              </a:r>
              <a:r>
                <a:rPr lang="en-GB" sz="900" dirty="0"/>
                <a:t>in the                                 offshore wind power sector</a:t>
              </a:r>
            </a:p>
          </p:txBody>
        </p:sp>
        <p:sp>
          <p:nvSpPr>
            <p:cNvPr id="104" name="Oval 103"/>
            <p:cNvSpPr>
              <a:spLocks noChangeAspect="1"/>
            </p:cNvSpPr>
            <p:nvPr/>
          </p:nvSpPr>
          <p:spPr bwMode="auto">
            <a:xfrm>
              <a:off x="6448937" y="2008353"/>
              <a:ext cx="359433" cy="397800"/>
            </a:xfrm>
            <a:prstGeom prst="ellipse">
              <a:avLst/>
            </a:prstGeom>
            <a:solidFill>
              <a:srgbClr val="183A5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6000" rIns="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110000"/>
                </a:lnSpc>
                <a:spcBef>
                  <a:spcPct val="30000"/>
                </a:spcBef>
                <a:buNone/>
              </a:pPr>
              <a:r>
                <a:rPr lang="en-GB" sz="800" b="1" dirty="0">
                  <a:solidFill>
                    <a:srgbClr val="FFFFFF"/>
                  </a:solidFill>
                </a:rPr>
                <a:t>1991</a:t>
              </a:r>
            </a:p>
          </p:txBody>
        </p:sp>
        <p:sp>
          <p:nvSpPr>
            <p:cNvPr id="105" name="Oval 104"/>
            <p:cNvSpPr>
              <a:spLocks/>
            </p:cNvSpPr>
            <p:nvPr/>
          </p:nvSpPr>
          <p:spPr bwMode="auto">
            <a:xfrm>
              <a:off x="8998159" y="2008353"/>
              <a:ext cx="360000" cy="400993"/>
            </a:xfrm>
            <a:prstGeom prst="ellipse">
              <a:avLst/>
            </a:prstGeom>
            <a:solidFill>
              <a:srgbClr val="183A5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36000" rIns="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110000"/>
                </a:lnSpc>
                <a:spcBef>
                  <a:spcPct val="30000"/>
                </a:spcBef>
                <a:buNone/>
              </a:pPr>
              <a:r>
                <a:rPr lang="en-GB" sz="800" b="1" dirty="0">
                  <a:solidFill>
                    <a:srgbClr val="FFFFFF"/>
                  </a:solidFill>
                </a:rPr>
                <a:t>2018</a:t>
              </a:r>
            </a:p>
          </p:txBody>
        </p:sp>
      </p:grpSp>
      <p:sp>
        <p:nvSpPr>
          <p:cNvPr id="108" name="Oval 107"/>
          <p:cNvSpPr>
            <a:spLocks noChangeAspect="1"/>
          </p:cNvSpPr>
          <p:nvPr/>
        </p:nvSpPr>
        <p:spPr bwMode="auto">
          <a:xfrm>
            <a:off x="8554800" y="3861048"/>
            <a:ext cx="856235" cy="918000"/>
          </a:xfrm>
          <a:prstGeom prst="ellipse">
            <a:avLst/>
          </a:prstGeom>
          <a:noFill/>
          <a:ln w="190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1" fontAlgn="base" latinLnBrk="0" hangingPunct="1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629415"/>
              </a:buClr>
              <a:buSzTx/>
              <a:buNone/>
              <a:tabLst/>
            </a:pPr>
            <a:r>
              <a:rPr lang="sv-SE" sz="900" b="1" dirty="0">
                <a:solidFill>
                  <a:schemeClr val="accent2"/>
                </a:solidFill>
                <a:cs typeface="Arial" charset="0"/>
              </a:rPr>
              <a:t>4.5</a:t>
            </a:r>
            <a:r>
              <a:rPr kumimoji="0" lang="sv-SE" sz="900" b="1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cs typeface="Arial" charset="0"/>
              </a:rPr>
              <a:t> </a:t>
            </a:r>
            <a:r>
              <a:rPr lang="sv-SE" sz="900" b="1" dirty="0">
                <a:solidFill>
                  <a:schemeClr val="accent2"/>
                </a:solidFill>
                <a:cs typeface="Arial" charset="0"/>
              </a:rPr>
              <a:t>GW</a:t>
            </a:r>
            <a:r>
              <a:rPr kumimoji="0" lang="sv-SE" sz="900" b="1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cs typeface="Arial" charset="0"/>
              </a:rPr>
              <a:t> </a:t>
            </a:r>
            <a:r>
              <a:rPr kumimoji="0" lang="sv-SE" sz="80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cs typeface="Arial" charset="0"/>
              </a:rPr>
              <a:t>under construction</a:t>
            </a:r>
            <a:endParaRPr kumimoji="0" lang="en-US" sz="80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cs typeface="Arial" charset="0"/>
            </a:endParaRPr>
          </a:p>
        </p:txBody>
      </p:sp>
      <p:sp>
        <p:nvSpPr>
          <p:cNvPr id="109" name="Oval 108"/>
          <p:cNvSpPr>
            <a:spLocks noChangeAspect="1"/>
          </p:cNvSpPr>
          <p:nvPr/>
        </p:nvSpPr>
        <p:spPr bwMode="auto">
          <a:xfrm>
            <a:off x="7577938" y="3861048"/>
            <a:ext cx="856235" cy="918000"/>
          </a:xfrm>
          <a:prstGeom prst="ellips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30000"/>
              </a:spcBef>
              <a:buClr>
                <a:srgbClr val="629415"/>
              </a:buClr>
            </a:pPr>
            <a:r>
              <a:rPr lang="en-GB" sz="900" b="1" dirty="0">
                <a:solidFill>
                  <a:srgbClr val="4A4C46"/>
                </a:solidFill>
              </a:rPr>
              <a:t>~ </a:t>
            </a:r>
            <a:r>
              <a:rPr lang="sv-SE" sz="900" b="1" dirty="0">
                <a:solidFill>
                  <a:srgbClr val="4A4C46"/>
                </a:solidFill>
              </a:rPr>
              <a:t>2,300 </a:t>
            </a:r>
            <a:r>
              <a:rPr lang="en-GB" sz="800" dirty="0">
                <a:solidFill>
                  <a:srgbClr val="4A4C46"/>
                </a:solidFill>
              </a:rPr>
              <a:t>Dedicated employees</a:t>
            </a:r>
          </a:p>
        </p:txBody>
      </p:sp>
      <p:sp>
        <p:nvSpPr>
          <p:cNvPr id="110" name="Oval 109"/>
          <p:cNvSpPr>
            <a:spLocks noChangeAspect="1"/>
          </p:cNvSpPr>
          <p:nvPr/>
        </p:nvSpPr>
        <p:spPr bwMode="auto">
          <a:xfrm>
            <a:off x="6593856" y="3861048"/>
            <a:ext cx="856235" cy="918000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30000"/>
              </a:spcBef>
              <a:buClr>
                <a:srgbClr val="629415"/>
              </a:buClr>
            </a:pPr>
            <a:r>
              <a:rPr lang="sv-SE" sz="900" b="1" dirty="0">
                <a:solidFill>
                  <a:srgbClr val="0070C0"/>
                </a:solidFill>
              </a:rPr>
              <a:t>4.4 GW </a:t>
            </a:r>
            <a:r>
              <a:rPr lang="en-GB" sz="800" dirty="0">
                <a:solidFill>
                  <a:srgbClr val="0070C0"/>
                </a:solidFill>
              </a:rPr>
              <a:t>Constructed capacity</a:t>
            </a:r>
          </a:p>
        </p:txBody>
      </p:sp>
      <p:sp>
        <p:nvSpPr>
          <p:cNvPr id="111" name="Oval 110"/>
          <p:cNvSpPr>
            <a:spLocks noChangeAspect="1"/>
          </p:cNvSpPr>
          <p:nvPr/>
        </p:nvSpPr>
        <p:spPr bwMode="auto">
          <a:xfrm>
            <a:off x="6593856" y="4872823"/>
            <a:ext cx="856235" cy="918000"/>
          </a:xfrm>
          <a:prstGeom prst="ellipse">
            <a:avLst/>
          </a:prstGeom>
          <a:noFill/>
          <a:ln w="19050" cap="flat" cmpd="sng" algn="ctr">
            <a:solidFill>
              <a:srgbClr val="0F96A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lnSpc>
                <a:spcPct val="110000"/>
              </a:lnSpc>
              <a:spcBef>
                <a:spcPct val="30000"/>
              </a:spcBef>
              <a:spcAft>
                <a:spcPct val="0"/>
              </a:spcAft>
              <a:buClr>
                <a:srgbClr val="629415"/>
              </a:buClr>
            </a:pPr>
            <a:r>
              <a:rPr lang="en-GB" sz="900" b="1" dirty="0">
                <a:solidFill>
                  <a:srgbClr val="0F96AA"/>
                </a:solidFill>
                <a:cs typeface="Arial" charset="0"/>
              </a:rPr>
              <a:t>8.8 million </a:t>
            </a:r>
            <a:br>
              <a:rPr lang="en-GB" sz="900" dirty="0">
                <a:solidFill>
                  <a:srgbClr val="0F96AA"/>
                </a:solidFill>
                <a:cs typeface="Arial" charset="0"/>
              </a:rPr>
            </a:br>
            <a:r>
              <a:rPr lang="en-GB" sz="900" dirty="0">
                <a:solidFill>
                  <a:srgbClr val="0F96AA"/>
                </a:solidFill>
                <a:cs typeface="Arial" charset="0"/>
              </a:rPr>
              <a:t>people with clean electricity</a:t>
            </a:r>
          </a:p>
        </p:txBody>
      </p:sp>
      <p:sp>
        <p:nvSpPr>
          <p:cNvPr id="112" name="Oval 111"/>
          <p:cNvSpPr>
            <a:spLocks noChangeAspect="1"/>
          </p:cNvSpPr>
          <p:nvPr/>
        </p:nvSpPr>
        <p:spPr bwMode="auto">
          <a:xfrm>
            <a:off x="7577938" y="4872823"/>
            <a:ext cx="856235" cy="918000"/>
          </a:xfrm>
          <a:prstGeom prst="ellipse">
            <a:avLst/>
          </a:prstGeom>
          <a:noFill/>
          <a:ln w="19050" cap="flat" cmpd="sng" algn="ctr">
            <a:solidFill>
              <a:srgbClr val="183A5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6000" rIns="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0000"/>
              </a:lnSpc>
              <a:spcBef>
                <a:spcPct val="30000"/>
              </a:spcBef>
              <a:buClr>
                <a:srgbClr val="629415"/>
              </a:buClr>
            </a:pPr>
            <a:r>
              <a:rPr lang="en-US" sz="900" b="1" dirty="0">
                <a:solidFill>
                  <a:srgbClr val="183A5C"/>
                </a:solidFill>
              </a:rPr>
              <a:t>4.1 GW</a:t>
            </a:r>
            <a:endParaRPr lang="sv-SE" sz="900" b="1" dirty="0">
              <a:solidFill>
                <a:srgbClr val="183A5C"/>
              </a:solidFill>
            </a:endParaRPr>
          </a:p>
          <a:p>
            <a:pPr algn="ctr">
              <a:lnSpc>
                <a:spcPct val="110000"/>
              </a:lnSpc>
              <a:spcBef>
                <a:spcPct val="30000"/>
              </a:spcBef>
              <a:buClr>
                <a:srgbClr val="629415"/>
              </a:buClr>
            </a:pPr>
            <a:r>
              <a:rPr lang="en-US" sz="800" dirty="0">
                <a:solidFill>
                  <a:srgbClr val="183A5C"/>
                </a:solidFill>
              </a:rPr>
              <a:t>World's leading operator</a:t>
            </a:r>
          </a:p>
        </p:txBody>
      </p:sp>
      <p:sp>
        <p:nvSpPr>
          <p:cNvPr id="118" name="TextBox 117"/>
          <p:cNvSpPr txBox="1"/>
          <p:nvPr/>
        </p:nvSpPr>
        <p:spPr bwMode="gray">
          <a:xfrm>
            <a:off x="1631108" y="2098770"/>
            <a:ext cx="77745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Coastal Virginia</a:t>
            </a:r>
          </a:p>
        </p:txBody>
      </p:sp>
      <p:sp>
        <p:nvSpPr>
          <p:cNvPr id="120" name="TextBox 119"/>
          <p:cNvSpPr txBox="1"/>
          <p:nvPr/>
        </p:nvSpPr>
        <p:spPr bwMode="gray">
          <a:xfrm>
            <a:off x="5760452" y="3426547"/>
            <a:ext cx="41998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Avedøre</a:t>
            </a:r>
          </a:p>
        </p:txBody>
      </p:sp>
      <p:sp>
        <p:nvSpPr>
          <p:cNvPr id="122" name="Rectangle 121"/>
          <p:cNvSpPr/>
          <p:nvPr/>
        </p:nvSpPr>
        <p:spPr bwMode="auto">
          <a:xfrm>
            <a:off x="4049025" y="1339963"/>
            <a:ext cx="2272127" cy="1214306"/>
          </a:xfrm>
          <a:prstGeom prst="rect">
            <a:avLst/>
          </a:prstGeom>
          <a:noFill/>
          <a:ln w="635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>
              <a:spcBef>
                <a:spcPts val="300"/>
              </a:spcBef>
              <a:spcAft>
                <a:spcPts val="300"/>
              </a:spcAft>
              <a:buSzPct val="80000"/>
            </a:pPr>
            <a:endParaRPr lang="en-GB" sz="1000" b="1" dirty="0"/>
          </a:p>
        </p:txBody>
      </p:sp>
      <p:grpSp>
        <p:nvGrpSpPr>
          <p:cNvPr id="123" name="Group 122"/>
          <p:cNvGrpSpPr/>
          <p:nvPr/>
        </p:nvGrpSpPr>
        <p:grpSpPr>
          <a:xfrm>
            <a:off x="5801057" y="1467198"/>
            <a:ext cx="441387" cy="280204"/>
            <a:chOff x="5857328" y="1499342"/>
            <a:chExt cx="441387" cy="28020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4" name="AutoShape 3"/>
            <p:cNvSpPr>
              <a:spLocks noChangeAspect="1" noChangeArrowheads="1" noTextEdit="1"/>
            </p:cNvSpPr>
            <p:nvPr/>
          </p:nvSpPr>
          <p:spPr bwMode="auto">
            <a:xfrm>
              <a:off x="5857328" y="1502801"/>
              <a:ext cx="441387" cy="2767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Rectangle 5"/>
            <p:cNvSpPr>
              <a:spLocks noChangeArrowheads="1"/>
            </p:cNvSpPr>
            <p:nvPr/>
          </p:nvSpPr>
          <p:spPr bwMode="auto">
            <a:xfrm>
              <a:off x="5857328" y="1499342"/>
              <a:ext cx="441387" cy="280204"/>
            </a:xfrm>
            <a:prstGeom prst="rect">
              <a:avLst/>
            </a:prstGeom>
            <a:solidFill>
              <a:srgbClr val="C633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6" name="Rectangle 6"/>
            <p:cNvSpPr>
              <a:spLocks noChangeArrowheads="1"/>
            </p:cNvSpPr>
            <p:nvPr/>
          </p:nvSpPr>
          <p:spPr bwMode="auto">
            <a:xfrm>
              <a:off x="5857328" y="1502801"/>
              <a:ext cx="236252" cy="138372"/>
            </a:xfrm>
            <a:prstGeom prst="rect">
              <a:avLst/>
            </a:prstGeom>
            <a:solidFill>
              <a:srgbClr val="3036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7" name="Freeform 7"/>
            <p:cNvSpPr>
              <a:spLocks noEditPoints="1"/>
            </p:cNvSpPr>
            <p:nvPr/>
          </p:nvSpPr>
          <p:spPr bwMode="auto">
            <a:xfrm>
              <a:off x="5916103" y="1516639"/>
              <a:ext cx="117550" cy="110698"/>
            </a:xfrm>
            <a:custGeom>
              <a:avLst/>
              <a:gdLst>
                <a:gd name="T0" fmla="*/ 179 w 306"/>
                <a:gd name="T1" fmla="*/ 68 h 289"/>
                <a:gd name="T2" fmla="*/ 204 w 306"/>
                <a:gd name="T3" fmla="*/ 79 h 289"/>
                <a:gd name="T4" fmla="*/ 126 w 306"/>
                <a:gd name="T5" fmla="*/ 68 h 289"/>
                <a:gd name="T6" fmla="*/ 94 w 306"/>
                <a:gd name="T7" fmla="*/ 85 h 289"/>
                <a:gd name="T8" fmla="*/ 117 w 306"/>
                <a:gd name="T9" fmla="*/ 70 h 289"/>
                <a:gd name="T10" fmla="*/ 171 w 306"/>
                <a:gd name="T11" fmla="*/ 65 h 289"/>
                <a:gd name="T12" fmla="*/ 134 w 306"/>
                <a:gd name="T13" fmla="*/ 65 h 289"/>
                <a:gd name="T14" fmla="*/ 152 w 306"/>
                <a:gd name="T15" fmla="*/ 62 h 289"/>
                <a:gd name="T16" fmla="*/ 171 w 306"/>
                <a:gd name="T17" fmla="*/ 65 h 289"/>
                <a:gd name="T18" fmla="*/ 145 w 306"/>
                <a:gd name="T19" fmla="*/ 70 h 289"/>
                <a:gd name="T20" fmla="*/ 121 w 306"/>
                <a:gd name="T21" fmla="*/ 76 h 289"/>
                <a:gd name="T22" fmla="*/ 95 w 306"/>
                <a:gd name="T23" fmla="*/ 92 h 289"/>
                <a:gd name="T24" fmla="*/ 79 w 306"/>
                <a:gd name="T25" fmla="*/ 115 h 289"/>
                <a:gd name="T26" fmla="*/ 73 w 306"/>
                <a:gd name="T27" fmla="*/ 137 h 289"/>
                <a:gd name="T28" fmla="*/ 73 w 306"/>
                <a:gd name="T29" fmla="*/ 153 h 289"/>
                <a:gd name="T30" fmla="*/ 79 w 306"/>
                <a:gd name="T31" fmla="*/ 174 h 289"/>
                <a:gd name="T32" fmla="*/ 95 w 306"/>
                <a:gd name="T33" fmla="*/ 198 h 289"/>
                <a:gd name="T34" fmla="*/ 121 w 306"/>
                <a:gd name="T35" fmla="*/ 214 h 289"/>
                <a:gd name="T36" fmla="*/ 145 w 306"/>
                <a:gd name="T37" fmla="*/ 220 h 289"/>
                <a:gd name="T38" fmla="*/ 161 w 306"/>
                <a:gd name="T39" fmla="*/ 220 h 289"/>
                <a:gd name="T40" fmla="*/ 183 w 306"/>
                <a:gd name="T41" fmla="*/ 214 h 289"/>
                <a:gd name="T42" fmla="*/ 209 w 306"/>
                <a:gd name="T43" fmla="*/ 198 h 289"/>
                <a:gd name="T44" fmla="*/ 227 w 306"/>
                <a:gd name="T45" fmla="*/ 174 h 289"/>
                <a:gd name="T46" fmla="*/ 233 w 306"/>
                <a:gd name="T47" fmla="*/ 153 h 289"/>
                <a:gd name="T48" fmla="*/ 233 w 306"/>
                <a:gd name="T49" fmla="*/ 137 h 289"/>
                <a:gd name="T50" fmla="*/ 227 w 306"/>
                <a:gd name="T51" fmla="*/ 115 h 289"/>
                <a:gd name="T52" fmla="*/ 209 w 306"/>
                <a:gd name="T53" fmla="*/ 92 h 289"/>
                <a:gd name="T54" fmla="*/ 183 w 306"/>
                <a:gd name="T55" fmla="*/ 76 h 289"/>
                <a:gd name="T56" fmla="*/ 161 w 306"/>
                <a:gd name="T57" fmla="*/ 70 h 289"/>
                <a:gd name="T58" fmla="*/ 306 w 306"/>
                <a:gd name="T59" fmla="*/ 144 h 289"/>
                <a:gd name="T60" fmla="*/ 239 w 306"/>
                <a:gd name="T61" fmla="*/ 136 h 289"/>
                <a:gd name="T62" fmla="*/ 239 w 306"/>
                <a:gd name="T63" fmla="*/ 154 h 289"/>
                <a:gd name="T64" fmla="*/ 235 w 306"/>
                <a:gd name="T65" fmla="*/ 120 h 289"/>
                <a:gd name="T66" fmla="*/ 217 w 306"/>
                <a:gd name="T67" fmla="*/ 90 h 289"/>
                <a:gd name="T68" fmla="*/ 235 w 306"/>
                <a:gd name="T69" fmla="*/ 120 h 289"/>
                <a:gd name="T70" fmla="*/ 20 w 306"/>
                <a:gd name="T71" fmla="*/ 217 h 289"/>
                <a:gd name="T72" fmla="*/ 83 w 306"/>
                <a:gd name="T73" fmla="*/ 193 h 289"/>
                <a:gd name="T74" fmla="*/ 70 w 306"/>
                <a:gd name="T75" fmla="*/ 170 h 289"/>
                <a:gd name="T76" fmla="*/ 229 w 306"/>
                <a:gd name="T77" fmla="*/ 270 h 289"/>
                <a:gd name="T78" fmla="*/ 204 w 306"/>
                <a:gd name="T79" fmla="*/ 211 h 289"/>
                <a:gd name="T80" fmla="*/ 179 w 306"/>
                <a:gd name="T81" fmla="*/ 222 h 289"/>
                <a:gd name="T82" fmla="*/ 286 w 306"/>
                <a:gd name="T83" fmla="*/ 217 h 289"/>
                <a:gd name="T84" fmla="*/ 231 w 306"/>
                <a:gd name="T85" fmla="*/ 178 h 289"/>
                <a:gd name="T86" fmla="*/ 217 w 306"/>
                <a:gd name="T87" fmla="*/ 200 h 289"/>
                <a:gd name="T88" fmla="*/ 152 w 306"/>
                <a:gd name="T89" fmla="*/ 289 h 289"/>
                <a:gd name="T90" fmla="*/ 162 w 306"/>
                <a:gd name="T91" fmla="*/ 226 h 289"/>
                <a:gd name="T92" fmla="*/ 143 w 306"/>
                <a:gd name="T93" fmla="*/ 226 h 289"/>
                <a:gd name="T94" fmla="*/ 88 w 306"/>
                <a:gd name="T95" fmla="*/ 90 h 289"/>
                <a:gd name="T96" fmla="*/ 70 w 306"/>
                <a:gd name="T97" fmla="*/ 120 h 289"/>
                <a:gd name="T98" fmla="*/ 83 w 306"/>
                <a:gd name="T99" fmla="*/ 97 h 289"/>
                <a:gd name="T100" fmla="*/ 65 w 306"/>
                <a:gd name="T101" fmla="*/ 144 h 289"/>
                <a:gd name="T102" fmla="*/ 68 w 306"/>
                <a:gd name="T103" fmla="*/ 127 h 289"/>
                <a:gd name="T104" fmla="*/ 68 w 306"/>
                <a:gd name="T105" fmla="*/ 162 h 289"/>
                <a:gd name="T106" fmla="*/ 65 w 306"/>
                <a:gd name="T107" fmla="*/ 144 h 289"/>
                <a:gd name="T108" fmla="*/ 126 w 306"/>
                <a:gd name="T109" fmla="*/ 222 h 289"/>
                <a:gd name="T110" fmla="*/ 101 w 306"/>
                <a:gd name="T111" fmla="*/ 211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6" h="289">
                  <a:moveTo>
                    <a:pt x="229" y="20"/>
                  </a:moveTo>
                  <a:lnTo>
                    <a:pt x="179" y="68"/>
                  </a:lnTo>
                  <a:lnTo>
                    <a:pt x="179" y="68"/>
                  </a:lnTo>
                  <a:lnTo>
                    <a:pt x="188" y="70"/>
                  </a:lnTo>
                  <a:lnTo>
                    <a:pt x="197" y="75"/>
                  </a:lnTo>
                  <a:lnTo>
                    <a:pt x="204" y="79"/>
                  </a:lnTo>
                  <a:lnTo>
                    <a:pt x="212" y="85"/>
                  </a:lnTo>
                  <a:lnTo>
                    <a:pt x="229" y="20"/>
                  </a:lnTo>
                  <a:close/>
                  <a:moveTo>
                    <a:pt x="126" y="68"/>
                  </a:moveTo>
                  <a:lnTo>
                    <a:pt x="77" y="20"/>
                  </a:lnTo>
                  <a:lnTo>
                    <a:pt x="94" y="85"/>
                  </a:lnTo>
                  <a:lnTo>
                    <a:pt x="94" y="85"/>
                  </a:lnTo>
                  <a:lnTo>
                    <a:pt x="101" y="79"/>
                  </a:lnTo>
                  <a:lnTo>
                    <a:pt x="109" y="75"/>
                  </a:lnTo>
                  <a:lnTo>
                    <a:pt x="117" y="70"/>
                  </a:lnTo>
                  <a:lnTo>
                    <a:pt x="126" y="68"/>
                  </a:lnTo>
                  <a:lnTo>
                    <a:pt x="126" y="68"/>
                  </a:lnTo>
                  <a:close/>
                  <a:moveTo>
                    <a:pt x="171" y="65"/>
                  </a:moveTo>
                  <a:lnTo>
                    <a:pt x="152" y="0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43" y="63"/>
                  </a:lnTo>
                  <a:lnTo>
                    <a:pt x="152" y="62"/>
                  </a:lnTo>
                  <a:lnTo>
                    <a:pt x="152" y="62"/>
                  </a:lnTo>
                  <a:lnTo>
                    <a:pt x="162" y="63"/>
                  </a:lnTo>
                  <a:lnTo>
                    <a:pt x="171" y="65"/>
                  </a:lnTo>
                  <a:lnTo>
                    <a:pt x="171" y="65"/>
                  </a:lnTo>
                  <a:close/>
                  <a:moveTo>
                    <a:pt x="152" y="70"/>
                  </a:moveTo>
                  <a:lnTo>
                    <a:pt x="152" y="70"/>
                  </a:lnTo>
                  <a:lnTo>
                    <a:pt x="145" y="70"/>
                  </a:lnTo>
                  <a:lnTo>
                    <a:pt x="136" y="71"/>
                  </a:lnTo>
                  <a:lnTo>
                    <a:pt x="129" y="73"/>
                  </a:lnTo>
                  <a:lnTo>
                    <a:pt x="121" y="76"/>
                  </a:lnTo>
                  <a:lnTo>
                    <a:pt x="114" y="79"/>
                  </a:lnTo>
                  <a:lnTo>
                    <a:pt x="108" y="83"/>
                  </a:lnTo>
                  <a:lnTo>
                    <a:pt x="95" y="92"/>
                  </a:lnTo>
                  <a:lnTo>
                    <a:pt x="86" y="102"/>
                  </a:lnTo>
                  <a:lnTo>
                    <a:pt x="82" y="108"/>
                  </a:lnTo>
                  <a:lnTo>
                    <a:pt x="79" y="115"/>
                  </a:lnTo>
                  <a:lnTo>
                    <a:pt x="77" y="122"/>
                  </a:lnTo>
                  <a:lnTo>
                    <a:pt x="74" y="129"/>
                  </a:lnTo>
                  <a:lnTo>
                    <a:pt x="73" y="137"/>
                  </a:lnTo>
                  <a:lnTo>
                    <a:pt x="73" y="144"/>
                  </a:lnTo>
                  <a:lnTo>
                    <a:pt x="73" y="144"/>
                  </a:lnTo>
                  <a:lnTo>
                    <a:pt x="73" y="153"/>
                  </a:lnTo>
                  <a:lnTo>
                    <a:pt x="74" y="160"/>
                  </a:lnTo>
                  <a:lnTo>
                    <a:pt x="77" y="167"/>
                  </a:lnTo>
                  <a:lnTo>
                    <a:pt x="79" y="174"/>
                  </a:lnTo>
                  <a:lnTo>
                    <a:pt x="82" y="181"/>
                  </a:lnTo>
                  <a:lnTo>
                    <a:pt x="86" y="188"/>
                  </a:lnTo>
                  <a:lnTo>
                    <a:pt x="95" y="198"/>
                  </a:lnTo>
                  <a:lnTo>
                    <a:pt x="108" y="207"/>
                  </a:lnTo>
                  <a:lnTo>
                    <a:pt x="114" y="212"/>
                  </a:lnTo>
                  <a:lnTo>
                    <a:pt x="121" y="214"/>
                  </a:lnTo>
                  <a:lnTo>
                    <a:pt x="129" y="217"/>
                  </a:lnTo>
                  <a:lnTo>
                    <a:pt x="136" y="219"/>
                  </a:lnTo>
                  <a:lnTo>
                    <a:pt x="145" y="220"/>
                  </a:lnTo>
                  <a:lnTo>
                    <a:pt x="152" y="220"/>
                  </a:lnTo>
                  <a:lnTo>
                    <a:pt x="152" y="220"/>
                  </a:lnTo>
                  <a:lnTo>
                    <a:pt x="161" y="220"/>
                  </a:lnTo>
                  <a:lnTo>
                    <a:pt x="168" y="219"/>
                  </a:lnTo>
                  <a:lnTo>
                    <a:pt x="176" y="217"/>
                  </a:lnTo>
                  <a:lnTo>
                    <a:pt x="183" y="214"/>
                  </a:lnTo>
                  <a:lnTo>
                    <a:pt x="191" y="212"/>
                  </a:lnTo>
                  <a:lnTo>
                    <a:pt x="197" y="207"/>
                  </a:lnTo>
                  <a:lnTo>
                    <a:pt x="209" y="198"/>
                  </a:lnTo>
                  <a:lnTo>
                    <a:pt x="219" y="188"/>
                  </a:lnTo>
                  <a:lnTo>
                    <a:pt x="223" y="181"/>
                  </a:lnTo>
                  <a:lnTo>
                    <a:pt x="227" y="174"/>
                  </a:lnTo>
                  <a:lnTo>
                    <a:pt x="229" y="167"/>
                  </a:lnTo>
                  <a:lnTo>
                    <a:pt x="231" y="160"/>
                  </a:lnTo>
                  <a:lnTo>
                    <a:pt x="233" y="153"/>
                  </a:lnTo>
                  <a:lnTo>
                    <a:pt x="233" y="144"/>
                  </a:lnTo>
                  <a:lnTo>
                    <a:pt x="233" y="144"/>
                  </a:lnTo>
                  <a:lnTo>
                    <a:pt x="233" y="137"/>
                  </a:lnTo>
                  <a:lnTo>
                    <a:pt x="231" y="129"/>
                  </a:lnTo>
                  <a:lnTo>
                    <a:pt x="229" y="122"/>
                  </a:lnTo>
                  <a:lnTo>
                    <a:pt x="227" y="115"/>
                  </a:lnTo>
                  <a:lnTo>
                    <a:pt x="223" y="108"/>
                  </a:lnTo>
                  <a:lnTo>
                    <a:pt x="219" y="102"/>
                  </a:lnTo>
                  <a:lnTo>
                    <a:pt x="209" y="92"/>
                  </a:lnTo>
                  <a:lnTo>
                    <a:pt x="197" y="83"/>
                  </a:lnTo>
                  <a:lnTo>
                    <a:pt x="191" y="79"/>
                  </a:lnTo>
                  <a:lnTo>
                    <a:pt x="183" y="76"/>
                  </a:lnTo>
                  <a:lnTo>
                    <a:pt x="176" y="73"/>
                  </a:lnTo>
                  <a:lnTo>
                    <a:pt x="168" y="71"/>
                  </a:lnTo>
                  <a:lnTo>
                    <a:pt x="161" y="70"/>
                  </a:lnTo>
                  <a:lnTo>
                    <a:pt x="152" y="70"/>
                  </a:lnTo>
                  <a:lnTo>
                    <a:pt x="152" y="70"/>
                  </a:lnTo>
                  <a:close/>
                  <a:moveTo>
                    <a:pt x="306" y="144"/>
                  </a:moveTo>
                  <a:lnTo>
                    <a:pt x="238" y="127"/>
                  </a:lnTo>
                  <a:lnTo>
                    <a:pt x="238" y="127"/>
                  </a:lnTo>
                  <a:lnTo>
                    <a:pt x="239" y="136"/>
                  </a:lnTo>
                  <a:lnTo>
                    <a:pt x="240" y="144"/>
                  </a:lnTo>
                  <a:lnTo>
                    <a:pt x="240" y="144"/>
                  </a:lnTo>
                  <a:lnTo>
                    <a:pt x="239" y="154"/>
                  </a:lnTo>
                  <a:lnTo>
                    <a:pt x="238" y="162"/>
                  </a:lnTo>
                  <a:lnTo>
                    <a:pt x="306" y="144"/>
                  </a:lnTo>
                  <a:close/>
                  <a:moveTo>
                    <a:pt x="235" y="120"/>
                  </a:moveTo>
                  <a:lnTo>
                    <a:pt x="286" y="72"/>
                  </a:lnTo>
                  <a:lnTo>
                    <a:pt x="217" y="90"/>
                  </a:lnTo>
                  <a:lnTo>
                    <a:pt x="217" y="90"/>
                  </a:lnTo>
                  <a:lnTo>
                    <a:pt x="228" y="105"/>
                  </a:lnTo>
                  <a:lnTo>
                    <a:pt x="231" y="112"/>
                  </a:lnTo>
                  <a:lnTo>
                    <a:pt x="235" y="120"/>
                  </a:lnTo>
                  <a:lnTo>
                    <a:pt x="235" y="120"/>
                  </a:lnTo>
                  <a:close/>
                  <a:moveTo>
                    <a:pt x="70" y="170"/>
                  </a:moveTo>
                  <a:lnTo>
                    <a:pt x="20" y="217"/>
                  </a:lnTo>
                  <a:lnTo>
                    <a:pt x="88" y="200"/>
                  </a:lnTo>
                  <a:lnTo>
                    <a:pt x="88" y="200"/>
                  </a:lnTo>
                  <a:lnTo>
                    <a:pt x="83" y="193"/>
                  </a:lnTo>
                  <a:lnTo>
                    <a:pt x="78" y="186"/>
                  </a:lnTo>
                  <a:lnTo>
                    <a:pt x="73" y="178"/>
                  </a:lnTo>
                  <a:lnTo>
                    <a:pt x="70" y="170"/>
                  </a:lnTo>
                  <a:lnTo>
                    <a:pt x="70" y="170"/>
                  </a:lnTo>
                  <a:close/>
                  <a:moveTo>
                    <a:pt x="179" y="222"/>
                  </a:moveTo>
                  <a:lnTo>
                    <a:pt x="229" y="270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04" y="211"/>
                  </a:lnTo>
                  <a:lnTo>
                    <a:pt x="197" y="215"/>
                  </a:lnTo>
                  <a:lnTo>
                    <a:pt x="188" y="220"/>
                  </a:lnTo>
                  <a:lnTo>
                    <a:pt x="179" y="222"/>
                  </a:lnTo>
                  <a:lnTo>
                    <a:pt x="179" y="222"/>
                  </a:lnTo>
                  <a:close/>
                  <a:moveTo>
                    <a:pt x="217" y="200"/>
                  </a:moveTo>
                  <a:lnTo>
                    <a:pt x="286" y="217"/>
                  </a:lnTo>
                  <a:lnTo>
                    <a:pt x="235" y="170"/>
                  </a:lnTo>
                  <a:lnTo>
                    <a:pt x="235" y="170"/>
                  </a:lnTo>
                  <a:lnTo>
                    <a:pt x="231" y="178"/>
                  </a:lnTo>
                  <a:lnTo>
                    <a:pt x="228" y="186"/>
                  </a:lnTo>
                  <a:lnTo>
                    <a:pt x="223" y="193"/>
                  </a:lnTo>
                  <a:lnTo>
                    <a:pt x="217" y="200"/>
                  </a:lnTo>
                  <a:lnTo>
                    <a:pt x="217" y="200"/>
                  </a:lnTo>
                  <a:close/>
                  <a:moveTo>
                    <a:pt x="134" y="225"/>
                  </a:moveTo>
                  <a:lnTo>
                    <a:pt x="152" y="289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62" y="226"/>
                  </a:lnTo>
                  <a:lnTo>
                    <a:pt x="152" y="227"/>
                  </a:lnTo>
                  <a:lnTo>
                    <a:pt x="152" y="227"/>
                  </a:lnTo>
                  <a:lnTo>
                    <a:pt x="143" y="226"/>
                  </a:lnTo>
                  <a:lnTo>
                    <a:pt x="134" y="225"/>
                  </a:lnTo>
                  <a:lnTo>
                    <a:pt x="134" y="225"/>
                  </a:lnTo>
                  <a:close/>
                  <a:moveTo>
                    <a:pt x="88" y="90"/>
                  </a:moveTo>
                  <a:lnTo>
                    <a:pt x="20" y="72"/>
                  </a:lnTo>
                  <a:lnTo>
                    <a:pt x="70" y="120"/>
                  </a:lnTo>
                  <a:lnTo>
                    <a:pt x="70" y="120"/>
                  </a:lnTo>
                  <a:lnTo>
                    <a:pt x="73" y="112"/>
                  </a:lnTo>
                  <a:lnTo>
                    <a:pt x="78" y="105"/>
                  </a:lnTo>
                  <a:lnTo>
                    <a:pt x="83" y="97"/>
                  </a:lnTo>
                  <a:lnTo>
                    <a:pt x="88" y="90"/>
                  </a:lnTo>
                  <a:lnTo>
                    <a:pt x="88" y="90"/>
                  </a:lnTo>
                  <a:close/>
                  <a:moveTo>
                    <a:pt x="65" y="144"/>
                  </a:moveTo>
                  <a:lnTo>
                    <a:pt x="65" y="144"/>
                  </a:lnTo>
                  <a:lnTo>
                    <a:pt x="65" y="136"/>
                  </a:lnTo>
                  <a:lnTo>
                    <a:pt x="68" y="127"/>
                  </a:lnTo>
                  <a:lnTo>
                    <a:pt x="0" y="144"/>
                  </a:lnTo>
                  <a:lnTo>
                    <a:pt x="68" y="162"/>
                  </a:lnTo>
                  <a:lnTo>
                    <a:pt x="68" y="162"/>
                  </a:lnTo>
                  <a:lnTo>
                    <a:pt x="65" y="154"/>
                  </a:lnTo>
                  <a:lnTo>
                    <a:pt x="65" y="144"/>
                  </a:lnTo>
                  <a:lnTo>
                    <a:pt x="65" y="144"/>
                  </a:lnTo>
                  <a:close/>
                  <a:moveTo>
                    <a:pt x="77" y="270"/>
                  </a:moveTo>
                  <a:lnTo>
                    <a:pt x="126" y="222"/>
                  </a:lnTo>
                  <a:lnTo>
                    <a:pt x="126" y="222"/>
                  </a:lnTo>
                  <a:lnTo>
                    <a:pt x="117" y="220"/>
                  </a:lnTo>
                  <a:lnTo>
                    <a:pt x="109" y="215"/>
                  </a:lnTo>
                  <a:lnTo>
                    <a:pt x="101" y="211"/>
                  </a:lnTo>
                  <a:lnTo>
                    <a:pt x="94" y="206"/>
                  </a:lnTo>
                  <a:lnTo>
                    <a:pt x="77" y="2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28" name="Group 127"/>
          <p:cNvGrpSpPr>
            <a:grpSpLocks noChangeAspect="1"/>
          </p:cNvGrpSpPr>
          <p:nvPr/>
        </p:nvGrpSpPr>
        <p:grpSpPr>
          <a:xfrm>
            <a:off x="4064351" y="1584146"/>
            <a:ext cx="1585343" cy="901099"/>
            <a:chOff x="5740401" y="2441575"/>
            <a:chExt cx="2471738" cy="1404938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129" name="Freeform 48"/>
            <p:cNvSpPr>
              <a:spLocks/>
            </p:cNvSpPr>
            <p:nvPr/>
          </p:nvSpPr>
          <p:spPr bwMode="auto">
            <a:xfrm>
              <a:off x="7704138" y="2979738"/>
              <a:ext cx="88900" cy="114300"/>
            </a:xfrm>
            <a:custGeom>
              <a:avLst/>
              <a:gdLst>
                <a:gd name="T0" fmla="*/ 13 w 56"/>
                <a:gd name="T1" fmla="*/ 6 h 72"/>
                <a:gd name="T2" fmla="*/ 13 w 56"/>
                <a:gd name="T3" fmla="*/ 6 h 72"/>
                <a:gd name="T4" fmla="*/ 3 w 56"/>
                <a:gd name="T5" fmla="*/ 13 h 72"/>
                <a:gd name="T6" fmla="*/ 3 w 56"/>
                <a:gd name="T7" fmla="*/ 13 h 72"/>
                <a:gd name="T8" fmla="*/ 5 w 56"/>
                <a:gd name="T9" fmla="*/ 18 h 72"/>
                <a:gd name="T10" fmla="*/ 6 w 56"/>
                <a:gd name="T11" fmla="*/ 21 h 72"/>
                <a:gd name="T12" fmla="*/ 9 w 56"/>
                <a:gd name="T13" fmla="*/ 21 h 72"/>
                <a:gd name="T14" fmla="*/ 9 w 56"/>
                <a:gd name="T15" fmla="*/ 21 h 72"/>
                <a:gd name="T16" fmla="*/ 10 w 56"/>
                <a:gd name="T17" fmla="*/ 22 h 72"/>
                <a:gd name="T18" fmla="*/ 12 w 56"/>
                <a:gd name="T19" fmla="*/ 25 h 72"/>
                <a:gd name="T20" fmla="*/ 10 w 56"/>
                <a:gd name="T21" fmla="*/ 28 h 72"/>
                <a:gd name="T22" fmla="*/ 7 w 56"/>
                <a:gd name="T23" fmla="*/ 28 h 72"/>
                <a:gd name="T24" fmla="*/ 7 w 56"/>
                <a:gd name="T25" fmla="*/ 28 h 72"/>
                <a:gd name="T26" fmla="*/ 6 w 56"/>
                <a:gd name="T27" fmla="*/ 28 h 72"/>
                <a:gd name="T28" fmla="*/ 5 w 56"/>
                <a:gd name="T29" fmla="*/ 29 h 72"/>
                <a:gd name="T30" fmla="*/ 3 w 56"/>
                <a:gd name="T31" fmla="*/ 32 h 72"/>
                <a:gd name="T32" fmla="*/ 5 w 56"/>
                <a:gd name="T33" fmla="*/ 38 h 72"/>
                <a:gd name="T34" fmla="*/ 6 w 56"/>
                <a:gd name="T35" fmla="*/ 43 h 72"/>
                <a:gd name="T36" fmla="*/ 6 w 56"/>
                <a:gd name="T37" fmla="*/ 43 h 72"/>
                <a:gd name="T38" fmla="*/ 7 w 56"/>
                <a:gd name="T39" fmla="*/ 46 h 72"/>
                <a:gd name="T40" fmla="*/ 7 w 56"/>
                <a:gd name="T41" fmla="*/ 47 h 72"/>
                <a:gd name="T42" fmla="*/ 5 w 56"/>
                <a:gd name="T43" fmla="*/ 53 h 72"/>
                <a:gd name="T44" fmla="*/ 2 w 56"/>
                <a:gd name="T45" fmla="*/ 58 h 72"/>
                <a:gd name="T46" fmla="*/ 0 w 56"/>
                <a:gd name="T47" fmla="*/ 60 h 72"/>
                <a:gd name="T48" fmla="*/ 2 w 56"/>
                <a:gd name="T49" fmla="*/ 61 h 72"/>
                <a:gd name="T50" fmla="*/ 2 w 56"/>
                <a:gd name="T51" fmla="*/ 61 h 72"/>
                <a:gd name="T52" fmla="*/ 3 w 56"/>
                <a:gd name="T53" fmla="*/ 64 h 72"/>
                <a:gd name="T54" fmla="*/ 3 w 56"/>
                <a:gd name="T55" fmla="*/ 67 h 72"/>
                <a:gd name="T56" fmla="*/ 3 w 56"/>
                <a:gd name="T57" fmla="*/ 69 h 72"/>
                <a:gd name="T58" fmla="*/ 3 w 56"/>
                <a:gd name="T59" fmla="*/ 72 h 72"/>
                <a:gd name="T60" fmla="*/ 3 w 56"/>
                <a:gd name="T61" fmla="*/ 72 h 72"/>
                <a:gd name="T62" fmla="*/ 7 w 56"/>
                <a:gd name="T63" fmla="*/ 72 h 72"/>
                <a:gd name="T64" fmla="*/ 16 w 56"/>
                <a:gd name="T65" fmla="*/ 71 h 72"/>
                <a:gd name="T66" fmla="*/ 25 w 56"/>
                <a:gd name="T67" fmla="*/ 68 h 72"/>
                <a:gd name="T68" fmla="*/ 30 w 56"/>
                <a:gd name="T69" fmla="*/ 65 h 72"/>
                <a:gd name="T70" fmla="*/ 34 w 56"/>
                <a:gd name="T71" fmla="*/ 63 h 72"/>
                <a:gd name="T72" fmla="*/ 34 w 56"/>
                <a:gd name="T73" fmla="*/ 63 h 72"/>
                <a:gd name="T74" fmla="*/ 39 w 56"/>
                <a:gd name="T75" fmla="*/ 57 h 72"/>
                <a:gd name="T76" fmla="*/ 44 w 56"/>
                <a:gd name="T77" fmla="*/ 56 h 72"/>
                <a:gd name="T78" fmla="*/ 46 w 56"/>
                <a:gd name="T79" fmla="*/ 56 h 72"/>
                <a:gd name="T80" fmla="*/ 49 w 56"/>
                <a:gd name="T81" fmla="*/ 56 h 72"/>
                <a:gd name="T82" fmla="*/ 49 w 56"/>
                <a:gd name="T83" fmla="*/ 56 h 72"/>
                <a:gd name="T84" fmla="*/ 52 w 56"/>
                <a:gd name="T85" fmla="*/ 56 h 72"/>
                <a:gd name="T86" fmla="*/ 55 w 56"/>
                <a:gd name="T87" fmla="*/ 54 h 72"/>
                <a:gd name="T88" fmla="*/ 56 w 56"/>
                <a:gd name="T89" fmla="*/ 51 h 72"/>
                <a:gd name="T90" fmla="*/ 56 w 56"/>
                <a:gd name="T91" fmla="*/ 49 h 72"/>
                <a:gd name="T92" fmla="*/ 56 w 56"/>
                <a:gd name="T93" fmla="*/ 49 h 72"/>
                <a:gd name="T94" fmla="*/ 53 w 56"/>
                <a:gd name="T95" fmla="*/ 46 h 72"/>
                <a:gd name="T96" fmla="*/ 52 w 56"/>
                <a:gd name="T97" fmla="*/ 40 h 72"/>
                <a:gd name="T98" fmla="*/ 52 w 56"/>
                <a:gd name="T99" fmla="*/ 33 h 72"/>
                <a:gd name="T100" fmla="*/ 52 w 56"/>
                <a:gd name="T101" fmla="*/ 26 h 72"/>
                <a:gd name="T102" fmla="*/ 52 w 56"/>
                <a:gd name="T103" fmla="*/ 26 h 72"/>
                <a:gd name="T104" fmla="*/ 50 w 56"/>
                <a:gd name="T105" fmla="*/ 21 h 72"/>
                <a:gd name="T106" fmla="*/ 46 w 56"/>
                <a:gd name="T107" fmla="*/ 14 h 72"/>
                <a:gd name="T108" fmla="*/ 35 w 56"/>
                <a:gd name="T109" fmla="*/ 0 h 72"/>
                <a:gd name="T110" fmla="*/ 35 w 56"/>
                <a:gd name="T111" fmla="*/ 0 h 72"/>
                <a:gd name="T112" fmla="*/ 31 w 56"/>
                <a:gd name="T113" fmla="*/ 3 h 72"/>
                <a:gd name="T114" fmla="*/ 27 w 56"/>
                <a:gd name="T115" fmla="*/ 3 h 72"/>
                <a:gd name="T116" fmla="*/ 27 w 56"/>
                <a:gd name="T117" fmla="*/ 3 h 72"/>
                <a:gd name="T118" fmla="*/ 19 w 56"/>
                <a:gd name="T119" fmla="*/ 4 h 72"/>
                <a:gd name="T120" fmla="*/ 14 w 56"/>
                <a:gd name="T121" fmla="*/ 4 h 72"/>
                <a:gd name="T122" fmla="*/ 13 w 56"/>
                <a:gd name="T123" fmla="*/ 6 h 72"/>
                <a:gd name="T124" fmla="*/ 13 w 56"/>
                <a:gd name="T125" fmla="*/ 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" h="72">
                  <a:moveTo>
                    <a:pt x="13" y="6"/>
                  </a:moveTo>
                  <a:lnTo>
                    <a:pt x="13" y="6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5" y="18"/>
                  </a:lnTo>
                  <a:lnTo>
                    <a:pt x="6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10" y="22"/>
                  </a:lnTo>
                  <a:lnTo>
                    <a:pt x="12" y="25"/>
                  </a:lnTo>
                  <a:lnTo>
                    <a:pt x="10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6" y="28"/>
                  </a:lnTo>
                  <a:lnTo>
                    <a:pt x="5" y="29"/>
                  </a:lnTo>
                  <a:lnTo>
                    <a:pt x="3" y="32"/>
                  </a:lnTo>
                  <a:lnTo>
                    <a:pt x="5" y="38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7" y="46"/>
                  </a:lnTo>
                  <a:lnTo>
                    <a:pt x="7" y="47"/>
                  </a:lnTo>
                  <a:lnTo>
                    <a:pt x="5" y="53"/>
                  </a:lnTo>
                  <a:lnTo>
                    <a:pt x="2" y="58"/>
                  </a:lnTo>
                  <a:lnTo>
                    <a:pt x="0" y="60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3" y="64"/>
                  </a:lnTo>
                  <a:lnTo>
                    <a:pt x="3" y="67"/>
                  </a:lnTo>
                  <a:lnTo>
                    <a:pt x="3" y="69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7" y="72"/>
                  </a:lnTo>
                  <a:lnTo>
                    <a:pt x="16" y="71"/>
                  </a:lnTo>
                  <a:lnTo>
                    <a:pt x="25" y="68"/>
                  </a:lnTo>
                  <a:lnTo>
                    <a:pt x="30" y="65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9" y="57"/>
                  </a:lnTo>
                  <a:lnTo>
                    <a:pt x="44" y="56"/>
                  </a:lnTo>
                  <a:lnTo>
                    <a:pt x="46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52" y="56"/>
                  </a:lnTo>
                  <a:lnTo>
                    <a:pt x="55" y="54"/>
                  </a:lnTo>
                  <a:lnTo>
                    <a:pt x="56" y="51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3" y="46"/>
                  </a:lnTo>
                  <a:lnTo>
                    <a:pt x="52" y="40"/>
                  </a:lnTo>
                  <a:lnTo>
                    <a:pt x="52" y="33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0" y="21"/>
                  </a:lnTo>
                  <a:lnTo>
                    <a:pt x="46" y="14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1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19" y="4"/>
                  </a:lnTo>
                  <a:lnTo>
                    <a:pt x="14" y="4"/>
                  </a:lnTo>
                  <a:lnTo>
                    <a:pt x="13" y="6"/>
                  </a:lnTo>
                  <a:lnTo>
                    <a:pt x="13" y="6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49"/>
            <p:cNvSpPr>
              <a:spLocks/>
            </p:cNvSpPr>
            <p:nvPr/>
          </p:nvSpPr>
          <p:spPr bwMode="auto">
            <a:xfrm>
              <a:off x="6772276" y="3319463"/>
              <a:ext cx="103188" cy="138113"/>
            </a:xfrm>
            <a:custGeom>
              <a:avLst/>
              <a:gdLst>
                <a:gd name="T0" fmla="*/ 65 w 65"/>
                <a:gd name="T1" fmla="*/ 72 h 87"/>
                <a:gd name="T2" fmla="*/ 61 w 65"/>
                <a:gd name="T3" fmla="*/ 44 h 87"/>
                <a:gd name="T4" fmla="*/ 60 w 65"/>
                <a:gd name="T5" fmla="*/ 41 h 87"/>
                <a:gd name="T6" fmla="*/ 54 w 65"/>
                <a:gd name="T7" fmla="*/ 48 h 87"/>
                <a:gd name="T8" fmla="*/ 50 w 65"/>
                <a:gd name="T9" fmla="*/ 54 h 87"/>
                <a:gd name="T10" fmla="*/ 49 w 65"/>
                <a:gd name="T11" fmla="*/ 54 h 87"/>
                <a:gd name="T12" fmla="*/ 46 w 65"/>
                <a:gd name="T13" fmla="*/ 51 h 87"/>
                <a:gd name="T14" fmla="*/ 46 w 65"/>
                <a:gd name="T15" fmla="*/ 40 h 87"/>
                <a:gd name="T16" fmla="*/ 49 w 65"/>
                <a:gd name="T17" fmla="*/ 37 h 87"/>
                <a:gd name="T18" fmla="*/ 52 w 65"/>
                <a:gd name="T19" fmla="*/ 37 h 87"/>
                <a:gd name="T20" fmla="*/ 57 w 65"/>
                <a:gd name="T21" fmla="*/ 30 h 87"/>
                <a:gd name="T22" fmla="*/ 61 w 65"/>
                <a:gd name="T23" fmla="*/ 22 h 87"/>
                <a:gd name="T24" fmla="*/ 60 w 65"/>
                <a:gd name="T25" fmla="*/ 19 h 87"/>
                <a:gd name="T26" fmla="*/ 50 w 65"/>
                <a:gd name="T27" fmla="*/ 18 h 87"/>
                <a:gd name="T28" fmla="*/ 32 w 65"/>
                <a:gd name="T29" fmla="*/ 19 h 87"/>
                <a:gd name="T30" fmla="*/ 28 w 65"/>
                <a:gd name="T31" fmla="*/ 17 h 87"/>
                <a:gd name="T32" fmla="*/ 25 w 65"/>
                <a:gd name="T33" fmla="*/ 11 h 87"/>
                <a:gd name="T34" fmla="*/ 24 w 65"/>
                <a:gd name="T35" fmla="*/ 8 h 87"/>
                <a:gd name="T36" fmla="*/ 20 w 65"/>
                <a:gd name="T37" fmla="*/ 4 h 87"/>
                <a:gd name="T38" fmla="*/ 14 w 65"/>
                <a:gd name="T39" fmla="*/ 3 h 87"/>
                <a:gd name="T40" fmla="*/ 7 w 65"/>
                <a:gd name="T41" fmla="*/ 0 h 87"/>
                <a:gd name="T42" fmla="*/ 2 w 65"/>
                <a:gd name="T43" fmla="*/ 3 h 87"/>
                <a:gd name="T44" fmla="*/ 0 w 65"/>
                <a:gd name="T45" fmla="*/ 5 h 87"/>
                <a:gd name="T46" fmla="*/ 6 w 65"/>
                <a:gd name="T47" fmla="*/ 10 h 87"/>
                <a:gd name="T48" fmla="*/ 11 w 65"/>
                <a:gd name="T49" fmla="*/ 14 h 87"/>
                <a:gd name="T50" fmla="*/ 11 w 65"/>
                <a:gd name="T51" fmla="*/ 17 h 87"/>
                <a:gd name="T52" fmla="*/ 7 w 65"/>
                <a:gd name="T53" fmla="*/ 19 h 87"/>
                <a:gd name="T54" fmla="*/ 3 w 65"/>
                <a:gd name="T55" fmla="*/ 22 h 87"/>
                <a:gd name="T56" fmla="*/ 3 w 65"/>
                <a:gd name="T57" fmla="*/ 28 h 87"/>
                <a:gd name="T58" fmla="*/ 7 w 65"/>
                <a:gd name="T59" fmla="*/ 46 h 87"/>
                <a:gd name="T60" fmla="*/ 10 w 65"/>
                <a:gd name="T61" fmla="*/ 58 h 87"/>
                <a:gd name="T62" fmla="*/ 13 w 65"/>
                <a:gd name="T63" fmla="*/ 75 h 87"/>
                <a:gd name="T64" fmla="*/ 18 w 65"/>
                <a:gd name="T65" fmla="*/ 73 h 87"/>
                <a:gd name="T66" fmla="*/ 22 w 65"/>
                <a:gd name="T67" fmla="*/ 72 h 87"/>
                <a:gd name="T68" fmla="*/ 34 w 65"/>
                <a:gd name="T69" fmla="*/ 69 h 87"/>
                <a:gd name="T70" fmla="*/ 35 w 65"/>
                <a:gd name="T71" fmla="*/ 65 h 87"/>
                <a:gd name="T72" fmla="*/ 39 w 65"/>
                <a:gd name="T73" fmla="*/ 60 h 87"/>
                <a:gd name="T74" fmla="*/ 45 w 65"/>
                <a:gd name="T75" fmla="*/ 58 h 87"/>
                <a:gd name="T76" fmla="*/ 47 w 65"/>
                <a:gd name="T77" fmla="*/ 61 h 87"/>
                <a:gd name="T78" fmla="*/ 53 w 65"/>
                <a:gd name="T79" fmla="*/ 73 h 87"/>
                <a:gd name="T80" fmla="*/ 53 w 65"/>
                <a:gd name="T81" fmla="*/ 79 h 87"/>
                <a:gd name="T82" fmla="*/ 56 w 65"/>
                <a:gd name="T83" fmla="*/ 87 h 87"/>
                <a:gd name="T84" fmla="*/ 61 w 65"/>
                <a:gd name="T85" fmla="*/ 83 h 87"/>
                <a:gd name="T86" fmla="*/ 63 w 65"/>
                <a:gd name="T87" fmla="*/ 79 h 87"/>
                <a:gd name="T88" fmla="*/ 65 w 65"/>
                <a:gd name="T89" fmla="*/ 7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5" h="87">
                  <a:moveTo>
                    <a:pt x="65" y="72"/>
                  </a:moveTo>
                  <a:lnTo>
                    <a:pt x="65" y="72"/>
                  </a:lnTo>
                  <a:lnTo>
                    <a:pt x="63" y="51"/>
                  </a:lnTo>
                  <a:lnTo>
                    <a:pt x="61" y="44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57" y="44"/>
                  </a:lnTo>
                  <a:lnTo>
                    <a:pt x="54" y="48"/>
                  </a:lnTo>
                  <a:lnTo>
                    <a:pt x="52" y="53"/>
                  </a:lnTo>
                  <a:lnTo>
                    <a:pt x="50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6" y="54"/>
                  </a:lnTo>
                  <a:lnTo>
                    <a:pt x="46" y="51"/>
                  </a:lnTo>
                  <a:lnTo>
                    <a:pt x="45" y="46"/>
                  </a:lnTo>
                  <a:lnTo>
                    <a:pt x="46" y="40"/>
                  </a:lnTo>
                  <a:lnTo>
                    <a:pt x="47" y="39"/>
                  </a:lnTo>
                  <a:lnTo>
                    <a:pt x="49" y="37"/>
                  </a:lnTo>
                  <a:lnTo>
                    <a:pt x="49" y="37"/>
                  </a:lnTo>
                  <a:lnTo>
                    <a:pt x="52" y="37"/>
                  </a:lnTo>
                  <a:lnTo>
                    <a:pt x="53" y="36"/>
                  </a:lnTo>
                  <a:lnTo>
                    <a:pt x="57" y="30"/>
                  </a:lnTo>
                  <a:lnTo>
                    <a:pt x="60" y="26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0" y="19"/>
                  </a:lnTo>
                  <a:lnTo>
                    <a:pt x="59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28" y="17"/>
                  </a:lnTo>
                  <a:lnTo>
                    <a:pt x="27" y="14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4" y="8"/>
                  </a:lnTo>
                  <a:lnTo>
                    <a:pt x="22" y="5"/>
                  </a:lnTo>
                  <a:lnTo>
                    <a:pt x="20" y="4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0" y="1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7"/>
                  </a:lnTo>
                  <a:lnTo>
                    <a:pt x="6" y="10"/>
                  </a:lnTo>
                  <a:lnTo>
                    <a:pt x="10" y="12"/>
                  </a:lnTo>
                  <a:lnTo>
                    <a:pt x="11" y="14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9"/>
                  </a:lnTo>
                  <a:lnTo>
                    <a:pt x="7" y="19"/>
                  </a:lnTo>
                  <a:lnTo>
                    <a:pt x="4" y="21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8"/>
                  </a:lnTo>
                  <a:lnTo>
                    <a:pt x="4" y="33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10" y="58"/>
                  </a:lnTo>
                  <a:lnTo>
                    <a:pt x="11" y="66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8" y="73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31" y="71"/>
                  </a:lnTo>
                  <a:lnTo>
                    <a:pt x="34" y="69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6" y="62"/>
                  </a:lnTo>
                  <a:lnTo>
                    <a:pt x="39" y="60"/>
                  </a:lnTo>
                  <a:lnTo>
                    <a:pt x="42" y="58"/>
                  </a:lnTo>
                  <a:lnTo>
                    <a:pt x="45" y="58"/>
                  </a:lnTo>
                  <a:lnTo>
                    <a:pt x="45" y="58"/>
                  </a:lnTo>
                  <a:lnTo>
                    <a:pt x="47" y="61"/>
                  </a:lnTo>
                  <a:lnTo>
                    <a:pt x="50" y="66"/>
                  </a:lnTo>
                  <a:lnTo>
                    <a:pt x="53" y="73"/>
                  </a:lnTo>
                  <a:lnTo>
                    <a:pt x="53" y="79"/>
                  </a:lnTo>
                  <a:lnTo>
                    <a:pt x="53" y="79"/>
                  </a:lnTo>
                  <a:lnTo>
                    <a:pt x="54" y="83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3" y="79"/>
                  </a:lnTo>
                  <a:lnTo>
                    <a:pt x="65" y="72"/>
                  </a:lnTo>
                  <a:lnTo>
                    <a:pt x="65" y="72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50"/>
            <p:cNvSpPr>
              <a:spLocks/>
            </p:cNvSpPr>
            <p:nvPr/>
          </p:nvSpPr>
          <p:spPr bwMode="auto">
            <a:xfrm>
              <a:off x="6289676" y="3063875"/>
              <a:ext cx="690563" cy="727075"/>
            </a:xfrm>
            <a:custGeom>
              <a:avLst/>
              <a:gdLst>
                <a:gd name="T0" fmla="*/ 314 w 435"/>
                <a:gd name="T1" fmla="*/ 180 h 458"/>
                <a:gd name="T2" fmla="*/ 306 w 435"/>
                <a:gd name="T3" fmla="*/ 164 h 458"/>
                <a:gd name="T4" fmla="*/ 329 w 435"/>
                <a:gd name="T5" fmla="*/ 172 h 458"/>
                <a:gd name="T6" fmla="*/ 364 w 435"/>
                <a:gd name="T7" fmla="*/ 180 h 458"/>
                <a:gd name="T8" fmla="*/ 351 w 435"/>
                <a:gd name="T9" fmla="*/ 200 h 458"/>
                <a:gd name="T10" fmla="*/ 358 w 435"/>
                <a:gd name="T11" fmla="*/ 209 h 458"/>
                <a:gd name="T12" fmla="*/ 372 w 435"/>
                <a:gd name="T13" fmla="*/ 232 h 458"/>
                <a:gd name="T14" fmla="*/ 379 w 435"/>
                <a:gd name="T15" fmla="*/ 201 h 458"/>
                <a:gd name="T16" fmla="*/ 394 w 435"/>
                <a:gd name="T17" fmla="*/ 191 h 458"/>
                <a:gd name="T18" fmla="*/ 403 w 435"/>
                <a:gd name="T19" fmla="*/ 158 h 458"/>
                <a:gd name="T20" fmla="*/ 428 w 435"/>
                <a:gd name="T21" fmla="*/ 146 h 458"/>
                <a:gd name="T22" fmla="*/ 431 w 435"/>
                <a:gd name="T23" fmla="*/ 133 h 458"/>
                <a:gd name="T24" fmla="*/ 425 w 435"/>
                <a:gd name="T25" fmla="*/ 121 h 458"/>
                <a:gd name="T26" fmla="*/ 408 w 435"/>
                <a:gd name="T27" fmla="*/ 112 h 458"/>
                <a:gd name="T28" fmla="*/ 379 w 435"/>
                <a:gd name="T29" fmla="*/ 121 h 458"/>
                <a:gd name="T30" fmla="*/ 357 w 435"/>
                <a:gd name="T31" fmla="*/ 137 h 458"/>
                <a:gd name="T32" fmla="*/ 343 w 435"/>
                <a:gd name="T33" fmla="*/ 153 h 458"/>
                <a:gd name="T34" fmla="*/ 321 w 435"/>
                <a:gd name="T35" fmla="*/ 150 h 458"/>
                <a:gd name="T36" fmla="*/ 313 w 435"/>
                <a:gd name="T37" fmla="*/ 132 h 458"/>
                <a:gd name="T38" fmla="*/ 303 w 435"/>
                <a:gd name="T39" fmla="*/ 147 h 458"/>
                <a:gd name="T40" fmla="*/ 270 w 435"/>
                <a:gd name="T41" fmla="*/ 154 h 458"/>
                <a:gd name="T42" fmla="*/ 238 w 435"/>
                <a:gd name="T43" fmla="*/ 141 h 458"/>
                <a:gd name="T44" fmla="*/ 207 w 435"/>
                <a:gd name="T45" fmla="*/ 130 h 458"/>
                <a:gd name="T46" fmla="*/ 189 w 435"/>
                <a:gd name="T47" fmla="*/ 119 h 458"/>
                <a:gd name="T48" fmla="*/ 195 w 435"/>
                <a:gd name="T49" fmla="*/ 97 h 458"/>
                <a:gd name="T50" fmla="*/ 179 w 435"/>
                <a:gd name="T51" fmla="*/ 80 h 458"/>
                <a:gd name="T52" fmla="*/ 163 w 435"/>
                <a:gd name="T53" fmla="*/ 61 h 458"/>
                <a:gd name="T54" fmla="*/ 172 w 435"/>
                <a:gd name="T55" fmla="*/ 53 h 458"/>
                <a:gd name="T56" fmla="*/ 167 w 435"/>
                <a:gd name="T57" fmla="*/ 25 h 458"/>
                <a:gd name="T58" fmla="*/ 154 w 435"/>
                <a:gd name="T59" fmla="*/ 4 h 458"/>
                <a:gd name="T60" fmla="*/ 129 w 435"/>
                <a:gd name="T61" fmla="*/ 14 h 458"/>
                <a:gd name="T62" fmla="*/ 93 w 435"/>
                <a:gd name="T63" fmla="*/ 14 h 458"/>
                <a:gd name="T64" fmla="*/ 95 w 435"/>
                <a:gd name="T65" fmla="*/ 44 h 458"/>
                <a:gd name="T66" fmla="*/ 108 w 435"/>
                <a:gd name="T67" fmla="*/ 58 h 458"/>
                <a:gd name="T68" fmla="*/ 97 w 435"/>
                <a:gd name="T69" fmla="*/ 82 h 458"/>
                <a:gd name="T70" fmla="*/ 86 w 435"/>
                <a:gd name="T71" fmla="*/ 96 h 458"/>
                <a:gd name="T72" fmla="*/ 63 w 435"/>
                <a:gd name="T73" fmla="*/ 121 h 458"/>
                <a:gd name="T74" fmla="*/ 45 w 435"/>
                <a:gd name="T75" fmla="*/ 133 h 458"/>
                <a:gd name="T76" fmla="*/ 24 w 435"/>
                <a:gd name="T77" fmla="*/ 140 h 458"/>
                <a:gd name="T78" fmla="*/ 29 w 435"/>
                <a:gd name="T79" fmla="*/ 159 h 458"/>
                <a:gd name="T80" fmla="*/ 42 w 435"/>
                <a:gd name="T81" fmla="*/ 190 h 458"/>
                <a:gd name="T82" fmla="*/ 15 w 435"/>
                <a:gd name="T83" fmla="*/ 194 h 458"/>
                <a:gd name="T84" fmla="*/ 14 w 435"/>
                <a:gd name="T85" fmla="*/ 218 h 458"/>
                <a:gd name="T86" fmla="*/ 31 w 435"/>
                <a:gd name="T87" fmla="*/ 221 h 458"/>
                <a:gd name="T88" fmla="*/ 38 w 435"/>
                <a:gd name="T89" fmla="*/ 252 h 458"/>
                <a:gd name="T90" fmla="*/ 60 w 435"/>
                <a:gd name="T91" fmla="*/ 237 h 458"/>
                <a:gd name="T92" fmla="*/ 68 w 435"/>
                <a:gd name="T93" fmla="*/ 246 h 458"/>
                <a:gd name="T94" fmla="*/ 71 w 435"/>
                <a:gd name="T95" fmla="*/ 286 h 458"/>
                <a:gd name="T96" fmla="*/ 97 w 435"/>
                <a:gd name="T97" fmla="*/ 366 h 458"/>
                <a:gd name="T98" fmla="*/ 124 w 435"/>
                <a:gd name="T99" fmla="*/ 433 h 458"/>
                <a:gd name="T100" fmla="*/ 153 w 435"/>
                <a:gd name="T101" fmla="*/ 447 h 458"/>
                <a:gd name="T102" fmla="*/ 171 w 435"/>
                <a:gd name="T103" fmla="*/ 423 h 458"/>
                <a:gd name="T104" fmla="*/ 182 w 435"/>
                <a:gd name="T105" fmla="*/ 391 h 458"/>
                <a:gd name="T106" fmla="*/ 186 w 435"/>
                <a:gd name="T107" fmla="*/ 345 h 458"/>
                <a:gd name="T108" fmla="*/ 207 w 435"/>
                <a:gd name="T109" fmla="*/ 322 h 458"/>
                <a:gd name="T110" fmla="*/ 256 w 435"/>
                <a:gd name="T111" fmla="*/ 277 h 458"/>
                <a:gd name="T112" fmla="*/ 285 w 435"/>
                <a:gd name="T113" fmla="*/ 246 h 458"/>
                <a:gd name="T114" fmla="*/ 315 w 435"/>
                <a:gd name="T115" fmla="*/ 227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58">
                  <a:moveTo>
                    <a:pt x="311" y="207"/>
                  </a:moveTo>
                  <a:lnTo>
                    <a:pt x="311" y="207"/>
                  </a:lnTo>
                  <a:lnTo>
                    <a:pt x="308" y="194"/>
                  </a:lnTo>
                  <a:lnTo>
                    <a:pt x="307" y="189"/>
                  </a:lnTo>
                  <a:lnTo>
                    <a:pt x="307" y="183"/>
                  </a:lnTo>
                  <a:lnTo>
                    <a:pt x="307" y="183"/>
                  </a:lnTo>
                  <a:lnTo>
                    <a:pt x="308" y="182"/>
                  </a:lnTo>
                  <a:lnTo>
                    <a:pt x="311" y="180"/>
                  </a:lnTo>
                  <a:lnTo>
                    <a:pt x="314" y="180"/>
                  </a:lnTo>
                  <a:lnTo>
                    <a:pt x="315" y="178"/>
                  </a:lnTo>
                  <a:lnTo>
                    <a:pt x="315" y="178"/>
                  </a:lnTo>
                  <a:lnTo>
                    <a:pt x="315" y="175"/>
                  </a:lnTo>
                  <a:lnTo>
                    <a:pt x="314" y="173"/>
                  </a:lnTo>
                  <a:lnTo>
                    <a:pt x="310" y="171"/>
                  </a:lnTo>
                  <a:lnTo>
                    <a:pt x="304" y="168"/>
                  </a:lnTo>
                  <a:lnTo>
                    <a:pt x="304" y="166"/>
                  </a:lnTo>
                  <a:lnTo>
                    <a:pt x="306" y="164"/>
                  </a:lnTo>
                  <a:lnTo>
                    <a:pt x="306" y="164"/>
                  </a:lnTo>
                  <a:lnTo>
                    <a:pt x="308" y="161"/>
                  </a:lnTo>
                  <a:lnTo>
                    <a:pt x="311" y="161"/>
                  </a:lnTo>
                  <a:lnTo>
                    <a:pt x="314" y="162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24" y="165"/>
                  </a:lnTo>
                  <a:lnTo>
                    <a:pt x="326" y="166"/>
                  </a:lnTo>
                  <a:lnTo>
                    <a:pt x="328" y="169"/>
                  </a:lnTo>
                  <a:lnTo>
                    <a:pt x="329" y="172"/>
                  </a:lnTo>
                  <a:lnTo>
                    <a:pt x="329" y="172"/>
                  </a:lnTo>
                  <a:lnTo>
                    <a:pt x="331" y="175"/>
                  </a:lnTo>
                  <a:lnTo>
                    <a:pt x="332" y="178"/>
                  </a:lnTo>
                  <a:lnTo>
                    <a:pt x="336" y="180"/>
                  </a:lnTo>
                  <a:lnTo>
                    <a:pt x="336" y="180"/>
                  </a:lnTo>
                  <a:lnTo>
                    <a:pt x="354" y="179"/>
                  </a:lnTo>
                  <a:lnTo>
                    <a:pt x="354" y="179"/>
                  </a:lnTo>
                  <a:lnTo>
                    <a:pt x="363" y="179"/>
                  </a:lnTo>
                  <a:lnTo>
                    <a:pt x="364" y="180"/>
                  </a:lnTo>
                  <a:lnTo>
                    <a:pt x="365" y="183"/>
                  </a:lnTo>
                  <a:lnTo>
                    <a:pt x="365" y="183"/>
                  </a:lnTo>
                  <a:lnTo>
                    <a:pt x="364" y="187"/>
                  </a:lnTo>
                  <a:lnTo>
                    <a:pt x="361" y="191"/>
                  </a:lnTo>
                  <a:lnTo>
                    <a:pt x="357" y="197"/>
                  </a:lnTo>
                  <a:lnTo>
                    <a:pt x="356" y="198"/>
                  </a:lnTo>
                  <a:lnTo>
                    <a:pt x="353" y="198"/>
                  </a:lnTo>
                  <a:lnTo>
                    <a:pt x="353" y="198"/>
                  </a:lnTo>
                  <a:lnTo>
                    <a:pt x="351" y="200"/>
                  </a:lnTo>
                  <a:lnTo>
                    <a:pt x="350" y="201"/>
                  </a:lnTo>
                  <a:lnTo>
                    <a:pt x="349" y="207"/>
                  </a:lnTo>
                  <a:lnTo>
                    <a:pt x="350" y="212"/>
                  </a:lnTo>
                  <a:lnTo>
                    <a:pt x="350" y="215"/>
                  </a:lnTo>
                  <a:lnTo>
                    <a:pt x="353" y="215"/>
                  </a:lnTo>
                  <a:lnTo>
                    <a:pt x="353" y="215"/>
                  </a:lnTo>
                  <a:lnTo>
                    <a:pt x="354" y="215"/>
                  </a:lnTo>
                  <a:lnTo>
                    <a:pt x="356" y="214"/>
                  </a:lnTo>
                  <a:lnTo>
                    <a:pt x="358" y="209"/>
                  </a:lnTo>
                  <a:lnTo>
                    <a:pt x="361" y="205"/>
                  </a:lnTo>
                  <a:lnTo>
                    <a:pt x="364" y="202"/>
                  </a:lnTo>
                  <a:lnTo>
                    <a:pt x="364" y="202"/>
                  </a:lnTo>
                  <a:lnTo>
                    <a:pt x="365" y="205"/>
                  </a:lnTo>
                  <a:lnTo>
                    <a:pt x="367" y="212"/>
                  </a:lnTo>
                  <a:lnTo>
                    <a:pt x="369" y="233"/>
                  </a:lnTo>
                  <a:lnTo>
                    <a:pt x="369" y="233"/>
                  </a:lnTo>
                  <a:lnTo>
                    <a:pt x="372" y="232"/>
                  </a:lnTo>
                  <a:lnTo>
                    <a:pt x="372" y="232"/>
                  </a:lnTo>
                  <a:lnTo>
                    <a:pt x="374" y="232"/>
                  </a:lnTo>
                  <a:lnTo>
                    <a:pt x="374" y="230"/>
                  </a:lnTo>
                  <a:lnTo>
                    <a:pt x="375" y="225"/>
                  </a:lnTo>
                  <a:lnTo>
                    <a:pt x="375" y="219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8" y="211"/>
                  </a:lnTo>
                  <a:lnTo>
                    <a:pt x="378" y="207"/>
                  </a:lnTo>
                  <a:lnTo>
                    <a:pt x="379" y="201"/>
                  </a:lnTo>
                  <a:lnTo>
                    <a:pt x="379" y="200"/>
                  </a:lnTo>
                  <a:lnTo>
                    <a:pt x="379" y="200"/>
                  </a:lnTo>
                  <a:lnTo>
                    <a:pt x="386" y="201"/>
                  </a:lnTo>
                  <a:lnTo>
                    <a:pt x="390" y="201"/>
                  </a:lnTo>
                  <a:lnTo>
                    <a:pt x="392" y="201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3" y="197"/>
                  </a:lnTo>
                  <a:lnTo>
                    <a:pt x="394" y="191"/>
                  </a:lnTo>
                  <a:lnTo>
                    <a:pt x="397" y="186"/>
                  </a:lnTo>
                  <a:lnTo>
                    <a:pt x="397" y="182"/>
                  </a:lnTo>
                  <a:lnTo>
                    <a:pt x="397" y="182"/>
                  </a:lnTo>
                  <a:lnTo>
                    <a:pt x="397" y="176"/>
                  </a:lnTo>
                  <a:lnTo>
                    <a:pt x="399" y="172"/>
                  </a:lnTo>
                  <a:lnTo>
                    <a:pt x="401" y="168"/>
                  </a:lnTo>
                  <a:lnTo>
                    <a:pt x="401" y="162"/>
                  </a:lnTo>
                  <a:lnTo>
                    <a:pt x="401" y="162"/>
                  </a:lnTo>
                  <a:lnTo>
                    <a:pt x="403" y="158"/>
                  </a:lnTo>
                  <a:lnTo>
                    <a:pt x="406" y="155"/>
                  </a:lnTo>
                  <a:lnTo>
                    <a:pt x="412" y="150"/>
                  </a:lnTo>
                  <a:lnTo>
                    <a:pt x="412" y="150"/>
                  </a:lnTo>
                  <a:lnTo>
                    <a:pt x="419" y="144"/>
                  </a:lnTo>
                  <a:lnTo>
                    <a:pt x="424" y="143"/>
                  </a:lnTo>
                  <a:lnTo>
                    <a:pt x="425" y="143"/>
                  </a:lnTo>
                  <a:lnTo>
                    <a:pt x="425" y="144"/>
                  </a:lnTo>
                  <a:lnTo>
                    <a:pt x="425" y="144"/>
                  </a:lnTo>
                  <a:lnTo>
                    <a:pt x="428" y="146"/>
                  </a:lnTo>
                  <a:lnTo>
                    <a:pt x="431" y="147"/>
                  </a:lnTo>
                  <a:lnTo>
                    <a:pt x="433" y="147"/>
                  </a:lnTo>
                  <a:lnTo>
                    <a:pt x="433" y="146"/>
                  </a:lnTo>
                  <a:lnTo>
                    <a:pt x="432" y="144"/>
                  </a:lnTo>
                  <a:lnTo>
                    <a:pt x="432" y="144"/>
                  </a:lnTo>
                  <a:lnTo>
                    <a:pt x="431" y="140"/>
                  </a:lnTo>
                  <a:lnTo>
                    <a:pt x="429" y="137"/>
                  </a:lnTo>
                  <a:lnTo>
                    <a:pt x="429" y="134"/>
                  </a:lnTo>
                  <a:lnTo>
                    <a:pt x="431" y="133"/>
                  </a:lnTo>
                  <a:lnTo>
                    <a:pt x="431" y="133"/>
                  </a:lnTo>
                  <a:lnTo>
                    <a:pt x="432" y="132"/>
                  </a:lnTo>
                  <a:lnTo>
                    <a:pt x="433" y="129"/>
                  </a:lnTo>
                  <a:lnTo>
                    <a:pt x="435" y="126"/>
                  </a:lnTo>
                  <a:lnTo>
                    <a:pt x="435" y="126"/>
                  </a:lnTo>
                  <a:lnTo>
                    <a:pt x="431" y="125"/>
                  </a:lnTo>
                  <a:lnTo>
                    <a:pt x="428" y="123"/>
                  </a:lnTo>
                  <a:lnTo>
                    <a:pt x="425" y="121"/>
                  </a:lnTo>
                  <a:lnTo>
                    <a:pt x="425" y="121"/>
                  </a:lnTo>
                  <a:lnTo>
                    <a:pt x="422" y="116"/>
                  </a:lnTo>
                  <a:lnTo>
                    <a:pt x="419" y="114"/>
                  </a:lnTo>
                  <a:lnTo>
                    <a:pt x="419" y="111"/>
                  </a:lnTo>
                  <a:lnTo>
                    <a:pt x="419" y="111"/>
                  </a:lnTo>
                  <a:lnTo>
                    <a:pt x="418" y="109"/>
                  </a:lnTo>
                  <a:lnTo>
                    <a:pt x="417" y="109"/>
                  </a:lnTo>
                  <a:lnTo>
                    <a:pt x="411" y="112"/>
                  </a:lnTo>
                  <a:lnTo>
                    <a:pt x="411" y="112"/>
                  </a:lnTo>
                  <a:lnTo>
                    <a:pt x="408" y="112"/>
                  </a:lnTo>
                  <a:lnTo>
                    <a:pt x="403" y="112"/>
                  </a:lnTo>
                  <a:lnTo>
                    <a:pt x="399" y="111"/>
                  </a:lnTo>
                  <a:lnTo>
                    <a:pt x="393" y="112"/>
                  </a:lnTo>
                  <a:lnTo>
                    <a:pt x="393" y="112"/>
                  </a:lnTo>
                  <a:lnTo>
                    <a:pt x="388" y="116"/>
                  </a:lnTo>
                  <a:lnTo>
                    <a:pt x="385" y="119"/>
                  </a:lnTo>
                  <a:lnTo>
                    <a:pt x="382" y="121"/>
                  </a:lnTo>
                  <a:lnTo>
                    <a:pt x="379" y="121"/>
                  </a:lnTo>
                  <a:lnTo>
                    <a:pt x="379" y="121"/>
                  </a:lnTo>
                  <a:lnTo>
                    <a:pt x="376" y="122"/>
                  </a:lnTo>
                  <a:lnTo>
                    <a:pt x="375" y="123"/>
                  </a:lnTo>
                  <a:lnTo>
                    <a:pt x="372" y="128"/>
                  </a:lnTo>
                  <a:lnTo>
                    <a:pt x="372" y="128"/>
                  </a:lnTo>
                  <a:lnTo>
                    <a:pt x="368" y="132"/>
                  </a:lnTo>
                  <a:lnTo>
                    <a:pt x="365" y="134"/>
                  </a:lnTo>
                  <a:lnTo>
                    <a:pt x="365" y="134"/>
                  </a:lnTo>
                  <a:lnTo>
                    <a:pt x="361" y="136"/>
                  </a:lnTo>
                  <a:lnTo>
                    <a:pt x="357" y="137"/>
                  </a:lnTo>
                  <a:lnTo>
                    <a:pt x="357" y="137"/>
                  </a:lnTo>
                  <a:lnTo>
                    <a:pt x="360" y="143"/>
                  </a:lnTo>
                  <a:lnTo>
                    <a:pt x="360" y="147"/>
                  </a:lnTo>
                  <a:lnTo>
                    <a:pt x="360" y="151"/>
                  </a:lnTo>
                  <a:lnTo>
                    <a:pt x="360" y="151"/>
                  </a:lnTo>
                  <a:lnTo>
                    <a:pt x="357" y="153"/>
                  </a:lnTo>
                  <a:lnTo>
                    <a:pt x="353" y="153"/>
                  </a:lnTo>
                  <a:lnTo>
                    <a:pt x="349" y="153"/>
                  </a:lnTo>
                  <a:lnTo>
                    <a:pt x="343" y="153"/>
                  </a:lnTo>
                  <a:lnTo>
                    <a:pt x="343" y="153"/>
                  </a:lnTo>
                  <a:lnTo>
                    <a:pt x="339" y="153"/>
                  </a:lnTo>
                  <a:lnTo>
                    <a:pt x="336" y="153"/>
                  </a:lnTo>
                  <a:lnTo>
                    <a:pt x="332" y="151"/>
                  </a:lnTo>
                  <a:lnTo>
                    <a:pt x="329" y="151"/>
                  </a:lnTo>
                  <a:lnTo>
                    <a:pt x="329" y="151"/>
                  </a:lnTo>
                  <a:lnTo>
                    <a:pt x="325" y="151"/>
                  </a:lnTo>
                  <a:lnTo>
                    <a:pt x="322" y="151"/>
                  </a:lnTo>
                  <a:lnTo>
                    <a:pt x="321" y="150"/>
                  </a:lnTo>
                  <a:lnTo>
                    <a:pt x="318" y="150"/>
                  </a:lnTo>
                  <a:lnTo>
                    <a:pt x="318" y="150"/>
                  </a:lnTo>
                  <a:lnTo>
                    <a:pt x="317" y="148"/>
                  </a:lnTo>
                  <a:lnTo>
                    <a:pt x="314" y="146"/>
                  </a:lnTo>
                  <a:lnTo>
                    <a:pt x="314" y="143"/>
                  </a:lnTo>
                  <a:lnTo>
                    <a:pt x="314" y="139"/>
                  </a:lnTo>
                  <a:lnTo>
                    <a:pt x="314" y="139"/>
                  </a:lnTo>
                  <a:lnTo>
                    <a:pt x="314" y="134"/>
                  </a:lnTo>
                  <a:lnTo>
                    <a:pt x="313" y="132"/>
                  </a:lnTo>
                  <a:lnTo>
                    <a:pt x="310" y="129"/>
                  </a:lnTo>
                  <a:lnTo>
                    <a:pt x="308" y="130"/>
                  </a:lnTo>
                  <a:lnTo>
                    <a:pt x="308" y="130"/>
                  </a:lnTo>
                  <a:lnTo>
                    <a:pt x="307" y="133"/>
                  </a:lnTo>
                  <a:lnTo>
                    <a:pt x="304" y="133"/>
                  </a:lnTo>
                  <a:lnTo>
                    <a:pt x="303" y="134"/>
                  </a:lnTo>
                  <a:lnTo>
                    <a:pt x="303" y="137"/>
                  </a:lnTo>
                  <a:lnTo>
                    <a:pt x="303" y="137"/>
                  </a:lnTo>
                  <a:lnTo>
                    <a:pt x="303" y="147"/>
                  </a:lnTo>
                  <a:lnTo>
                    <a:pt x="303" y="151"/>
                  </a:lnTo>
                  <a:lnTo>
                    <a:pt x="301" y="154"/>
                  </a:lnTo>
                  <a:lnTo>
                    <a:pt x="301" y="154"/>
                  </a:lnTo>
                  <a:lnTo>
                    <a:pt x="296" y="157"/>
                  </a:lnTo>
                  <a:lnTo>
                    <a:pt x="288" y="158"/>
                  </a:lnTo>
                  <a:lnTo>
                    <a:pt x="279" y="158"/>
                  </a:lnTo>
                  <a:lnTo>
                    <a:pt x="275" y="157"/>
                  </a:lnTo>
                  <a:lnTo>
                    <a:pt x="275" y="157"/>
                  </a:lnTo>
                  <a:lnTo>
                    <a:pt x="270" y="154"/>
                  </a:lnTo>
                  <a:lnTo>
                    <a:pt x="263" y="153"/>
                  </a:lnTo>
                  <a:lnTo>
                    <a:pt x="257" y="151"/>
                  </a:lnTo>
                  <a:lnTo>
                    <a:pt x="254" y="148"/>
                  </a:lnTo>
                  <a:lnTo>
                    <a:pt x="254" y="148"/>
                  </a:lnTo>
                  <a:lnTo>
                    <a:pt x="250" y="143"/>
                  </a:lnTo>
                  <a:lnTo>
                    <a:pt x="249" y="140"/>
                  </a:lnTo>
                  <a:lnTo>
                    <a:pt x="246" y="140"/>
                  </a:lnTo>
                  <a:lnTo>
                    <a:pt x="246" y="140"/>
                  </a:lnTo>
                  <a:lnTo>
                    <a:pt x="238" y="141"/>
                  </a:lnTo>
                  <a:lnTo>
                    <a:pt x="233" y="143"/>
                  </a:lnTo>
                  <a:lnTo>
                    <a:pt x="231" y="143"/>
                  </a:lnTo>
                  <a:lnTo>
                    <a:pt x="231" y="143"/>
                  </a:lnTo>
                  <a:lnTo>
                    <a:pt x="225" y="139"/>
                  </a:lnTo>
                  <a:lnTo>
                    <a:pt x="221" y="136"/>
                  </a:lnTo>
                  <a:lnTo>
                    <a:pt x="218" y="134"/>
                  </a:lnTo>
                  <a:lnTo>
                    <a:pt x="218" y="134"/>
                  </a:lnTo>
                  <a:lnTo>
                    <a:pt x="210" y="133"/>
                  </a:lnTo>
                  <a:lnTo>
                    <a:pt x="207" y="130"/>
                  </a:lnTo>
                  <a:lnTo>
                    <a:pt x="206" y="129"/>
                  </a:lnTo>
                  <a:lnTo>
                    <a:pt x="206" y="129"/>
                  </a:lnTo>
                  <a:lnTo>
                    <a:pt x="204" y="128"/>
                  </a:lnTo>
                  <a:lnTo>
                    <a:pt x="200" y="126"/>
                  </a:lnTo>
                  <a:lnTo>
                    <a:pt x="196" y="125"/>
                  </a:lnTo>
                  <a:lnTo>
                    <a:pt x="193" y="122"/>
                  </a:lnTo>
                  <a:lnTo>
                    <a:pt x="193" y="122"/>
                  </a:lnTo>
                  <a:lnTo>
                    <a:pt x="192" y="121"/>
                  </a:lnTo>
                  <a:lnTo>
                    <a:pt x="189" y="119"/>
                  </a:lnTo>
                  <a:lnTo>
                    <a:pt x="186" y="118"/>
                  </a:lnTo>
                  <a:lnTo>
                    <a:pt x="185" y="116"/>
                  </a:lnTo>
                  <a:lnTo>
                    <a:pt x="185" y="116"/>
                  </a:lnTo>
                  <a:lnTo>
                    <a:pt x="186" y="111"/>
                  </a:lnTo>
                  <a:lnTo>
                    <a:pt x="188" y="104"/>
                  </a:lnTo>
                  <a:lnTo>
                    <a:pt x="188" y="104"/>
                  </a:lnTo>
                  <a:lnTo>
                    <a:pt x="189" y="101"/>
                  </a:lnTo>
                  <a:lnTo>
                    <a:pt x="192" y="100"/>
                  </a:lnTo>
                  <a:lnTo>
                    <a:pt x="195" y="97"/>
                  </a:lnTo>
                  <a:lnTo>
                    <a:pt x="196" y="94"/>
                  </a:lnTo>
                  <a:lnTo>
                    <a:pt x="196" y="94"/>
                  </a:lnTo>
                  <a:lnTo>
                    <a:pt x="195" y="93"/>
                  </a:lnTo>
                  <a:lnTo>
                    <a:pt x="192" y="90"/>
                  </a:lnTo>
                  <a:lnTo>
                    <a:pt x="189" y="87"/>
                  </a:lnTo>
                  <a:lnTo>
                    <a:pt x="189" y="87"/>
                  </a:lnTo>
                  <a:lnTo>
                    <a:pt x="186" y="84"/>
                  </a:lnTo>
                  <a:lnTo>
                    <a:pt x="183" y="82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76" y="79"/>
                  </a:lnTo>
                  <a:lnTo>
                    <a:pt x="172" y="75"/>
                  </a:lnTo>
                  <a:lnTo>
                    <a:pt x="170" y="72"/>
                  </a:lnTo>
                  <a:lnTo>
                    <a:pt x="167" y="71"/>
                  </a:lnTo>
                  <a:lnTo>
                    <a:pt x="167" y="71"/>
                  </a:lnTo>
                  <a:lnTo>
                    <a:pt x="164" y="69"/>
                  </a:lnTo>
                  <a:lnTo>
                    <a:pt x="163" y="65"/>
                  </a:lnTo>
                  <a:lnTo>
                    <a:pt x="163" y="61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0" y="55"/>
                  </a:lnTo>
                  <a:lnTo>
                    <a:pt x="160" y="53"/>
                  </a:lnTo>
                  <a:lnTo>
                    <a:pt x="161" y="51"/>
                  </a:lnTo>
                  <a:lnTo>
                    <a:pt x="164" y="51"/>
                  </a:lnTo>
                  <a:lnTo>
                    <a:pt x="164" y="51"/>
                  </a:lnTo>
                  <a:lnTo>
                    <a:pt x="168" y="53"/>
                  </a:lnTo>
                  <a:lnTo>
                    <a:pt x="172" y="53"/>
                  </a:lnTo>
                  <a:lnTo>
                    <a:pt x="174" y="50"/>
                  </a:lnTo>
                  <a:lnTo>
                    <a:pt x="175" y="48"/>
                  </a:lnTo>
                  <a:lnTo>
                    <a:pt x="174" y="46"/>
                  </a:lnTo>
                  <a:lnTo>
                    <a:pt x="174" y="46"/>
                  </a:lnTo>
                  <a:lnTo>
                    <a:pt x="168" y="39"/>
                  </a:lnTo>
                  <a:lnTo>
                    <a:pt x="165" y="35"/>
                  </a:lnTo>
                  <a:lnTo>
                    <a:pt x="165" y="32"/>
                  </a:lnTo>
                  <a:lnTo>
                    <a:pt x="165" y="32"/>
                  </a:lnTo>
                  <a:lnTo>
                    <a:pt x="167" y="25"/>
                  </a:lnTo>
                  <a:lnTo>
                    <a:pt x="167" y="21"/>
                  </a:lnTo>
                  <a:lnTo>
                    <a:pt x="165" y="19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58" y="12"/>
                  </a:lnTo>
                  <a:lnTo>
                    <a:pt x="157" y="10"/>
                  </a:lnTo>
                  <a:lnTo>
                    <a:pt x="156" y="7"/>
                  </a:lnTo>
                  <a:lnTo>
                    <a:pt x="156" y="7"/>
                  </a:lnTo>
                  <a:lnTo>
                    <a:pt x="154" y="4"/>
                  </a:lnTo>
                  <a:lnTo>
                    <a:pt x="151" y="1"/>
                  </a:lnTo>
                  <a:lnTo>
                    <a:pt x="149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0" y="5"/>
                  </a:lnTo>
                  <a:lnTo>
                    <a:pt x="139" y="10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29" y="14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0" y="18"/>
                  </a:lnTo>
                  <a:lnTo>
                    <a:pt x="117" y="18"/>
                  </a:lnTo>
                  <a:lnTo>
                    <a:pt x="110" y="16"/>
                  </a:lnTo>
                  <a:lnTo>
                    <a:pt x="104" y="14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3" y="14"/>
                  </a:lnTo>
                  <a:lnTo>
                    <a:pt x="90" y="16"/>
                  </a:lnTo>
                  <a:lnTo>
                    <a:pt x="89" y="19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92" y="25"/>
                  </a:lnTo>
                  <a:lnTo>
                    <a:pt x="92" y="30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5" y="44"/>
                  </a:lnTo>
                  <a:lnTo>
                    <a:pt x="97" y="50"/>
                  </a:lnTo>
                  <a:lnTo>
                    <a:pt x="100" y="51"/>
                  </a:lnTo>
                  <a:lnTo>
                    <a:pt x="102" y="51"/>
                  </a:lnTo>
                  <a:lnTo>
                    <a:pt x="102" y="51"/>
                  </a:lnTo>
                  <a:lnTo>
                    <a:pt x="106" y="51"/>
                  </a:lnTo>
                  <a:lnTo>
                    <a:pt x="108" y="54"/>
                  </a:lnTo>
                  <a:lnTo>
                    <a:pt x="111" y="57"/>
                  </a:lnTo>
                  <a:lnTo>
                    <a:pt x="110" y="58"/>
                  </a:lnTo>
                  <a:lnTo>
                    <a:pt x="108" y="58"/>
                  </a:lnTo>
                  <a:lnTo>
                    <a:pt x="108" y="58"/>
                  </a:lnTo>
                  <a:lnTo>
                    <a:pt x="106" y="60"/>
                  </a:lnTo>
                  <a:lnTo>
                    <a:pt x="103" y="62"/>
                  </a:lnTo>
                  <a:lnTo>
                    <a:pt x="102" y="66"/>
                  </a:lnTo>
                  <a:lnTo>
                    <a:pt x="102" y="71"/>
                  </a:lnTo>
                  <a:lnTo>
                    <a:pt x="102" y="71"/>
                  </a:lnTo>
                  <a:lnTo>
                    <a:pt x="100" y="78"/>
                  </a:lnTo>
                  <a:lnTo>
                    <a:pt x="100" y="80"/>
                  </a:lnTo>
                  <a:lnTo>
                    <a:pt x="97" y="82"/>
                  </a:lnTo>
                  <a:lnTo>
                    <a:pt x="97" y="82"/>
                  </a:lnTo>
                  <a:lnTo>
                    <a:pt x="95" y="82"/>
                  </a:lnTo>
                  <a:lnTo>
                    <a:pt x="93" y="83"/>
                  </a:lnTo>
                  <a:lnTo>
                    <a:pt x="90" y="86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93"/>
                  </a:lnTo>
                  <a:lnTo>
                    <a:pt x="89" y="94"/>
                  </a:lnTo>
                  <a:lnTo>
                    <a:pt x="86" y="96"/>
                  </a:lnTo>
                  <a:lnTo>
                    <a:pt x="83" y="97"/>
                  </a:lnTo>
                  <a:lnTo>
                    <a:pt x="81" y="98"/>
                  </a:lnTo>
                  <a:lnTo>
                    <a:pt x="81" y="98"/>
                  </a:lnTo>
                  <a:lnTo>
                    <a:pt x="78" y="107"/>
                  </a:lnTo>
                  <a:lnTo>
                    <a:pt x="75" y="115"/>
                  </a:lnTo>
                  <a:lnTo>
                    <a:pt x="75" y="115"/>
                  </a:lnTo>
                  <a:lnTo>
                    <a:pt x="68" y="116"/>
                  </a:lnTo>
                  <a:lnTo>
                    <a:pt x="64" y="119"/>
                  </a:lnTo>
                  <a:lnTo>
                    <a:pt x="63" y="121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6"/>
                  </a:lnTo>
                  <a:lnTo>
                    <a:pt x="58" y="130"/>
                  </a:lnTo>
                  <a:lnTo>
                    <a:pt x="56" y="133"/>
                  </a:lnTo>
                  <a:lnTo>
                    <a:pt x="53" y="134"/>
                  </a:lnTo>
                  <a:lnTo>
                    <a:pt x="53" y="134"/>
                  </a:lnTo>
                  <a:lnTo>
                    <a:pt x="47" y="133"/>
                  </a:lnTo>
                  <a:lnTo>
                    <a:pt x="45" y="133"/>
                  </a:lnTo>
                  <a:lnTo>
                    <a:pt x="43" y="134"/>
                  </a:lnTo>
                  <a:lnTo>
                    <a:pt x="43" y="134"/>
                  </a:lnTo>
                  <a:lnTo>
                    <a:pt x="42" y="136"/>
                  </a:lnTo>
                  <a:lnTo>
                    <a:pt x="40" y="136"/>
                  </a:lnTo>
                  <a:lnTo>
                    <a:pt x="36" y="134"/>
                  </a:lnTo>
                  <a:lnTo>
                    <a:pt x="33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24" y="140"/>
                  </a:lnTo>
                  <a:lnTo>
                    <a:pt x="21" y="144"/>
                  </a:lnTo>
                  <a:lnTo>
                    <a:pt x="20" y="148"/>
                  </a:lnTo>
                  <a:lnTo>
                    <a:pt x="20" y="148"/>
                  </a:lnTo>
                  <a:lnTo>
                    <a:pt x="20" y="150"/>
                  </a:lnTo>
                  <a:lnTo>
                    <a:pt x="21" y="151"/>
                  </a:lnTo>
                  <a:lnTo>
                    <a:pt x="24" y="154"/>
                  </a:lnTo>
                  <a:lnTo>
                    <a:pt x="28" y="155"/>
                  </a:lnTo>
                  <a:lnTo>
                    <a:pt x="29" y="158"/>
                  </a:lnTo>
                  <a:lnTo>
                    <a:pt x="29" y="159"/>
                  </a:lnTo>
                  <a:lnTo>
                    <a:pt x="29" y="159"/>
                  </a:lnTo>
                  <a:lnTo>
                    <a:pt x="29" y="164"/>
                  </a:lnTo>
                  <a:lnTo>
                    <a:pt x="31" y="169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40" y="183"/>
                  </a:lnTo>
                  <a:lnTo>
                    <a:pt x="42" y="186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39" y="191"/>
                  </a:lnTo>
                  <a:lnTo>
                    <a:pt x="36" y="193"/>
                  </a:lnTo>
                  <a:lnTo>
                    <a:pt x="29" y="193"/>
                  </a:lnTo>
                  <a:lnTo>
                    <a:pt x="29" y="193"/>
                  </a:lnTo>
                  <a:lnTo>
                    <a:pt x="27" y="193"/>
                  </a:lnTo>
                  <a:lnTo>
                    <a:pt x="24" y="193"/>
                  </a:lnTo>
                  <a:lnTo>
                    <a:pt x="21" y="194"/>
                  </a:lnTo>
                  <a:lnTo>
                    <a:pt x="15" y="194"/>
                  </a:lnTo>
                  <a:lnTo>
                    <a:pt x="15" y="194"/>
                  </a:lnTo>
                  <a:lnTo>
                    <a:pt x="8" y="194"/>
                  </a:lnTo>
                  <a:lnTo>
                    <a:pt x="6" y="196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6" y="211"/>
                  </a:lnTo>
                  <a:lnTo>
                    <a:pt x="10" y="215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7" y="219"/>
                  </a:lnTo>
                  <a:lnTo>
                    <a:pt x="21" y="219"/>
                  </a:lnTo>
                  <a:lnTo>
                    <a:pt x="27" y="218"/>
                  </a:lnTo>
                  <a:lnTo>
                    <a:pt x="29" y="216"/>
                  </a:lnTo>
                  <a:lnTo>
                    <a:pt x="31" y="216"/>
                  </a:lnTo>
                  <a:lnTo>
                    <a:pt x="31" y="219"/>
                  </a:lnTo>
                  <a:lnTo>
                    <a:pt x="31" y="219"/>
                  </a:lnTo>
                  <a:lnTo>
                    <a:pt x="31" y="221"/>
                  </a:lnTo>
                  <a:lnTo>
                    <a:pt x="28" y="222"/>
                  </a:lnTo>
                  <a:lnTo>
                    <a:pt x="21" y="225"/>
                  </a:lnTo>
                  <a:lnTo>
                    <a:pt x="13" y="225"/>
                  </a:lnTo>
                  <a:lnTo>
                    <a:pt x="10" y="226"/>
                  </a:lnTo>
                  <a:lnTo>
                    <a:pt x="10" y="226"/>
                  </a:lnTo>
                  <a:lnTo>
                    <a:pt x="13" y="232"/>
                  </a:lnTo>
                  <a:lnTo>
                    <a:pt x="22" y="241"/>
                  </a:lnTo>
                  <a:lnTo>
                    <a:pt x="32" y="250"/>
                  </a:lnTo>
                  <a:lnTo>
                    <a:pt x="38" y="252"/>
                  </a:lnTo>
                  <a:lnTo>
                    <a:pt x="43" y="254"/>
                  </a:lnTo>
                  <a:lnTo>
                    <a:pt x="43" y="254"/>
                  </a:lnTo>
                  <a:lnTo>
                    <a:pt x="47" y="252"/>
                  </a:lnTo>
                  <a:lnTo>
                    <a:pt x="50" y="250"/>
                  </a:lnTo>
                  <a:lnTo>
                    <a:pt x="57" y="246"/>
                  </a:lnTo>
                  <a:lnTo>
                    <a:pt x="60" y="240"/>
                  </a:lnTo>
                  <a:lnTo>
                    <a:pt x="60" y="239"/>
                  </a:lnTo>
                  <a:lnTo>
                    <a:pt x="60" y="237"/>
                  </a:lnTo>
                  <a:lnTo>
                    <a:pt x="60" y="237"/>
                  </a:lnTo>
                  <a:lnTo>
                    <a:pt x="58" y="234"/>
                  </a:lnTo>
                  <a:lnTo>
                    <a:pt x="60" y="232"/>
                  </a:lnTo>
                  <a:lnTo>
                    <a:pt x="61" y="229"/>
                  </a:lnTo>
                  <a:lnTo>
                    <a:pt x="64" y="229"/>
                  </a:lnTo>
                  <a:lnTo>
                    <a:pt x="64" y="229"/>
                  </a:lnTo>
                  <a:lnTo>
                    <a:pt x="65" y="232"/>
                  </a:lnTo>
                  <a:lnTo>
                    <a:pt x="65" y="237"/>
                  </a:lnTo>
                  <a:lnTo>
                    <a:pt x="67" y="241"/>
                  </a:lnTo>
                  <a:lnTo>
                    <a:pt x="68" y="246"/>
                  </a:lnTo>
                  <a:lnTo>
                    <a:pt x="68" y="246"/>
                  </a:lnTo>
                  <a:lnTo>
                    <a:pt x="70" y="248"/>
                  </a:lnTo>
                  <a:lnTo>
                    <a:pt x="70" y="251"/>
                  </a:lnTo>
                  <a:lnTo>
                    <a:pt x="68" y="259"/>
                  </a:lnTo>
                  <a:lnTo>
                    <a:pt x="68" y="259"/>
                  </a:lnTo>
                  <a:lnTo>
                    <a:pt x="67" y="265"/>
                  </a:lnTo>
                  <a:lnTo>
                    <a:pt x="68" y="272"/>
                  </a:lnTo>
                  <a:lnTo>
                    <a:pt x="71" y="286"/>
                  </a:lnTo>
                  <a:lnTo>
                    <a:pt x="71" y="286"/>
                  </a:lnTo>
                  <a:lnTo>
                    <a:pt x="74" y="298"/>
                  </a:lnTo>
                  <a:lnTo>
                    <a:pt x="78" y="314"/>
                  </a:lnTo>
                  <a:lnTo>
                    <a:pt x="78" y="314"/>
                  </a:lnTo>
                  <a:lnTo>
                    <a:pt x="81" y="323"/>
                  </a:lnTo>
                  <a:lnTo>
                    <a:pt x="83" y="334"/>
                  </a:lnTo>
                  <a:lnTo>
                    <a:pt x="88" y="345"/>
                  </a:lnTo>
                  <a:lnTo>
                    <a:pt x="93" y="357"/>
                  </a:lnTo>
                  <a:lnTo>
                    <a:pt x="93" y="357"/>
                  </a:lnTo>
                  <a:lnTo>
                    <a:pt x="97" y="366"/>
                  </a:lnTo>
                  <a:lnTo>
                    <a:pt x="102" y="379"/>
                  </a:lnTo>
                  <a:lnTo>
                    <a:pt x="104" y="390"/>
                  </a:lnTo>
                  <a:lnTo>
                    <a:pt x="108" y="397"/>
                  </a:lnTo>
                  <a:lnTo>
                    <a:pt x="108" y="397"/>
                  </a:lnTo>
                  <a:lnTo>
                    <a:pt x="117" y="411"/>
                  </a:lnTo>
                  <a:lnTo>
                    <a:pt x="121" y="420"/>
                  </a:lnTo>
                  <a:lnTo>
                    <a:pt x="122" y="429"/>
                  </a:lnTo>
                  <a:lnTo>
                    <a:pt x="122" y="429"/>
                  </a:lnTo>
                  <a:lnTo>
                    <a:pt x="124" y="433"/>
                  </a:lnTo>
                  <a:lnTo>
                    <a:pt x="125" y="437"/>
                  </a:lnTo>
                  <a:lnTo>
                    <a:pt x="129" y="445"/>
                  </a:lnTo>
                  <a:lnTo>
                    <a:pt x="133" y="452"/>
                  </a:lnTo>
                  <a:lnTo>
                    <a:pt x="138" y="457"/>
                  </a:lnTo>
                  <a:lnTo>
                    <a:pt x="138" y="457"/>
                  </a:lnTo>
                  <a:lnTo>
                    <a:pt x="142" y="458"/>
                  </a:lnTo>
                  <a:lnTo>
                    <a:pt x="146" y="455"/>
                  </a:lnTo>
                  <a:lnTo>
                    <a:pt x="150" y="452"/>
                  </a:lnTo>
                  <a:lnTo>
                    <a:pt x="153" y="447"/>
                  </a:lnTo>
                  <a:lnTo>
                    <a:pt x="153" y="447"/>
                  </a:lnTo>
                  <a:lnTo>
                    <a:pt x="156" y="443"/>
                  </a:lnTo>
                  <a:lnTo>
                    <a:pt x="161" y="440"/>
                  </a:lnTo>
                  <a:lnTo>
                    <a:pt x="165" y="437"/>
                  </a:lnTo>
                  <a:lnTo>
                    <a:pt x="167" y="434"/>
                  </a:lnTo>
                  <a:lnTo>
                    <a:pt x="167" y="433"/>
                  </a:lnTo>
                  <a:lnTo>
                    <a:pt x="167" y="433"/>
                  </a:lnTo>
                  <a:lnTo>
                    <a:pt x="170" y="426"/>
                  </a:lnTo>
                  <a:lnTo>
                    <a:pt x="171" y="423"/>
                  </a:lnTo>
                  <a:lnTo>
                    <a:pt x="174" y="422"/>
                  </a:lnTo>
                  <a:lnTo>
                    <a:pt x="174" y="422"/>
                  </a:lnTo>
                  <a:lnTo>
                    <a:pt x="175" y="420"/>
                  </a:lnTo>
                  <a:lnTo>
                    <a:pt x="176" y="419"/>
                  </a:lnTo>
                  <a:lnTo>
                    <a:pt x="178" y="411"/>
                  </a:lnTo>
                  <a:lnTo>
                    <a:pt x="178" y="411"/>
                  </a:lnTo>
                  <a:lnTo>
                    <a:pt x="178" y="401"/>
                  </a:lnTo>
                  <a:lnTo>
                    <a:pt x="179" y="395"/>
                  </a:lnTo>
                  <a:lnTo>
                    <a:pt x="182" y="391"/>
                  </a:lnTo>
                  <a:lnTo>
                    <a:pt x="182" y="391"/>
                  </a:lnTo>
                  <a:lnTo>
                    <a:pt x="185" y="386"/>
                  </a:lnTo>
                  <a:lnTo>
                    <a:pt x="186" y="379"/>
                  </a:lnTo>
                  <a:lnTo>
                    <a:pt x="186" y="372"/>
                  </a:lnTo>
                  <a:lnTo>
                    <a:pt x="185" y="366"/>
                  </a:lnTo>
                  <a:lnTo>
                    <a:pt x="185" y="366"/>
                  </a:lnTo>
                  <a:lnTo>
                    <a:pt x="183" y="361"/>
                  </a:lnTo>
                  <a:lnTo>
                    <a:pt x="183" y="355"/>
                  </a:lnTo>
                  <a:lnTo>
                    <a:pt x="186" y="345"/>
                  </a:lnTo>
                  <a:lnTo>
                    <a:pt x="186" y="345"/>
                  </a:lnTo>
                  <a:lnTo>
                    <a:pt x="188" y="337"/>
                  </a:lnTo>
                  <a:lnTo>
                    <a:pt x="189" y="334"/>
                  </a:lnTo>
                  <a:lnTo>
                    <a:pt x="192" y="333"/>
                  </a:lnTo>
                  <a:lnTo>
                    <a:pt x="192" y="333"/>
                  </a:lnTo>
                  <a:lnTo>
                    <a:pt x="195" y="332"/>
                  </a:lnTo>
                  <a:lnTo>
                    <a:pt x="199" y="330"/>
                  </a:lnTo>
                  <a:lnTo>
                    <a:pt x="203" y="326"/>
                  </a:lnTo>
                  <a:lnTo>
                    <a:pt x="207" y="322"/>
                  </a:lnTo>
                  <a:lnTo>
                    <a:pt x="207" y="322"/>
                  </a:lnTo>
                  <a:lnTo>
                    <a:pt x="211" y="318"/>
                  </a:lnTo>
                  <a:lnTo>
                    <a:pt x="218" y="312"/>
                  </a:lnTo>
                  <a:lnTo>
                    <a:pt x="231" y="304"/>
                  </a:lnTo>
                  <a:lnTo>
                    <a:pt x="231" y="304"/>
                  </a:lnTo>
                  <a:lnTo>
                    <a:pt x="243" y="291"/>
                  </a:lnTo>
                  <a:lnTo>
                    <a:pt x="250" y="284"/>
                  </a:lnTo>
                  <a:lnTo>
                    <a:pt x="256" y="277"/>
                  </a:lnTo>
                  <a:lnTo>
                    <a:pt x="256" y="277"/>
                  </a:lnTo>
                  <a:lnTo>
                    <a:pt x="261" y="273"/>
                  </a:lnTo>
                  <a:lnTo>
                    <a:pt x="267" y="269"/>
                  </a:lnTo>
                  <a:lnTo>
                    <a:pt x="274" y="266"/>
                  </a:lnTo>
                  <a:lnTo>
                    <a:pt x="279" y="262"/>
                  </a:lnTo>
                  <a:lnTo>
                    <a:pt x="279" y="262"/>
                  </a:lnTo>
                  <a:lnTo>
                    <a:pt x="283" y="258"/>
                  </a:lnTo>
                  <a:lnTo>
                    <a:pt x="283" y="254"/>
                  </a:lnTo>
                  <a:lnTo>
                    <a:pt x="285" y="246"/>
                  </a:lnTo>
                  <a:lnTo>
                    <a:pt x="285" y="246"/>
                  </a:lnTo>
                  <a:lnTo>
                    <a:pt x="286" y="243"/>
                  </a:lnTo>
                  <a:lnTo>
                    <a:pt x="289" y="241"/>
                  </a:lnTo>
                  <a:lnTo>
                    <a:pt x="296" y="239"/>
                  </a:lnTo>
                  <a:lnTo>
                    <a:pt x="306" y="236"/>
                  </a:lnTo>
                  <a:lnTo>
                    <a:pt x="313" y="236"/>
                  </a:lnTo>
                  <a:lnTo>
                    <a:pt x="313" y="236"/>
                  </a:lnTo>
                  <a:lnTo>
                    <a:pt x="317" y="236"/>
                  </a:lnTo>
                  <a:lnTo>
                    <a:pt x="317" y="236"/>
                  </a:lnTo>
                  <a:lnTo>
                    <a:pt x="315" y="227"/>
                  </a:lnTo>
                  <a:lnTo>
                    <a:pt x="314" y="219"/>
                  </a:lnTo>
                  <a:lnTo>
                    <a:pt x="311" y="207"/>
                  </a:lnTo>
                  <a:lnTo>
                    <a:pt x="311" y="207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51"/>
            <p:cNvSpPr>
              <a:spLocks/>
            </p:cNvSpPr>
            <p:nvPr/>
          </p:nvSpPr>
          <p:spPr bwMode="auto">
            <a:xfrm>
              <a:off x="6767513" y="2554288"/>
              <a:ext cx="779463" cy="333375"/>
            </a:xfrm>
            <a:custGeom>
              <a:avLst/>
              <a:gdLst>
                <a:gd name="T0" fmla="*/ 456 w 491"/>
                <a:gd name="T1" fmla="*/ 90 h 210"/>
                <a:gd name="T2" fmla="*/ 441 w 491"/>
                <a:gd name="T3" fmla="*/ 88 h 210"/>
                <a:gd name="T4" fmla="*/ 425 w 491"/>
                <a:gd name="T5" fmla="*/ 88 h 210"/>
                <a:gd name="T6" fmla="*/ 441 w 491"/>
                <a:gd name="T7" fmla="*/ 46 h 210"/>
                <a:gd name="T8" fmla="*/ 417 w 491"/>
                <a:gd name="T9" fmla="*/ 45 h 210"/>
                <a:gd name="T10" fmla="*/ 396 w 491"/>
                <a:gd name="T11" fmla="*/ 42 h 210"/>
                <a:gd name="T12" fmla="*/ 382 w 491"/>
                <a:gd name="T13" fmla="*/ 52 h 210"/>
                <a:gd name="T14" fmla="*/ 360 w 491"/>
                <a:gd name="T15" fmla="*/ 57 h 210"/>
                <a:gd name="T16" fmla="*/ 334 w 491"/>
                <a:gd name="T17" fmla="*/ 60 h 210"/>
                <a:gd name="T18" fmla="*/ 311 w 491"/>
                <a:gd name="T19" fmla="*/ 57 h 210"/>
                <a:gd name="T20" fmla="*/ 302 w 491"/>
                <a:gd name="T21" fmla="*/ 47 h 210"/>
                <a:gd name="T22" fmla="*/ 289 w 491"/>
                <a:gd name="T23" fmla="*/ 40 h 210"/>
                <a:gd name="T24" fmla="*/ 274 w 491"/>
                <a:gd name="T25" fmla="*/ 38 h 210"/>
                <a:gd name="T26" fmla="*/ 248 w 491"/>
                <a:gd name="T27" fmla="*/ 36 h 210"/>
                <a:gd name="T28" fmla="*/ 230 w 491"/>
                <a:gd name="T29" fmla="*/ 39 h 210"/>
                <a:gd name="T30" fmla="*/ 213 w 491"/>
                <a:gd name="T31" fmla="*/ 31 h 210"/>
                <a:gd name="T32" fmla="*/ 211 w 491"/>
                <a:gd name="T33" fmla="*/ 17 h 210"/>
                <a:gd name="T34" fmla="*/ 185 w 491"/>
                <a:gd name="T35" fmla="*/ 7 h 210"/>
                <a:gd name="T36" fmla="*/ 163 w 491"/>
                <a:gd name="T37" fmla="*/ 0 h 210"/>
                <a:gd name="T38" fmla="*/ 153 w 491"/>
                <a:gd name="T39" fmla="*/ 8 h 210"/>
                <a:gd name="T40" fmla="*/ 143 w 491"/>
                <a:gd name="T41" fmla="*/ 17 h 210"/>
                <a:gd name="T42" fmla="*/ 149 w 491"/>
                <a:gd name="T43" fmla="*/ 33 h 210"/>
                <a:gd name="T44" fmla="*/ 138 w 491"/>
                <a:gd name="T45" fmla="*/ 46 h 210"/>
                <a:gd name="T46" fmla="*/ 124 w 491"/>
                <a:gd name="T47" fmla="*/ 45 h 210"/>
                <a:gd name="T48" fmla="*/ 105 w 491"/>
                <a:gd name="T49" fmla="*/ 43 h 210"/>
                <a:gd name="T50" fmla="*/ 93 w 491"/>
                <a:gd name="T51" fmla="*/ 32 h 210"/>
                <a:gd name="T52" fmla="*/ 62 w 491"/>
                <a:gd name="T53" fmla="*/ 28 h 210"/>
                <a:gd name="T54" fmla="*/ 50 w 491"/>
                <a:gd name="T55" fmla="*/ 35 h 210"/>
                <a:gd name="T56" fmla="*/ 37 w 491"/>
                <a:gd name="T57" fmla="*/ 43 h 210"/>
                <a:gd name="T58" fmla="*/ 21 w 491"/>
                <a:gd name="T59" fmla="*/ 53 h 210"/>
                <a:gd name="T60" fmla="*/ 3 w 491"/>
                <a:gd name="T61" fmla="*/ 58 h 210"/>
                <a:gd name="T62" fmla="*/ 2 w 491"/>
                <a:gd name="T63" fmla="*/ 68 h 210"/>
                <a:gd name="T64" fmla="*/ 25 w 491"/>
                <a:gd name="T65" fmla="*/ 83 h 210"/>
                <a:gd name="T66" fmla="*/ 39 w 491"/>
                <a:gd name="T67" fmla="*/ 95 h 210"/>
                <a:gd name="T68" fmla="*/ 48 w 491"/>
                <a:gd name="T69" fmla="*/ 113 h 210"/>
                <a:gd name="T70" fmla="*/ 43 w 491"/>
                <a:gd name="T71" fmla="*/ 135 h 210"/>
                <a:gd name="T72" fmla="*/ 78 w 491"/>
                <a:gd name="T73" fmla="*/ 143 h 210"/>
                <a:gd name="T74" fmla="*/ 89 w 491"/>
                <a:gd name="T75" fmla="*/ 150 h 210"/>
                <a:gd name="T76" fmla="*/ 103 w 491"/>
                <a:gd name="T77" fmla="*/ 158 h 210"/>
                <a:gd name="T78" fmla="*/ 117 w 491"/>
                <a:gd name="T79" fmla="*/ 181 h 210"/>
                <a:gd name="T80" fmla="*/ 128 w 491"/>
                <a:gd name="T81" fmla="*/ 189 h 210"/>
                <a:gd name="T82" fmla="*/ 192 w 491"/>
                <a:gd name="T83" fmla="*/ 192 h 210"/>
                <a:gd name="T84" fmla="*/ 220 w 491"/>
                <a:gd name="T85" fmla="*/ 199 h 210"/>
                <a:gd name="T86" fmla="*/ 241 w 491"/>
                <a:gd name="T87" fmla="*/ 204 h 210"/>
                <a:gd name="T88" fmla="*/ 257 w 491"/>
                <a:gd name="T89" fmla="*/ 210 h 210"/>
                <a:gd name="T90" fmla="*/ 289 w 491"/>
                <a:gd name="T91" fmla="*/ 193 h 210"/>
                <a:gd name="T92" fmla="*/ 336 w 491"/>
                <a:gd name="T93" fmla="*/ 189 h 210"/>
                <a:gd name="T94" fmla="*/ 361 w 491"/>
                <a:gd name="T95" fmla="*/ 171 h 210"/>
                <a:gd name="T96" fmla="*/ 357 w 491"/>
                <a:gd name="T97" fmla="*/ 151 h 210"/>
                <a:gd name="T98" fmla="*/ 373 w 491"/>
                <a:gd name="T99" fmla="*/ 146 h 210"/>
                <a:gd name="T100" fmla="*/ 399 w 491"/>
                <a:gd name="T101" fmla="*/ 143 h 210"/>
                <a:gd name="T102" fmla="*/ 429 w 491"/>
                <a:gd name="T103" fmla="*/ 132 h 210"/>
                <a:gd name="T104" fmla="*/ 450 w 491"/>
                <a:gd name="T105" fmla="*/ 115 h 210"/>
                <a:gd name="T106" fmla="*/ 475 w 491"/>
                <a:gd name="T107" fmla="*/ 111 h 210"/>
                <a:gd name="T108" fmla="*/ 491 w 491"/>
                <a:gd name="T109" fmla="*/ 110 h 210"/>
                <a:gd name="T110" fmla="*/ 471 w 491"/>
                <a:gd name="T111" fmla="*/ 8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1" h="210">
                  <a:moveTo>
                    <a:pt x="471" y="88"/>
                  </a:moveTo>
                  <a:lnTo>
                    <a:pt x="471" y="88"/>
                  </a:lnTo>
                  <a:lnTo>
                    <a:pt x="467" y="85"/>
                  </a:lnTo>
                  <a:lnTo>
                    <a:pt x="463" y="85"/>
                  </a:lnTo>
                  <a:lnTo>
                    <a:pt x="459" y="86"/>
                  </a:lnTo>
                  <a:lnTo>
                    <a:pt x="456" y="90"/>
                  </a:lnTo>
                  <a:lnTo>
                    <a:pt x="456" y="90"/>
                  </a:lnTo>
                  <a:lnTo>
                    <a:pt x="454" y="92"/>
                  </a:lnTo>
                  <a:lnTo>
                    <a:pt x="454" y="92"/>
                  </a:lnTo>
                  <a:lnTo>
                    <a:pt x="450" y="90"/>
                  </a:lnTo>
                  <a:lnTo>
                    <a:pt x="446" y="89"/>
                  </a:lnTo>
                  <a:lnTo>
                    <a:pt x="441" y="88"/>
                  </a:lnTo>
                  <a:lnTo>
                    <a:pt x="441" y="88"/>
                  </a:lnTo>
                  <a:lnTo>
                    <a:pt x="435" y="89"/>
                  </a:lnTo>
                  <a:lnTo>
                    <a:pt x="431" y="90"/>
                  </a:lnTo>
                  <a:lnTo>
                    <a:pt x="428" y="90"/>
                  </a:lnTo>
                  <a:lnTo>
                    <a:pt x="425" y="88"/>
                  </a:lnTo>
                  <a:lnTo>
                    <a:pt x="425" y="88"/>
                  </a:lnTo>
                  <a:lnTo>
                    <a:pt x="422" y="83"/>
                  </a:lnTo>
                  <a:lnTo>
                    <a:pt x="424" y="81"/>
                  </a:lnTo>
                  <a:lnTo>
                    <a:pt x="427" y="79"/>
                  </a:lnTo>
                  <a:lnTo>
                    <a:pt x="428" y="71"/>
                  </a:lnTo>
                  <a:lnTo>
                    <a:pt x="441" y="46"/>
                  </a:lnTo>
                  <a:lnTo>
                    <a:pt x="441" y="46"/>
                  </a:lnTo>
                  <a:lnTo>
                    <a:pt x="434" y="45"/>
                  </a:lnTo>
                  <a:lnTo>
                    <a:pt x="429" y="45"/>
                  </a:lnTo>
                  <a:lnTo>
                    <a:pt x="429" y="45"/>
                  </a:lnTo>
                  <a:lnTo>
                    <a:pt x="425" y="46"/>
                  </a:lnTo>
                  <a:lnTo>
                    <a:pt x="421" y="45"/>
                  </a:lnTo>
                  <a:lnTo>
                    <a:pt x="417" y="45"/>
                  </a:lnTo>
                  <a:lnTo>
                    <a:pt x="416" y="42"/>
                  </a:lnTo>
                  <a:lnTo>
                    <a:pt x="416" y="42"/>
                  </a:lnTo>
                  <a:lnTo>
                    <a:pt x="413" y="40"/>
                  </a:lnTo>
                  <a:lnTo>
                    <a:pt x="407" y="39"/>
                  </a:lnTo>
                  <a:lnTo>
                    <a:pt x="400" y="39"/>
                  </a:lnTo>
                  <a:lnTo>
                    <a:pt x="396" y="42"/>
                  </a:lnTo>
                  <a:lnTo>
                    <a:pt x="396" y="42"/>
                  </a:lnTo>
                  <a:lnTo>
                    <a:pt x="389" y="45"/>
                  </a:lnTo>
                  <a:lnTo>
                    <a:pt x="385" y="47"/>
                  </a:lnTo>
                  <a:lnTo>
                    <a:pt x="384" y="50"/>
                  </a:lnTo>
                  <a:lnTo>
                    <a:pt x="384" y="50"/>
                  </a:lnTo>
                  <a:lnTo>
                    <a:pt x="382" y="52"/>
                  </a:lnTo>
                  <a:lnTo>
                    <a:pt x="378" y="52"/>
                  </a:lnTo>
                  <a:lnTo>
                    <a:pt x="374" y="53"/>
                  </a:lnTo>
                  <a:lnTo>
                    <a:pt x="371" y="54"/>
                  </a:lnTo>
                  <a:lnTo>
                    <a:pt x="371" y="54"/>
                  </a:lnTo>
                  <a:lnTo>
                    <a:pt x="367" y="56"/>
                  </a:lnTo>
                  <a:lnTo>
                    <a:pt x="360" y="57"/>
                  </a:lnTo>
                  <a:lnTo>
                    <a:pt x="353" y="58"/>
                  </a:lnTo>
                  <a:lnTo>
                    <a:pt x="350" y="60"/>
                  </a:lnTo>
                  <a:lnTo>
                    <a:pt x="350" y="60"/>
                  </a:lnTo>
                  <a:lnTo>
                    <a:pt x="348" y="60"/>
                  </a:lnTo>
                  <a:lnTo>
                    <a:pt x="341" y="61"/>
                  </a:lnTo>
                  <a:lnTo>
                    <a:pt x="334" y="60"/>
                  </a:lnTo>
                  <a:lnTo>
                    <a:pt x="329" y="60"/>
                  </a:lnTo>
                  <a:lnTo>
                    <a:pt x="329" y="60"/>
                  </a:lnTo>
                  <a:lnTo>
                    <a:pt x="325" y="58"/>
                  </a:lnTo>
                  <a:lnTo>
                    <a:pt x="320" y="58"/>
                  </a:lnTo>
                  <a:lnTo>
                    <a:pt x="313" y="57"/>
                  </a:lnTo>
                  <a:lnTo>
                    <a:pt x="311" y="57"/>
                  </a:lnTo>
                  <a:lnTo>
                    <a:pt x="310" y="56"/>
                  </a:lnTo>
                  <a:lnTo>
                    <a:pt x="310" y="56"/>
                  </a:lnTo>
                  <a:lnTo>
                    <a:pt x="307" y="53"/>
                  </a:lnTo>
                  <a:lnTo>
                    <a:pt x="304" y="52"/>
                  </a:lnTo>
                  <a:lnTo>
                    <a:pt x="303" y="49"/>
                  </a:lnTo>
                  <a:lnTo>
                    <a:pt x="302" y="47"/>
                  </a:lnTo>
                  <a:lnTo>
                    <a:pt x="302" y="47"/>
                  </a:lnTo>
                  <a:lnTo>
                    <a:pt x="302" y="46"/>
                  </a:lnTo>
                  <a:lnTo>
                    <a:pt x="300" y="45"/>
                  </a:lnTo>
                  <a:lnTo>
                    <a:pt x="296" y="43"/>
                  </a:lnTo>
                  <a:lnTo>
                    <a:pt x="291" y="42"/>
                  </a:lnTo>
                  <a:lnTo>
                    <a:pt x="289" y="40"/>
                  </a:lnTo>
                  <a:lnTo>
                    <a:pt x="289" y="40"/>
                  </a:lnTo>
                  <a:lnTo>
                    <a:pt x="286" y="39"/>
                  </a:lnTo>
                  <a:lnTo>
                    <a:pt x="282" y="38"/>
                  </a:lnTo>
                  <a:lnTo>
                    <a:pt x="277" y="38"/>
                  </a:lnTo>
                  <a:lnTo>
                    <a:pt x="277" y="38"/>
                  </a:lnTo>
                  <a:lnTo>
                    <a:pt x="274" y="38"/>
                  </a:lnTo>
                  <a:lnTo>
                    <a:pt x="270" y="36"/>
                  </a:lnTo>
                  <a:lnTo>
                    <a:pt x="263" y="35"/>
                  </a:lnTo>
                  <a:lnTo>
                    <a:pt x="263" y="35"/>
                  </a:lnTo>
                  <a:lnTo>
                    <a:pt x="254" y="35"/>
                  </a:lnTo>
                  <a:lnTo>
                    <a:pt x="248" y="36"/>
                  </a:lnTo>
                  <a:lnTo>
                    <a:pt x="248" y="36"/>
                  </a:lnTo>
                  <a:lnTo>
                    <a:pt x="245" y="36"/>
                  </a:lnTo>
                  <a:lnTo>
                    <a:pt x="242" y="39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4" y="40"/>
                  </a:lnTo>
                  <a:lnTo>
                    <a:pt x="230" y="39"/>
                  </a:lnTo>
                  <a:lnTo>
                    <a:pt x="225" y="38"/>
                  </a:lnTo>
                  <a:lnTo>
                    <a:pt x="223" y="38"/>
                  </a:lnTo>
                  <a:lnTo>
                    <a:pt x="223" y="38"/>
                  </a:lnTo>
                  <a:lnTo>
                    <a:pt x="221" y="38"/>
                  </a:lnTo>
                  <a:lnTo>
                    <a:pt x="218" y="35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1" y="27"/>
                  </a:lnTo>
                  <a:lnTo>
                    <a:pt x="211" y="24"/>
                  </a:lnTo>
                  <a:lnTo>
                    <a:pt x="211" y="20"/>
                  </a:lnTo>
                  <a:lnTo>
                    <a:pt x="211" y="17"/>
                  </a:lnTo>
                  <a:lnTo>
                    <a:pt x="211" y="17"/>
                  </a:lnTo>
                  <a:lnTo>
                    <a:pt x="209" y="15"/>
                  </a:lnTo>
                  <a:lnTo>
                    <a:pt x="205" y="14"/>
                  </a:lnTo>
                  <a:lnTo>
                    <a:pt x="196" y="13"/>
                  </a:lnTo>
                  <a:lnTo>
                    <a:pt x="196" y="13"/>
                  </a:lnTo>
                  <a:lnTo>
                    <a:pt x="191" y="8"/>
                  </a:lnTo>
                  <a:lnTo>
                    <a:pt x="185" y="7"/>
                  </a:lnTo>
                  <a:lnTo>
                    <a:pt x="185" y="7"/>
                  </a:lnTo>
                  <a:lnTo>
                    <a:pt x="180" y="7"/>
                  </a:lnTo>
                  <a:lnTo>
                    <a:pt x="175" y="6"/>
                  </a:lnTo>
                  <a:lnTo>
                    <a:pt x="175" y="6"/>
                  </a:lnTo>
                  <a:lnTo>
                    <a:pt x="170" y="3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60" y="2"/>
                  </a:lnTo>
                  <a:lnTo>
                    <a:pt x="157" y="6"/>
                  </a:lnTo>
                  <a:lnTo>
                    <a:pt x="157" y="6"/>
                  </a:lnTo>
                  <a:lnTo>
                    <a:pt x="153" y="8"/>
                  </a:lnTo>
                  <a:lnTo>
                    <a:pt x="150" y="8"/>
                  </a:lnTo>
                  <a:lnTo>
                    <a:pt x="149" y="11"/>
                  </a:lnTo>
                  <a:lnTo>
                    <a:pt x="149" y="11"/>
                  </a:lnTo>
                  <a:lnTo>
                    <a:pt x="148" y="13"/>
                  </a:lnTo>
                  <a:lnTo>
                    <a:pt x="145" y="15"/>
                  </a:lnTo>
                  <a:lnTo>
                    <a:pt x="143" y="17"/>
                  </a:lnTo>
                  <a:lnTo>
                    <a:pt x="143" y="20"/>
                  </a:lnTo>
                  <a:lnTo>
                    <a:pt x="143" y="20"/>
                  </a:lnTo>
                  <a:lnTo>
                    <a:pt x="145" y="27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49" y="33"/>
                  </a:lnTo>
                  <a:lnTo>
                    <a:pt x="149" y="36"/>
                  </a:lnTo>
                  <a:lnTo>
                    <a:pt x="148" y="42"/>
                  </a:lnTo>
                  <a:lnTo>
                    <a:pt x="148" y="42"/>
                  </a:lnTo>
                  <a:lnTo>
                    <a:pt x="146" y="43"/>
                  </a:lnTo>
                  <a:lnTo>
                    <a:pt x="142" y="45"/>
                  </a:lnTo>
                  <a:lnTo>
                    <a:pt x="138" y="46"/>
                  </a:lnTo>
                  <a:lnTo>
                    <a:pt x="135" y="47"/>
                  </a:lnTo>
                  <a:lnTo>
                    <a:pt x="135" y="47"/>
                  </a:lnTo>
                  <a:lnTo>
                    <a:pt x="134" y="49"/>
                  </a:lnTo>
                  <a:lnTo>
                    <a:pt x="131" y="49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0" y="43"/>
                  </a:lnTo>
                  <a:lnTo>
                    <a:pt x="117" y="43"/>
                  </a:lnTo>
                  <a:lnTo>
                    <a:pt x="111" y="46"/>
                  </a:lnTo>
                  <a:lnTo>
                    <a:pt x="111" y="46"/>
                  </a:lnTo>
                  <a:lnTo>
                    <a:pt x="109" y="46"/>
                  </a:lnTo>
                  <a:lnTo>
                    <a:pt x="105" y="43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98" y="39"/>
                  </a:lnTo>
                  <a:lnTo>
                    <a:pt x="96" y="35"/>
                  </a:lnTo>
                  <a:lnTo>
                    <a:pt x="95" y="32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82" y="31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66" y="28"/>
                  </a:lnTo>
                  <a:lnTo>
                    <a:pt x="62" y="28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59" y="31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50" y="35"/>
                  </a:lnTo>
                  <a:lnTo>
                    <a:pt x="50" y="35"/>
                  </a:lnTo>
                  <a:lnTo>
                    <a:pt x="48" y="36"/>
                  </a:lnTo>
                  <a:lnTo>
                    <a:pt x="45" y="38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7" y="43"/>
                  </a:lnTo>
                  <a:lnTo>
                    <a:pt x="34" y="45"/>
                  </a:lnTo>
                  <a:lnTo>
                    <a:pt x="30" y="46"/>
                  </a:lnTo>
                  <a:lnTo>
                    <a:pt x="28" y="49"/>
                  </a:lnTo>
                  <a:lnTo>
                    <a:pt x="28" y="49"/>
                  </a:lnTo>
                  <a:lnTo>
                    <a:pt x="25" y="50"/>
                  </a:lnTo>
                  <a:lnTo>
                    <a:pt x="21" y="53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7" y="56"/>
                  </a:lnTo>
                  <a:lnTo>
                    <a:pt x="5" y="57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2" y="68"/>
                  </a:lnTo>
                  <a:lnTo>
                    <a:pt x="5" y="71"/>
                  </a:lnTo>
                  <a:lnTo>
                    <a:pt x="12" y="77"/>
                  </a:lnTo>
                  <a:lnTo>
                    <a:pt x="12" y="77"/>
                  </a:lnTo>
                  <a:lnTo>
                    <a:pt x="18" y="81"/>
                  </a:lnTo>
                  <a:lnTo>
                    <a:pt x="21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30" y="85"/>
                  </a:lnTo>
                  <a:lnTo>
                    <a:pt x="34" y="88"/>
                  </a:lnTo>
                  <a:lnTo>
                    <a:pt x="38" y="90"/>
                  </a:lnTo>
                  <a:lnTo>
                    <a:pt x="39" y="95"/>
                  </a:lnTo>
                  <a:lnTo>
                    <a:pt x="39" y="95"/>
                  </a:lnTo>
                  <a:lnTo>
                    <a:pt x="41" y="97"/>
                  </a:lnTo>
                  <a:lnTo>
                    <a:pt x="42" y="102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9" y="108"/>
                  </a:lnTo>
                  <a:lnTo>
                    <a:pt x="48" y="113"/>
                  </a:lnTo>
                  <a:lnTo>
                    <a:pt x="46" y="122"/>
                  </a:lnTo>
                  <a:lnTo>
                    <a:pt x="46" y="122"/>
                  </a:lnTo>
                  <a:lnTo>
                    <a:pt x="45" y="125"/>
                  </a:lnTo>
                  <a:lnTo>
                    <a:pt x="43" y="128"/>
                  </a:lnTo>
                  <a:lnTo>
                    <a:pt x="42" y="131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5" y="138"/>
                  </a:lnTo>
                  <a:lnTo>
                    <a:pt x="49" y="139"/>
                  </a:lnTo>
                  <a:lnTo>
                    <a:pt x="59" y="142"/>
                  </a:lnTo>
                  <a:lnTo>
                    <a:pt x="70" y="143"/>
                  </a:lnTo>
                  <a:lnTo>
                    <a:pt x="78" y="143"/>
                  </a:lnTo>
                  <a:lnTo>
                    <a:pt x="78" y="143"/>
                  </a:lnTo>
                  <a:lnTo>
                    <a:pt x="82" y="145"/>
                  </a:lnTo>
                  <a:lnTo>
                    <a:pt x="87" y="147"/>
                  </a:lnTo>
                  <a:lnTo>
                    <a:pt x="88" y="150"/>
                  </a:lnTo>
                  <a:lnTo>
                    <a:pt x="89" y="150"/>
                  </a:lnTo>
                  <a:lnTo>
                    <a:pt x="89" y="150"/>
                  </a:lnTo>
                  <a:lnTo>
                    <a:pt x="92" y="151"/>
                  </a:lnTo>
                  <a:lnTo>
                    <a:pt x="95" y="154"/>
                  </a:lnTo>
                  <a:lnTo>
                    <a:pt x="96" y="156"/>
                  </a:lnTo>
                  <a:lnTo>
                    <a:pt x="100" y="157"/>
                  </a:lnTo>
                  <a:lnTo>
                    <a:pt x="100" y="157"/>
                  </a:lnTo>
                  <a:lnTo>
                    <a:pt x="103" y="158"/>
                  </a:lnTo>
                  <a:lnTo>
                    <a:pt x="107" y="161"/>
                  </a:lnTo>
                  <a:lnTo>
                    <a:pt x="110" y="165"/>
                  </a:lnTo>
                  <a:lnTo>
                    <a:pt x="111" y="171"/>
                  </a:lnTo>
                  <a:lnTo>
                    <a:pt x="111" y="171"/>
                  </a:lnTo>
                  <a:lnTo>
                    <a:pt x="114" y="176"/>
                  </a:lnTo>
                  <a:lnTo>
                    <a:pt x="117" y="181"/>
                  </a:lnTo>
                  <a:lnTo>
                    <a:pt x="120" y="183"/>
                  </a:lnTo>
                  <a:lnTo>
                    <a:pt x="121" y="188"/>
                  </a:lnTo>
                  <a:lnTo>
                    <a:pt x="121" y="188"/>
                  </a:lnTo>
                  <a:lnTo>
                    <a:pt x="123" y="188"/>
                  </a:lnTo>
                  <a:lnTo>
                    <a:pt x="124" y="189"/>
                  </a:lnTo>
                  <a:lnTo>
                    <a:pt x="128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60" y="189"/>
                  </a:lnTo>
                  <a:lnTo>
                    <a:pt x="178" y="190"/>
                  </a:lnTo>
                  <a:lnTo>
                    <a:pt x="178" y="190"/>
                  </a:lnTo>
                  <a:lnTo>
                    <a:pt x="192" y="192"/>
                  </a:lnTo>
                  <a:lnTo>
                    <a:pt x="200" y="193"/>
                  </a:lnTo>
                  <a:lnTo>
                    <a:pt x="207" y="196"/>
                  </a:lnTo>
                  <a:lnTo>
                    <a:pt x="207" y="196"/>
                  </a:lnTo>
                  <a:lnTo>
                    <a:pt x="213" y="199"/>
                  </a:lnTo>
                  <a:lnTo>
                    <a:pt x="217" y="199"/>
                  </a:lnTo>
                  <a:lnTo>
                    <a:pt x="220" y="199"/>
                  </a:lnTo>
                  <a:lnTo>
                    <a:pt x="224" y="200"/>
                  </a:lnTo>
                  <a:lnTo>
                    <a:pt x="224" y="200"/>
                  </a:lnTo>
                  <a:lnTo>
                    <a:pt x="231" y="204"/>
                  </a:lnTo>
                  <a:lnTo>
                    <a:pt x="235" y="204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45" y="204"/>
                  </a:lnTo>
                  <a:lnTo>
                    <a:pt x="248" y="207"/>
                  </a:lnTo>
                  <a:lnTo>
                    <a:pt x="249" y="208"/>
                  </a:lnTo>
                  <a:lnTo>
                    <a:pt x="252" y="210"/>
                  </a:lnTo>
                  <a:lnTo>
                    <a:pt x="252" y="210"/>
                  </a:lnTo>
                  <a:lnTo>
                    <a:pt x="257" y="210"/>
                  </a:lnTo>
                  <a:lnTo>
                    <a:pt x="263" y="206"/>
                  </a:lnTo>
                  <a:lnTo>
                    <a:pt x="270" y="201"/>
                  </a:lnTo>
                  <a:lnTo>
                    <a:pt x="279" y="196"/>
                  </a:lnTo>
                  <a:lnTo>
                    <a:pt x="279" y="196"/>
                  </a:lnTo>
                  <a:lnTo>
                    <a:pt x="285" y="195"/>
                  </a:lnTo>
                  <a:lnTo>
                    <a:pt x="289" y="193"/>
                  </a:lnTo>
                  <a:lnTo>
                    <a:pt x="299" y="193"/>
                  </a:lnTo>
                  <a:lnTo>
                    <a:pt x="314" y="195"/>
                  </a:lnTo>
                  <a:lnTo>
                    <a:pt x="314" y="195"/>
                  </a:lnTo>
                  <a:lnTo>
                    <a:pt x="321" y="195"/>
                  </a:lnTo>
                  <a:lnTo>
                    <a:pt x="328" y="193"/>
                  </a:lnTo>
                  <a:lnTo>
                    <a:pt x="336" y="189"/>
                  </a:lnTo>
                  <a:lnTo>
                    <a:pt x="343" y="183"/>
                  </a:lnTo>
                  <a:lnTo>
                    <a:pt x="343" y="183"/>
                  </a:lnTo>
                  <a:lnTo>
                    <a:pt x="349" y="178"/>
                  </a:lnTo>
                  <a:lnTo>
                    <a:pt x="354" y="175"/>
                  </a:lnTo>
                  <a:lnTo>
                    <a:pt x="360" y="172"/>
                  </a:lnTo>
                  <a:lnTo>
                    <a:pt x="361" y="171"/>
                  </a:lnTo>
                  <a:lnTo>
                    <a:pt x="361" y="168"/>
                  </a:lnTo>
                  <a:lnTo>
                    <a:pt x="361" y="168"/>
                  </a:lnTo>
                  <a:lnTo>
                    <a:pt x="361" y="163"/>
                  </a:lnTo>
                  <a:lnTo>
                    <a:pt x="359" y="158"/>
                  </a:lnTo>
                  <a:lnTo>
                    <a:pt x="357" y="154"/>
                  </a:lnTo>
                  <a:lnTo>
                    <a:pt x="357" y="151"/>
                  </a:lnTo>
                  <a:lnTo>
                    <a:pt x="359" y="150"/>
                  </a:lnTo>
                  <a:lnTo>
                    <a:pt x="359" y="150"/>
                  </a:lnTo>
                  <a:lnTo>
                    <a:pt x="361" y="146"/>
                  </a:lnTo>
                  <a:lnTo>
                    <a:pt x="366" y="145"/>
                  </a:lnTo>
                  <a:lnTo>
                    <a:pt x="370" y="145"/>
                  </a:lnTo>
                  <a:lnTo>
                    <a:pt x="373" y="146"/>
                  </a:lnTo>
                  <a:lnTo>
                    <a:pt x="373" y="146"/>
                  </a:lnTo>
                  <a:lnTo>
                    <a:pt x="378" y="147"/>
                  </a:lnTo>
                  <a:lnTo>
                    <a:pt x="384" y="149"/>
                  </a:lnTo>
                  <a:lnTo>
                    <a:pt x="391" y="147"/>
                  </a:lnTo>
                  <a:lnTo>
                    <a:pt x="399" y="143"/>
                  </a:lnTo>
                  <a:lnTo>
                    <a:pt x="399" y="143"/>
                  </a:lnTo>
                  <a:lnTo>
                    <a:pt x="404" y="139"/>
                  </a:lnTo>
                  <a:lnTo>
                    <a:pt x="410" y="138"/>
                  </a:lnTo>
                  <a:lnTo>
                    <a:pt x="421" y="136"/>
                  </a:lnTo>
                  <a:lnTo>
                    <a:pt x="421" y="136"/>
                  </a:lnTo>
                  <a:lnTo>
                    <a:pt x="427" y="135"/>
                  </a:lnTo>
                  <a:lnTo>
                    <a:pt x="429" y="132"/>
                  </a:lnTo>
                  <a:lnTo>
                    <a:pt x="432" y="128"/>
                  </a:lnTo>
                  <a:lnTo>
                    <a:pt x="435" y="124"/>
                  </a:lnTo>
                  <a:lnTo>
                    <a:pt x="435" y="124"/>
                  </a:lnTo>
                  <a:lnTo>
                    <a:pt x="441" y="120"/>
                  </a:lnTo>
                  <a:lnTo>
                    <a:pt x="445" y="117"/>
                  </a:lnTo>
                  <a:lnTo>
                    <a:pt x="450" y="115"/>
                  </a:lnTo>
                  <a:lnTo>
                    <a:pt x="454" y="115"/>
                  </a:lnTo>
                  <a:lnTo>
                    <a:pt x="454" y="115"/>
                  </a:lnTo>
                  <a:lnTo>
                    <a:pt x="460" y="114"/>
                  </a:lnTo>
                  <a:lnTo>
                    <a:pt x="466" y="113"/>
                  </a:lnTo>
                  <a:lnTo>
                    <a:pt x="470" y="111"/>
                  </a:lnTo>
                  <a:lnTo>
                    <a:pt x="475" y="111"/>
                  </a:lnTo>
                  <a:lnTo>
                    <a:pt x="475" y="111"/>
                  </a:lnTo>
                  <a:lnTo>
                    <a:pt x="479" y="113"/>
                  </a:lnTo>
                  <a:lnTo>
                    <a:pt x="485" y="113"/>
                  </a:lnTo>
                  <a:lnTo>
                    <a:pt x="489" y="113"/>
                  </a:lnTo>
                  <a:lnTo>
                    <a:pt x="491" y="111"/>
                  </a:lnTo>
                  <a:lnTo>
                    <a:pt x="491" y="110"/>
                  </a:lnTo>
                  <a:lnTo>
                    <a:pt x="491" y="110"/>
                  </a:lnTo>
                  <a:lnTo>
                    <a:pt x="491" y="107"/>
                  </a:lnTo>
                  <a:lnTo>
                    <a:pt x="489" y="104"/>
                  </a:lnTo>
                  <a:lnTo>
                    <a:pt x="484" y="99"/>
                  </a:lnTo>
                  <a:lnTo>
                    <a:pt x="477" y="93"/>
                  </a:lnTo>
                  <a:lnTo>
                    <a:pt x="471" y="88"/>
                  </a:lnTo>
                  <a:lnTo>
                    <a:pt x="471" y="88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55"/>
            <p:cNvSpPr>
              <a:spLocks/>
            </p:cNvSpPr>
            <p:nvPr/>
          </p:nvSpPr>
          <p:spPr bwMode="auto">
            <a:xfrm>
              <a:off x="6316663" y="2836863"/>
              <a:ext cx="271463" cy="114300"/>
            </a:xfrm>
            <a:custGeom>
              <a:avLst/>
              <a:gdLst>
                <a:gd name="T0" fmla="*/ 154 w 171"/>
                <a:gd name="T1" fmla="*/ 10 h 72"/>
                <a:gd name="T2" fmla="*/ 143 w 171"/>
                <a:gd name="T3" fmla="*/ 10 h 72"/>
                <a:gd name="T4" fmla="*/ 111 w 171"/>
                <a:gd name="T5" fmla="*/ 5 h 72"/>
                <a:gd name="T6" fmla="*/ 98 w 171"/>
                <a:gd name="T7" fmla="*/ 7 h 72"/>
                <a:gd name="T8" fmla="*/ 82 w 171"/>
                <a:gd name="T9" fmla="*/ 1 h 72"/>
                <a:gd name="T10" fmla="*/ 68 w 171"/>
                <a:gd name="T11" fmla="*/ 3 h 72"/>
                <a:gd name="T12" fmla="*/ 66 w 171"/>
                <a:gd name="T13" fmla="*/ 7 h 72"/>
                <a:gd name="T14" fmla="*/ 58 w 171"/>
                <a:gd name="T15" fmla="*/ 12 h 72"/>
                <a:gd name="T16" fmla="*/ 46 w 171"/>
                <a:gd name="T17" fmla="*/ 7 h 72"/>
                <a:gd name="T18" fmla="*/ 32 w 171"/>
                <a:gd name="T19" fmla="*/ 8 h 72"/>
                <a:gd name="T20" fmla="*/ 29 w 171"/>
                <a:gd name="T21" fmla="*/ 14 h 72"/>
                <a:gd name="T22" fmla="*/ 21 w 171"/>
                <a:gd name="T23" fmla="*/ 21 h 72"/>
                <a:gd name="T24" fmla="*/ 16 w 171"/>
                <a:gd name="T25" fmla="*/ 29 h 72"/>
                <a:gd name="T26" fmla="*/ 22 w 171"/>
                <a:gd name="T27" fmla="*/ 35 h 72"/>
                <a:gd name="T28" fmla="*/ 32 w 171"/>
                <a:gd name="T29" fmla="*/ 36 h 72"/>
                <a:gd name="T30" fmla="*/ 36 w 171"/>
                <a:gd name="T31" fmla="*/ 33 h 72"/>
                <a:gd name="T32" fmla="*/ 50 w 171"/>
                <a:gd name="T33" fmla="*/ 39 h 72"/>
                <a:gd name="T34" fmla="*/ 58 w 171"/>
                <a:gd name="T35" fmla="*/ 47 h 72"/>
                <a:gd name="T36" fmla="*/ 51 w 171"/>
                <a:gd name="T37" fmla="*/ 50 h 72"/>
                <a:gd name="T38" fmla="*/ 48 w 171"/>
                <a:gd name="T39" fmla="*/ 54 h 72"/>
                <a:gd name="T40" fmla="*/ 37 w 171"/>
                <a:gd name="T41" fmla="*/ 54 h 72"/>
                <a:gd name="T42" fmla="*/ 30 w 171"/>
                <a:gd name="T43" fmla="*/ 55 h 72"/>
                <a:gd name="T44" fmla="*/ 11 w 171"/>
                <a:gd name="T45" fmla="*/ 57 h 72"/>
                <a:gd name="T46" fmla="*/ 1 w 171"/>
                <a:gd name="T47" fmla="*/ 64 h 72"/>
                <a:gd name="T48" fmla="*/ 1 w 171"/>
                <a:gd name="T49" fmla="*/ 68 h 72"/>
                <a:gd name="T50" fmla="*/ 16 w 171"/>
                <a:gd name="T51" fmla="*/ 66 h 72"/>
                <a:gd name="T52" fmla="*/ 22 w 171"/>
                <a:gd name="T53" fmla="*/ 68 h 72"/>
                <a:gd name="T54" fmla="*/ 30 w 171"/>
                <a:gd name="T55" fmla="*/ 68 h 72"/>
                <a:gd name="T56" fmla="*/ 37 w 171"/>
                <a:gd name="T57" fmla="*/ 69 h 72"/>
                <a:gd name="T58" fmla="*/ 43 w 171"/>
                <a:gd name="T59" fmla="*/ 72 h 72"/>
                <a:gd name="T60" fmla="*/ 50 w 171"/>
                <a:gd name="T61" fmla="*/ 72 h 72"/>
                <a:gd name="T62" fmla="*/ 71 w 171"/>
                <a:gd name="T63" fmla="*/ 71 h 72"/>
                <a:gd name="T64" fmla="*/ 73 w 171"/>
                <a:gd name="T65" fmla="*/ 62 h 72"/>
                <a:gd name="T66" fmla="*/ 75 w 171"/>
                <a:gd name="T67" fmla="*/ 60 h 72"/>
                <a:gd name="T68" fmla="*/ 82 w 171"/>
                <a:gd name="T69" fmla="*/ 57 h 72"/>
                <a:gd name="T70" fmla="*/ 89 w 171"/>
                <a:gd name="T71" fmla="*/ 53 h 72"/>
                <a:gd name="T72" fmla="*/ 96 w 171"/>
                <a:gd name="T73" fmla="*/ 50 h 72"/>
                <a:gd name="T74" fmla="*/ 103 w 171"/>
                <a:gd name="T75" fmla="*/ 53 h 72"/>
                <a:gd name="T76" fmla="*/ 108 w 171"/>
                <a:gd name="T77" fmla="*/ 53 h 72"/>
                <a:gd name="T78" fmla="*/ 116 w 171"/>
                <a:gd name="T79" fmla="*/ 47 h 72"/>
                <a:gd name="T80" fmla="*/ 123 w 171"/>
                <a:gd name="T81" fmla="*/ 41 h 72"/>
                <a:gd name="T82" fmla="*/ 136 w 171"/>
                <a:gd name="T83" fmla="*/ 43 h 72"/>
                <a:gd name="T84" fmla="*/ 144 w 171"/>
                <a:gd name="T85" fmla="*/ 36 h 72"/>
                <a:gd name="T86" fmla="*/ 148 w 171"/>
                <a:gd name="T87" fmla="*/ 32 h 72"/>
                <a:gd name="T88" fmla="*/ 164 w 171"/>
                <a:gd name="T89" fmla="*/ 25 h 72"/>
                <a:gd name="T90" fmla="*/ 171 w 171"/>
                <a:gd name="T91" fmla="*/ 21 h 72"/>
                <a:gd name="T92" fmla="*/ 168 w 171"/>
                <a:gd name="T93" fmla="*/ 17 h 72"/>
                <a:gd name="T94" fmla="*/ 158 w 171"/>
                <a:gd name="T95" fmla="*/ 1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71" h="72">
                  <a:moveTo>
                    <a:pt x="158" y="14"/>
                  </a:moveTo>
                  <a:lnTo>
                    <a:pt x="158" y="14"/>
                  </a:lnTo>
                  <a:lnTo>
                    <a:pt x="154" y="10"/>
                  </a:lnTo>
                  <a:lnTo>
                    <a:pt x="151" y="10"/>
                  </a:lnTo>
                  <a:lnTo>
                    <a:pt x="147" y="10"/>
                  </a:lnTo>
                  <a:lnTo>
                    <a:pt x="143" y="10"/>
                  </a:lnTo>
                  <a:lnTo>
                    <a:pt x="143" y="10"/>
                  </a:lnTo>
                  <a:lnTo>
                    <a:pt x="122" y="7"/>
                  </a:lnTo>
                  <a:lnTo>
                    <a:pt x="111" y="5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98" y="7"/>
                  </a:lnTo>
                  <a:lnTo>
                    <a:pt x="91" y="5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78" y="0"/>
                  </a:lnTo>
                  <a:lnTo>
                    <a:pt x="73" y="1"/>
                  </a:lnTo>
                  <a:lnTo>
                    <a:pt x="68" y="3"/>
                  </a:lnTo>
                  <a:lnTo>
                    <a:pt x="66" y="5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5" y="11"/>
                  </a:lnTo>
                  <a:lnTo>
                    <a:pt x="62" y="12"/>
                  </a:lnTo>
                  <a:lnTo>
                    <a:pt x="58" y="12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46" y="7"/>
                  </a:lnTo>
                  <a:lnTo>
                    <a:pt x="39" y="7"/>
                  </a:lnTo>
                  <a:lnTo>
                    <a:pt x="33" y="7"/>
                  </a:lnTo>
                  <a:lnTo>
                    <a:pt x="32" y="8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9" y="14"/>
                  </a:lnTo>
                  <a:lnTo>
                    <a:pt x="26" y="17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9" y="23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9" y="32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5" y="36"/>
                  </a:lnTo>
                  <a:lnTo>
                    <a:pt x="29" y="37"/>
                  </a:lnTo>
                  <a:lnTo>
                    <a:pt x="32" y="36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6" y="33"/>
                  </a:lnTo>
                  <a:lnTo>
                    <a:pt x="37" y="33"/>
                  </a:lnTo>
                  <a:lnTo>
                    <a:pt x="43" y="35"/>
                  </a:lnTo>
                  <a:lnTo>
                    <a:pt x="50" y="39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8" y="47"/>
                  </a:lnTo>
                  <a:lnTo>
                    <a:pt x="57" y="47"/>
                  </a:lnTo>
                  <a:lnTo>
                    <a:pt x="53" y="48"/>
                  </a:lnTo>
                  <a:lnTo>
                    <a:pt x="51" y="50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48" y="54"/>
                  </a:lnTo>
                  <a:lnTo>
                    <a:pt x="46" y="54"/>
                  </a:lnTo>
                  <a:lnTo>
                    <a:pt x="41" y="54"/>
                  </a:lnTo>
                  <a:lnTo>
                    <a:pt x="37" y="54"/>
                  </a:lnTo>
                  <a:lnTo>
                    <a:pt x="35" y="54"/>
                  </a:lnTo>
                  <a:lnTo>
                    <a:pt x="35" y="54"/>
                  </a:lnTo>
                  <a:lnTo>
                    <a:pt x="30" y="55"/>
                  </a:lnTo>
                  <a:lnTo>
                    <a:pt x="23" y="57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8" y="58"/>
                  </a:lnTo>
                  <a:lnTo>
                    <a:pt x="4" y="61"/>
                  </a:lnTo>
                  <a:lnTo>
                    <a:pt x="1" y="6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1" y="68"/>
                  </a:lnTo>
                  <a:lnTo>
                    <a:pt x="4" y="68"/>
                  </a:lnTo>
                  <a:lnTo>
                    <a:pt x="10" y="68"/>
                  </a:lnTo>
                  <a:lnTo>
                    <a:pt x="16" y="66"/>
                  </a:lnTo>
                  <a:lnTo>
                    <a:pt x="21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5" y="69"/>
                  </a:lnTo>
                  <a:lnTo>
                    <a:pt x="26" y="69"/>
                  </a:lnTo>
                  <a:lnTo>
                    <a:pt x="30" y="68"/>
                  </a:lnTo>
                  <a:lnTo>
                    <a:pt x="35" y="68"/>
                  </a:lnTo>
                  <a:lnTo>
                    <a:pt x="36" y="68"/>
                  </a:lnTo>
                  <a:lnTo>
                    <a:pt x="37" y="69"/>
                  </a:lnTo>
                  <a:lnTo>
                    <a:pt x="37" y="69"/>
                  </a:lnTo>
                  <a:lnTo>
                    <a:pt x="40" y="71"/>
                  </a:lnTo>
                  <a:lnTo>
                    <a:pt x="43" y="72"/>
                  </a:lnTo>
                  <a:lnTo>
                    <a:pt x="47" y="71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4" y="72"/>
                  </a:lnTo>
                  <a:lnTo>
                    <a:pt x="61" y="72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2" y="66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73" y="61"/>
                  </a:lnTo>
                  <a:lnTo>
                    <a:pt x="75" y="60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2" y="57"/>
                  </a:lnTo>
                  <a:lnTo>
                    <a:pt x="85" y="55"/>
                  </a:lnTo>
                  <a:lnTo>
                    <a:pt x="86" y="54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93" y="51"/>
                  </a:lnTo>
                  <a:lnTo>
                    <a:pt x="96" y="50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103" y="53"/>
                  </a:lnTo>
                  <a:lnTo>
                    <a:pt x="105" y="54"/>
                  </a:lnTo>
                  <a:lnTo>
                    <a:pt x="108" y="53"/>
                  </a:lnTo>
                  <a:lnTo>
                    <a:pt x="108" y="53"/>
                  </a:lnTo>
                  <a:lnTo>
                    <a:pt x="112" y="51"/>
                  </a:lnTo>
                  <a:lnTo>
                    <a:pt x="114" y="50"/>
                  </a:lnTo>
                  <a:lnTo>
                    <a:pt x="116" y="47"/>
                  </a:lnTo>
                  <a:lnTo>
                    <a:pt x="116" y="47"/>
                  </a:lnTo>
                  <a:lnTo>
                    <a:pt x="121" y="43"/>
                  </a:lnTo>
                  <a:lnTo>
                    <a:pt x="123" y="41"/>
                  </a:lnTo>
                  <a:lnTo>
                    <a:pt x="132" y="43"/>
                  </a:lnTo>
                  <a:lnTo>
                    <a:pt x="132" y="43"/>
                  </a:lnTo>
                  <a:lnTo>
                    <a:pt x="136" y="43"/>
                  </a:lnTo>
                  <a:lnTo>
                    <a:pt x="139" y="40"/>
                  </a:lnTo>
                  <a:lnTo>
                    <a:pt x="141" y="39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6" y="33"/>
                  </a:lnTo>
                  <a:lnTo>
                    <a:pt x="148" y="32"/>
                  </a:lnTo>
                  <a:lnTo>
                    <a:pt x="155" y="29"/>
                  </a:lnTo>
                  <a:lnTo>
                    <a:pt x="155" y="29"/>
                  </a:lnTo>
                  <a:lnTo>
                    <a:pt x="164" y="25"/>
                  </a:lnTo>
                  <a:lnTo>
                    <a:pt x="169" y="22"/>
                  </a:lnTo>
                  <a:lnTo>
                    <a:pt x="169" y="22"/>
                  </a:lnTo>
                  <a:lnTo>
                    <a:pt x="171" y="21"/>
                  </a:lnTo>
                  <a:lnTo>
                    <a:pt x="171" y="18"/>
                  </a:lnTo>
                  <a:lnTo>
                    <a:pt x="171" y="18"/>
                  </a:lnTo>
                  <a:lnTo>
                    <a:pt x="168" y="17"/>
                  </a:lnTo>
                  <a:lnTo>
                    <a:pt x="164" y="17"/>
                  </a:lnTo>
                  <a:lnTo>
                    <a:pt x="161" y="15"/>
                  </a:lnTo>
                  <a:lnTo>
                    <a:pt x="158" y="14"/>
                  </a:lnTo>
                  <a:lnTo>
                    <a:pt x="158" y="14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58"/>
            <p:cNvSpPr>
              <a:spLocks/>
            </p:cNvSpPr>
            <p:nvPr/>
          </p:nvSpPr>
          <p:spPr bwMode="auto">
            <a:xfrm>
              <a:off x="6532563" y="3052763"/>
              <a:ext cx="57150" cy="52388"/>
            </a:xfrm>
            <a:custGeom>
              <a:avLst/>
              <a:gdLst>
                <a:gd name="T0" fmla="*/ 18 w 36"/>
                <a:gd name="T1" fmla="*/ 0 h 33"/>
                <a:gd name="T2" fmla="*/ 18 w 36"/>
                <a:gd name="T3" fmla="*/ 0 h 33"/>
                <a:gd name="T4" fmla="*/ 12 w 36"/>
                <a:gd name="T5" fmla="*/ 0 h 33"/>
                <a:gd name="T6" fmla="*/ 7 w 36"/>
                <a:gd name="T7" fmla="*/ 3 h 33"/>
                <a:gd name="T8" fmla="*/ 3 w 36"/>
                <a:gd name="T9" fmla="*/ 5 h 33"/>
                <a:gd name="T10" fmla="*/ 0 w 36"/>
                <a:gd name="T11" fmla="*/ 10 h 33"/>
                <a:gd name="T12" fmla="*/ 0 w 36"/>
                <a:gd name="T13" fmla="*/ 10 h 33"/>
                <a:gd name="T14" fmla="*/ 3 w 36"/>
                <a:gd name="T15" fmla="*/ 14 h 33"/>
                <a:gd name="T16" fmla="*/ 3 w 36"/>
                <a:gd name="T17" fmla="*/ 14 h 33"/>
                <a:gd name="T18" fmla="*/ 4 w 36"/>
                <a:gd name="T19" fmla="*/ 17 h 33"/>
                <a:gd name="T20" fmla="*/ 5 w 36"/>
                <a:gd name="T21" fmla="*/ 19 h 33"/>
                <a:gd name="T22" fmla="*/ 11 w 36"/>
                <a:gd name="T23" fmla="*/ 25 h 33"/>
                <a:gd name="T24" fmla="*/ 11 w 36"/>
                <a:gd name="T25" fmla="*/ 25 h 33"/>
                <a:gd name="T26" fmla="*/ 12 w 36"/>
                <a:gd name="T27" fmla="*/ 26 h 33"/>
                <a:gd name="T28" fmla="*/ 14 w 36"/>
                <a:gd name="T29" fmla="*/ 28 h 33"/>
                <a:gd name="T30" fmla="*/ 12 w 36"/>
                <a:gd name="T31" fmla="*/ 33 h 33"/>
                <a:gd name="T32" fmla="*/ 12 w 36"/>
                <a:gd name="T33" fmla="*/ 33 h 33"/>
                <a:gd name="T34" fmla="*/ 19 w 36"/>
                <a:gd name="T35" fmla="*/ 33 h 33"/>
                <a:gd name="T36" fmla="*/ 19 w 36"/>
                <a:gd name="T37" fmla="*/ 33 h 33"/>
                <a:gd name="T38" fmla="*/ 23 w 36"/>
                <a:gd name="T39" fmla="*/ 30 h 33"/>
                <a:gd name="T40" fmla="*/ 29 w 36"/>
                <a:gd name="T41" fmla="*/ 25 h 33"/>
                <a:gd name="T42" fmla="*/ 36 w 36"/>
                <a:gd name="T43" fmla="*/ 14 h 33"/>
                <a:gd name="T44" fmla="*/ 36 w 36"/>
                <a:gd name="T45" fmla="*/ 14 h 33"/>
                <a:gd name="T46" fmla="*/ 35 w 36"/>
                <a:gd name="T47" fmla="*/ 12 h 33"/>
                <a:gd name="T48" fmla="*/ 35 w 36"/>
                <a:gd name="T49" fmla="*/ 11 h 33"/>
                <a:gd name="T50" fmla="*/ 29 w 36"/>
                <a:gd name="T51" fmla="*/ 5 h 33"/>
                <a:gd name="T52" fmla="*/ 23 w 36"/>
                <a:gd name="T53" fmla="*/ 1 h 33"/>
                <a:gd name="T54" fmla="*/ 18 w 36"/>
                <a:gd name="T55" fmla="*/ 0 h 33"/>
                <a:gd name="T56" fmla="*/ 18 w 36"/>
                <a:gd name="T5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" h="33">
                  <a:moveTo>
                    <a:pt x="18" y="0"/>
                  </a:moveTo>
                  <a:lnTo>
                    <a:pt x="18" y="0"/>
                  </a:lnTo>
                  <a:lnTo>
                    <a:pt x="12" y="0"/>
                  </a:lnTo>
                  <a:lnTo>
                    <a:pt x="7" y="3"/>
                  </a:lnTo>
                  <a:lnTo>
                    <a:pt x="3" y="5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7"/>
                  </a:lnTo>
                  <a:lnTo>
                    <a:pt x="5" y="19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2" y="26"/>
                  </a:lnTo>
                  <a:lnTo>
                    <a:pt x="14" y="28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23" y="30"/>
                  </a:lnTo>
                  <a:lnTo>
                    <a:pt x="29" y="25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5" y="12"/>
                  </a:lnTo>
                  <a:lnTo>
                    <a:pt x="35" y="11"/>
                  </a:lnTo>
                  <a:lnTo>
                    <a:pt x="29" y="5"/>
                  </a:lnTo>
                  <a:lnTo>
                    <a:pt x="23" y="1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59"/>
            <p:cNvSpPr>
              <a:spLocks/>
            </p:cNvSpPr>
            <p:nvPr/>
          </p:nvSpPr>
          <p:spPr bwMode="auto">
            <a:xfrm>
              <a:off x="7654926" y="2844800"/>
              <a:ext cx="168275" cy="158750"/>
            </a:xfrm>
            <a:custGeom>
              <a:avLst/>
              <a:gdLst>
                <a:gd name="T0" fmla="*/ 102 w 106"/>
                <a:gd name="T1" fmla="*/ 5 h 100"/>
                <a:gd name="T2" fmla="*/ 95 w 106"/>
                <a:gd name="T3" fmla="*/ 3 h 100"/>
                <a:gd name="T4" fmla="*/ 90 w 106"/>
                <a:gd name="T5" fmla="*/ 0 h 100"/>
                <a:gd name="T6" fmla="*/ 88 w 106"/>
                <a:gd name="T7" fmla="*/ 0 h 100"/>
                <a:gd name="T8" fmla="*/ 84 w 106"/>
                <a:gd name="T9" fmla="*/ 6 h 100"/>
                <a:gd name="T10" fmla="*/ 81 w 106"/>
                <a:gd name="T11" fmla="*/ 12 h 100"/>
                <a:gd name="T12" fmla="*/ 80 w 106"/>
                <a:gd name="T13" fmla="*/ 12 h 100"/>
                <a:gd name="T14" fmla="*/ 76 w 106"/>
                <a:gd name="T15" fmla="*/ 16 h 100"/>
                <a:gd name="T16" fmla="*/ 69 w 106"/>
                <a:gd name="T17" fmla="*/ 20 h 100"/>
                <a:gd name="T18" fmla="*/ 62 w 106"/>
                <a:gd name="T19" fmla="*/ 21 h 100"/>
                <a:gd name="T20" fmla="*/ 63 w 106"/>
                <a:gd name="T21" fmla="*/ 27 h 100"/>
                <a:gd name="T22" fmla="*/ 63 w 106"/>
                <a:gd name="T23" fmla="*/ 28 h 100"/>
                <a:gd name="T24" fmla="*/ 54 w 106"/>
                <a:gd name="T25" fmla="*/ 30 h 100"/>
                <a:gd name="T26" fmla="*/ 50 w 106"/>
                <a:gd name="T27" fmla="*/ 28 h 100"/>
                <a:gd name="T28" fmla="*/ 45 w 106"/>
                <a:gd name="T29" fmla="*/ 25 h 100"/>
                <a:gd name="T30" fmla="*/ 43 w 106"/>
                <a:gd name="T31" fmla="*/ 25 h 100"/>
                <a:gd name="T32" fmla="*/ 37 w 106"/>
                <a:gd name="T33" fmla="*/ 30 h 100"/>
                <a:gd name="T34" fmla="*/ 33 w 106"/>
                <a:gd name="T35" fmla="*/ 36 h 100"/>
                <a:gd name="T36" fmla="*/ 19 w 106"/>
                <a:gd name="T37" fmla="*/ 45 h 100"/>
                <a:gd name="T38" fmla="*/ 4 w 106"/>
                <a:gd name="T39" fmla="*/ 52 h 100"/>
                <a:gd name="T40" fmla="*/ 0 w 106"/>
                <a:gd name="T41" fmla="*/ 59 h 100"/>
                <a:gd name="T42" fmla="*/ 5 w 106"/>
                <a:gd name="T43" fmla="*/ 60 h 100"/>
                <a:gd name="T44" fmla="*/ 13 w 106"/>
                <a:gd name="T45" fmla="*/ 66 h 100"/>
                <a:gd name="T46" fmla="*/ 18 w 106"/>
                <a:gd name="T47" fmla="*/ 68 h 100"/>
                <a:gd name="T48" fmla="*/ 18 w 106"/>
                <a:gd name="T49" fmla="*/ 73 h 100"/>
                <a:gd name="T50" fmla="*/ 8 w 106"/>
                <a:gd name="T51" fmla="*/ 85 h 100"/>
                <a:gd name="T52" fmla="*/ 6 w 106"/>
                <a:gd name="T53" fmla="*/ 88 h 100"/>
                <a:gd name="T54" fmla="*/ 9 w 106"/>
                <a:gd name="T55" fmla="*/ 92 h 100"/>
                <a:gd name="T56" fmla="*/ 11 w 106"/>
                <a:gd name="T57" fmla="*/ 95 h 100"/>
                <a:gd name="T58" fmla="*/ 13 w 106"/>
                <a:gd name="T59" fmla="*/ 99 h 100"/>
                <a:gd name="T60" fmla="*/ 19 w 106"/>
                <a:gd name="T61" fmla="*/ 99 h 100"/>
                <a:gd name="T62" fmla="*/ 20 w 106"/>
                <a:gd name="T63" fmla="*/ 96 h 100"/>
                <a:gd name="T64" fmla="*/ 30 w 106"/>
                <a:gd name="T65" fmla="*/ 96 h 100"/>
                <a:gd name="T66" fmla="*/ 33 w 106"/>
                <a:gd name="T67" fmla="*/ 96 h 100"/>
                <a:gd name="T68" fmla="*/ 34 w 106"/>
                <a:gd name="T69" fmla="*/ 98 h 100"/>
                <a:gd name="T70" fmla="*/ 44 w 106"/>
                <a:gd name="T71" fmla="*/ 91 h 100"/>
                <a:gd name="T72" fmla="*/ 50 w 106"/>
                <a:gd name="T73" fmla="*/ 89 h 100"/>
                <a:gd name="T74" fmla="*/ 58 w 106"/>
                <a:gd name="T75" fmla="*/ 88 h 100"/>
                <a:gd name="T76" fmla="*/ 66 w 106"/>
                <a:gd name="T77" fmla="*/ 85 h 100"/>
                <a:gd name="T78" fmla="*/ 58 w 106"/>
                <a:gd name="T79" fmla="*/ 77 h 100"/>
                <a:gd name="T80" fmla="*/ 52 w 106"/>
                <a:gd name="T81" fmla="*/ 73 h 100"/>
                <a:gd name="T82" fmla="*/ 50 w 106"/>
                <a:gd name="T83" fmla="*/ 68 h 100"/>
                <a:gd name="T84" fmla="*/ 52 w 106"/>
                <a:gd name="T85" fmla="*/ 60 h 100"/>
                <a:gd name="T86" fmla="*/ 56 w 106"/>
                <a:gd name="T87" fmla="*/ 59 h 100"/>
                <a:gd name="T88" fmla="*/ 70 w 106"/>
                <a:gd name="T89" fmla="*/ 50 h 100"/>
                <a:gd name="T90" fmla="*/ 84 w 106"/>
                <a:gd name="T91" fmla="*/ 42 h 100"/>
                <a:gd name="T92" fmla="*/ 87 w 106"/>
                <a:gd name="T93" fmla="*/ 34 h 100"/>
                <a:gd name="T94" fmla="*/ 90 w 106"/>
                <a:gd name="T95" fmla="*/ 23 h 100"/>
                <a:gd name="T96" fmla="*/ 95 w 106"/>
                <a:gd name="T97" fmla="*/ 14 h 100"/>
                <a:gd name="T98" fmla="*/ 106 w 106"/>
                <a:gd name="T99" fmla="*/ 6 h 100"/>
                <a:gd name="T100" fmla="*/ 102 w 106"/>
                <a:gd name="T101" fmla="*/ 5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6" h="100">
                  <a:moveTo>
                    <a:pt x="102" y="5"/>
                  </a:moveTo>
                  <a:lnTo>
                    <a:pt x="102" y="5"/>
                  </a:lnTo>
                  <a:lnTo>
                    <a:pt x="98" y="5"/>
                  </a:lnTo>
                  <a:lnTo>
                    <a:pt x="95" y="3"/>
                  </a:lnTo>
                  <a:lnTo>
                    <a:pt x="93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7" y="2"/>
                  </a:lnTo>
                  <a:lnTo>
                    <a:pt x="84" y="6"/>
                  </a:lnTo>
                  <a:lnTo>
                    <a:pt x="83" y="10"/>
                  </a:lnTo>
                  <a:lnTo>
                    <a:pt x="81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77" y="13"/>
                  </a:lnTo>
                  <a:lnTo>
                    <a:pt x="76" y="16"/>
                  </a:lnTo>
                  <a:lnTo>
                    <a:pt x="73" y="18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2" y="21"/>
                  </a:lnTo>
                  <a:lnTo>
                    <a:pt x="62" y="23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8"/>
                  </a:lnTo>
                  <a:lnTo>
                    <a:pt x="62" y="30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0" y="28"/>
                  </a:lnTo>
                  <a:lnTo>
                    <a:pt x="47" y="27"/>
                  </a:lnTo>
                  <a:lnTo>
                    <a:pt x="45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0" y="27"/>
                  </a:lnTo>
                  <a:lnTo>
                    <a:pt x="37" y="30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27" y="41"/>
                  </a:lnTo>
                  <a:lnTo>
                    <a:pt x="19" y="45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1" y="55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5" y="60"/>
                  </a:lnTo>
                  <a:lnTo>
                    <a:pt x="9" y="63"/>
                  </a:lnTo>
                  <a:lnTo>
                    <a:pt x="13" y="66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70"/>
                  </a:lnTo>
                  <a:lnTo>
                    <a:pt x="18" y="73"/>
                  </a:lnTo>
                  <a:lnTo>
                    <a:pt x="16" y="77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6" y="88"/>
                  </a:lnTo>
                  <a:lnTo>
                    <a:pt x="8" y="91"/>
                  </a:lnTo>
                  <a:lnTo>
                    <a:pt x="9" y="92"/>
                  </a:lnTo>
                  <a:lnTo>
                    <a:pt x="11" y="95"/>
                  </a:lnTo>
                  <a:lnTo>
                    <a:pt x="11" y="95"/>
                  </a:lnTo>
                  <a:lnTo>
                    <a:pt x="12" y="98"/>
                  </a:lnTo>
                  <a:lnTo>
                    <a:pt x="13" y="99"/>
                  </a:lnTo>
                  <a:lnTo>
                    <a:pt x="16" y="100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20" y="96"/>
                  </a:lnTo>
                  <a:lnTo>
                    <a:pt x="23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3" y="96"/>
                  </a:lnTo>
                  <a:lnTo>
                    <a:pt x="34" y="98"/>
                  </a:lnTo>
                  <a:lnTo>
                    <a:pt x="34" y="98"/>
                  </a:lnTo>
                  <a:lnTo>
                    <a:pt x="44" y="91"/>
                  </a:lnTo>
                  <a:lnTo>
                    <a:pt x="44" y="91"/>
                  </a:lnTo>
                  <a:lnTo>
                    <a:pt x="45" y="89"/>
                  </a:lnTo>
                  <a:lnTo>
                    <a:pt x="50" y="89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62" y="88"/>
                  </a:lnTo>
                  <a:lnTo>
                    <a:pt x="66" y="85"/>
                  </a:lnTo>
                  <a:lnTo>
                    <a:pt x="66" y="85"/>
                  </a:lnTo>
                  <a:lnTo>
                    <a:pt x="58" y="77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51" y="70"/>
                  </a:lnTo>
                  <a:lnTo>
                    <a:pt x="50" y="68"/>
                  </a:lnTo>
                  <a:lnTo>
                    <a:pt x="50" y="64"/>
                  </a:lnTo>
                  <a:lnTo>
                    <a:pt x="52" y="60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63" y="55"/>
                  </a:lnTo>
                  <a:lnTo>
                    <a:pt x="70" y="50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6" y="38"/>
                  </a:lnTo>
                  <a:lnTo>
                    <a:pt x="87" y="34"/>
                  </a:lnTo>
                  <a:lnTo>
                    <a:pt x="87" y="28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95" y="14"/>
                  </a:lnTo>
                  <a:lnTo>
                    <a:pt x="106" y="6"/>
                  </a:lnTo>
                  <a:lnTo>
                    <a:pt x="106" y="6"/>
                  </a:lnTo>
                  <a:lnTo>
                    <a:pt x="102" y="5"/>
                  </a:lnTo>
                  <a:lnTo>
                    <a:pt x="102" y="5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60"/>
            <p:cNvSpPr>
              <a:spLocks/>
            </p:cNvSpPr>
            <p:nvPr/>
          </p:nvSpPr>
          <p:spPr bwMode="auto">
            <a:xfrm>
              <a:off x="6583363" y="3208338"/>
              <a:ext cx="187325" cy="106363"/>
            </a:xfrm>
            <a:custGeom>
              <a:avLst/>
              <a:gdLst>
                <a:gd name="T0" fmla="*/ 118 w 118"/>
                <a:gd name="T1" fmla="*/ 43 h 67"/>
                <a:gd name="T2" fmla="*/ 115 w 118"/>
                <a:gd name="T3" fmla="*/ 43 h 67"/>
                <a:gd name="T4" fmla="*/ 104 w 118"/>
                <a:gd name="T5" fmla="*/ 42 h 67"/>
                <a:gd name="T6" fmla="*/ 94 w 118"/>
                <a:gd name="T7" fmla="*/ 39 h 67"/>
                <a:gd name="T8" fmla="*/ 89 w 118"/>
                <a:gd name="T9" fmla="*/ 38 h 67"/>
                <a:gd name="T10" fmla="*/ 71 w 118"/>
                <a:gd name="T11" fmla="*/ 32 h 67"/>
                <a:gd name="T12" fmla="*/ 64 w 118"/>
                <a:gd name="T13" fmla="*/ 27 h 67"/>
                <a:gd name="T14" fmla="*/ 32 w 118"/>
                <a:gd name="T15" fmla="*/ 5 h 67"/>
                <a:gd name="T16" fmla="*/ 28 w 118"/>
                <a:gd name="T17" fmla="*/ 2 h 67"/>
                <a:gd name="T18" fmla="*/ 21 w 118"/>
                <a:gd name="T19" fmla="*/ 0 h 67"/>
                <a:gd name="T20" fmla="*/ 19 w 118"/>
                <a:gd name="T21" fmla="*/ 2 h 67"/>
                <a:gd name="T22" fmla="*/ 16 w 118"/>
                <a:gd name="T23" fmla="*/ 3 h 67"/>
                <a:gd name="T24" fmla="*/ 10 w 118"/>
                <a:gd name="T25" fmla="*/ 5 h 67"/>
                <a:gd name="T26" fmla="*/ 4 w 118"/>
                <a:gd name="T27" fmla="*/ 12 h 67"/>
                <a:gd name="T28" fmla="*/ 3 w 118"/>
                <a:gd name="T29" fmla="*/ 13 h 67"/>
                <a:gd name="T30" fmla="*/ 0 w 118"/>
                <a:gd name="T31" fmla="*/ 25 h 67"/>
                <a:gd name="T32" fmla="*/ 1 w 118"/>
                <a:gd name="T33" fmla="*/ 27 h 67"/>
                <a:gd name="T34" fmla="*/ 7 w 118"/>
                <a:gd name="T35" fmla="*/ 30 h 67"/>
                <a:gd name="T36" fmla="*/ 8 w 118"/>
                <a:gd name="T37" fmla="*/ 31 h 67"/>
                <a:gd name="T38" fmla="*/ 15 w 118"/>
                <a:gd name="T39" fmla="*/ 35 h 67"/>
                <a:gd name="T40" fmla="*/ 21 w 118"/>
                <a:gd name="T41" fmla="*/ 38 h 67"/>
                <a:gd name="T42" fmla="*/ 22 w 118"/>
                <a:gd name="T43" fmla="*/ 39 h 67"/>
                <a:gd name="T44" fmla="*/ 33 w 118"/>
                <a:gd name="T45" fmla="*/ 43 h 67"/>
                <a:gd name="T46" fmla="*/ 36 w 118"/>
                <a:gd name="T47" fmla="*/ 45 h 67"/>
                <a:gd name="T48" fmla="*/ 46 w 118"/>
                <a:gd name="T49" fmla="*/ 52 h 67"/>
                <a:gd name="T50" fmla="*/ 48 w 118"/>
                <a:gd name="T51" fmla="*/ 52 h 67"/>
                <a:gd name="T52" fmla="*/ 61 w 118"/>
                <a:gd name="T53" fmla="*/ 49 h 67"/>
                <a:gd name="T54" fmla="*/ 64 w 118"/>
                <a:gd name="T55" fmla="*/ 49 h 67"/>
                <a:gd name="T56" fmla="*/ 69 w 118"/>
                <a:gd name="T57" fmla="*/ 57 h 67"/>
                <a:gd name="T58" fmla="*/ 72 w 118"/>
                <a:gd name="T59" fmla="*/ 60 h 67"/>
                <a:gd name="T60" fmla="*/ 85 w 118"/>
                <a:gd name="T61" fmla="*/ 63 h 67"/>
                <a:gd name="T62" fmla="*/ 90 w 118"/>
                <a:gd name="T63" fmla="*/ 66 h 67"/>
                <a:gd name="T64" fmla="*/ 103 w 118"/>
                <a:gd name="T65" fmla="*/ 67 h 67"/>
                <a:gd name="T66" fmla="*/ 116 w 118"/>
                <a:gd name="T67" fmla="*/ 63 h 67"/>
                <a:gd name="T68" fmla="*/ 118 w 118"/>
                <a:gd name="T69" fmla="*/ 60 h 67"/>
                <a:gd name="T70" fmla="*/ 118 w 118"/>
                <a:gd name="T71" fmla="*/ 46 h 67"/>
                <a:gd name="T72" fmla="*/ 118 w 118"/>
                <a:gd name="T73" fmla="*/ 4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8" h="67">
                  <a:moveTo>
                    <a:pt x="118" y="43"/>
                  </a:moveTo>
                  <a:lnTo>
                    <a:pt x="118" y="43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08" y="43"/>
                  </a:lnTo>
                  <a:lnTo>
                    <a:pt x="104" y="42"/>
                  </a:lnTo>
                  <a:lnTo>
                    <a:pt x="98" y="39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89" y="38"/>
                  </a:lnTo>
                  <a:lnTo>
                    <a:pt x="80" y="35"/>
                  </a:lnTo>
                  <a:lnTo>
                    <a:pt x="71" y="32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47" y="16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28" y="2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6" y="3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5" y="9"/>
                  </a:lnTo>
                  <a:lnTo>
                    <a:pt x="4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1" y="20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4" y="28"/>
                  </a:lnTo>
                  <a:lnTo>
                    <a:pt x="7" y="30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1" y="34"/>
                  </a:lnTo>
                  <a:lnTo>
                    <a:pt x="15" y="35"/>
                  </a:lnTo>
                  <a:lnTo>
                    <a:pt x="19" y="37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2" y="39"/>
                  </a:lnTo>
                  <a:lnTo>
                    <a:pt x="25" y="42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6" y="45"/>
                  </a:lnTo>
                  <a:lnTo>
                    <a:pt x="40" y="48"/>
                  </a:lnTo>
                  <a:lnTo>
                    <a:pt x="46" y="52"/>
                  </a:lnTo>
                  <a:lnTo>
                    <a:pt x="46" y="52"/>
                  </a:lnTo>
                  <a:lnTo>
                    <a:pt x="48" y="52"/>
                  </a:lnTo>
                  <a:lnTo>
                    <a:pt x="53" y="50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4" y="49"/>
                  </a:lnTo>
                  <a:lnTo>
                    <a:pt x="65" y="52"/>
                  </a:lnTo>
                  <a:lnTo>
                    <a:pt x="69" y="57"/>
                  </a:lnTo>
                  <a:lnTo>
                    <a:pt x="69" y="57"/>
                  </a:lnTo>
                  <a:lnTo>
                    <a:pt x="72" y="60"/>
                  </a:lnTo>
                  <a:lnTo>
                    <a:pt x="78" y="62"/>
                  </a:lnTo>
                  <a:lnTo>
                    <a:pt x="85" y="63"/>
                  </a:lnTo>
                  <a:lnTo>
                    <a:pt x="90" y="66"/>
                  </a:lnTo>
                  <a:lnTo>
                    <a:pt x="90" y="66"/>
                  </a:lnTo>
                  <a:lnTo>
                    <a:pt x="94" y="67"/>
                  </a:lnTo>
                  <a:lnTo>
                    <a:pt x="103" y="67"/>
                  </a:lnTo>
                  <a:lnTo>
                    <a:pt x="111" y="66"/>
                  </a:lnTo>
                  <a:lnTo>
                    <a:pt x="116" y="63"/>
                  </a:lnTo>
                  <a:lnTo>
                    <a:pt x="116" y="63"/>
                  </a:lnTo>
                  <a:lnTo>
                    <a:pt x="118" y="60"/>
                  </a:lnTo>
                  <a:lnTo>
                    <a:pt x="118" y="56"/>
                  </a:lnTo>
                  <a:lnTo>
                    <a:pt x="118" y="46"/>
                  </a:lnTo>
                  <a:lnTo>
                    <a:pt x="118" y="46"/>
                  </a:lnTo>
                  <a:lnTo>
                    <a:pt x="118" y="43"/>
                  </a:lnTo>
                  <a:lnTo>
                    <a:pt x="118" y="43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61"/>
            <p:cNvSpPr>
              <a:spLocks/>
            </p:cNvSpPr>
            <p:nvPr/>
          </p:nvSpPr>
          <p:spPr bwMode="auto">
            <a:xfrm>
              <a:off x="6861176" y="3259138"/>
              <a:ext cx="211138" cy="465138"/>
            </a:xfrm>
            <a:custGeom>
              <a:avLst/>
              <a:gdLst>
                <a:gd name="T0" fmla="*/ 105 w 133"/>
                <a:gd name="T1" fmla="*/ 261 h 293"/>
                <a:gd name="T2" fmla="*/ 102 w 133"/>
                <a:gd name="T3" fmla="*/ 246 h 293"/>
                <a:gd name="T4" fmla="*/ 93 w 133"/>
                <a:gd name="T5" fmla="*/ 232 h 293"/>
                <a:gd name="T6" fmla="*/ 91 w 133"/>
                <a:gd name="T7" fmla="*/ 220 h 293"/>
                <a:gd name="T8" fmla="*/ 94 w 133"/>
                <a:gd name="T9" fmla="*/ 209 h 293"/>
                <a:gd name="T10" fmla="*/ 96 w 133"/>
                <a:gd name="T11" fmla="*/ 203 h 293"/>
                <a:gd name="T12" fmla="*/ 93 w 133"/>
                <a:gd name="T13" fmla="*/ 196 h 293"/>
                <a:gd name="T14" fmla="*/ 89 w 133"/>
                <a:gd name="T15" fmla="*/ 189 h 293"/>
                <a:gd name="T16" fmla="*/ 79 w 133"/>
                <a:gd name="T17" fmla="*/ 177 h 293"/>
                <a:gd name="T18" fmla="*/ 86 w 133"/>
                <a:gd name="T19" fmla="*/ 148 h 293"/>
                <a:gd name="T20" fmla="*/ 100 w 133"/>
                <a:gd name="T21" fmla="*/ 146 h 293"/>
                <a:gd name="T22" fmla="*/ 111 w 133"/>
                <a:gd name="T23" fmla="*/ 139 h 293"/>
                <a:gd name="T24" fmla="*/ 119 w 133"/>
                <a:gd name="T25" fmla="*/ 134 h 293"/>
                <a:gd name="T26" fmla="*/ 125 w 133"/>
                <a:gd name="T27" fmla="*/ 128 h 293"/>
                <a:gd name="T28" fmla="*/ 133 w 133"/>
                <a:gd name="T29" fmla="*/ 116 h 293"/>
                <a:gd name="T30" fmla="*/ 132 w 133"/>
                <a:gd name="T31" fmla="*/ 116 h 293"/>
                <a:gd name="T32" fmla="*/ 119 w 133"/>
                <a:gd name="T33" fmla="*/ 117 h 293"/>
                <a:gd name="T34" fmla="*/ 116 w 133"/>
                <a:gd name="T35" fmla="*/ 110 h 293"/>
                <a:gd name="T36" fmla="*/ 107 w 133"/>
                <a:gd name="T37" fmla="*/ 107 h 293"/>
                <a:gd name="T38" fmla="*/ 108 w 133"/>
                <a:gd name="T39" fmla="*/ 95 h 293"/>
                <a:gd name="T40" fmla="*/ 102 w 133"/>
                <a:gd name="T41" fmla="*/ 91 h 293"/>
                <a:gd name="T42" fmla="*/ 97 w 133"/>
                <a:gd name="T43" fmla="*/ 78 h 293"/>
                <a:gd name="T44" fmla="*/ 93 w 133"/>
                <a:gd name="T45" fmla="*/ 74 h 293"/>
                <a:gd name="T46" fmla="*/ 80 w 133"/>
                <a:gd name="T47" fmla="*/ 75 h 293"/>
                <a:gd name="T48" fmla="*/ 80 w 133"/>
                <a:gd name="T49" fmla="*/ 67 h 293"/>
                <a:gd name="T50" fmla="*/ 93 w 133"/>
                <a:gd name="T51" fmla="*/ 45 h 293"/>
                <a:gd name="T52" fmla="*/ 97 w 133"/>
                <a:gd name="T53" fmla="*/ 23 h 293"/>
                <a:gd name="T54" fmla="*/ 93 w 133"/>
                <a:gd name="T55" fmla="*/ 14 h 293"/>
                <a:gd name="T56" fmla="*/ 87 w 133"/>
                <a:gd name="T57" fmla="*/ 11 h 293"/>
                <a:gd name="T58" fmla="*/ 83 w 133"/>
                <a:gd name="T59" fmla="*/ 2 h 293"/>
                <a:gd name="T60" fmla="*/ 75 w 133"/>
                <a:gd name="T61" fmla="*/ 3 h 293"/>
                <a:gd name="T62" fmla="*/ 73 w 133"/>
                <a:gd name="T63" fmla="*/ 6 h 293"/>
                <a:gd name="T64" fmla="*/ 69 w 133"/>
                <a:gd name="T65" fmla="*/ 11 h 293"/>
                <a:gd name="T66" fmla="*/ 72 w 133"/>
                <a:gd name="T67" fmla="*/ 21 h 293"/>
                <a:gd name="T68" fmla="*/ 68 w 133"/>
                <a:gd name="T69" fmla="*/ 23 h 293"/>
                <a:gd name="T70" fmla="*/ 64 w 133"/>
                <a:gd name="T71" fmla="*/ 20 h 293"/>
                <a:gd name="T72" fmla="*/ 46 w 133"/>
                <a:gd name="T73" fmla="*/ 32 h 293"/>
                <a:gd name="T74" fmla="*/ 41 w 133"/>
                <a:gd name="T75" fmla="*/ 45 h 293"/>
                <a:gd name="T76" fmla="*/ 37 w 133"/>
                <a:gd name="T77" fmla="*/ 59 h 293"/>
                <a:gd name="T78" fmla="*/ 32 w 133"/>
                <a:gd name="T79" fmla="*/ 77 h 293"/>
                <a:gd name="T80" fmla="*/ 26 w 133"/>
                <a:gd name="T81" fmla="*/ 78 h 293"/>
                <a:gd name="T82" fmla="*/ 18 w 133"/>
                <a:gd name="T83" fmla="*/ 84 h 293"/>
                <a:gd name="T84" fmla="*/ 15 w 133"/>
                <a:gd name="T85" fmla="*/ 96 h 293"/>
                <a:gd name="T86" fmla="*/ 12 w 133"/>
                <a:gd name="T87" fmla="*/ 109 h 293"/>
                <a:gd name="T88" fmla="*/ 5 w 133"/>
                <a:gd name="T89" fmla="*/ 121 h 293"/>
                <a:gd name="T90" fmla="*/ 5 w 133"/>
                <a:gd name="T91" fmla="*/ 134 h 293"/>
                <a:gd name="T92" fmla="*/ 18 w 133"/>
                <a:gd name="T93" fmla="*/ 143 h 293"/>
                <a:gd name="T94" fmla="*/ 32 w 133"/>
                <a:gd name="T95" fmla="*/ 172 h 293"/>
                <a:gd name="T96" fmla="*/ 32 w 133"/>
                <a:gd name="T97" fmla="*/ 193 h 293"/>
                <a:gd name="T98" fmla="*/ 30 w 133"/>
                <a:gd name="T99" fmla="*/ 203 h 293"/>
                <a:gd name="T100" fmla="*/ 44 w 133"/>
                <a:gd name="T101" fmla="*/ 209 h 293"/>
                <a:gd name="T102" fmla="*/ 55 w 133"/>
                <a:gd name="T103" fmla="*/ 200 h 293"/>
                <a:gd name="T104" fmla="*/ 65 w 133"/>
                <a:gd name="T105" fmla="*/ 189 h 293"/>
                <a:gd name="T106" fmla="*/ 73 w 133"/>
                <a:gd name="T107" fmla="*/ 195 h 293"/>
                <a:gd name="T108" fmla="*/ 79 w 133"/>
                <a:gd name="T109" fmla="*/ 213 h 293"/>
                <a:gd name="T110" fmla="*/ 84 w 133"/>
                <a:gd name="T111" fmla="*/ 243 h 293"/>
                <a:gd name="T112" fmla="*/ 94 w 133"/>
                <a:gd name="T113" fmla="*/ 259 h 293"/>
                <a:gd name="T114" fmla="*/ 93 w 133"/>
                <a:gd name="T115" fmla="*/ 275 h 293"/>
                <a:gd name="T116" fmla="*/ 96 w 133"/>
                <a:gd name="T117" fmla="*/ 289 h 293"/>
                <a:gd name="T118" fmla="*/ 100 w 133"/>
                <a:gd name="T119" fmla="*/ 29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3" h="293">
                  <a:moveTo>
                    <a:pt x="108" y="268"/>
                  </a:moveTo>
                  <a:lnTo>
                    <a:pt x="108" y="268"/>
                  </a:lnTo>
                  <a:lnTo>
                    <a:pt x="107" y="264"/>
                  </a:lnTo>
                  <a:lnTo>
                    <a:pt x="105" y="261"/>
                  </a:lnTo>
                  <a:lnTo>
                    <a:pt x="104" y="259"/>
                  </a:lnTo>
                  <a:lnTo>
                    <a:pt x="102" y="256"/>
                  </a:lnTo>
                  <a:lnTo>
                    <a:pt x="102" y="256"/>
                  </a:lnTo>
                  <a:lnTo>
                    <a:pt x="102" y="246"/>
                  </a:lnTo>
                  <a:lnTo>
                    <a:pt x="100" y="242"/>
                  </a:lnTo>
                  <a:lnTo>
                    <a:pt x="97" y="236"/>
                  </a:lnTo>
                  <a:lnTo>
                    <a:pt x="97" y="236"/>
                  </a:lnTo>
                  <a:lnTo>
                    <a:pt x="93" y="232"/>
                  </a:lnTo>
                  <a:lnTo>
                    <a:pt x="90" y="228"/>
                  </a:lnTo>
                  <a:lnTo>
                    <a:pt x="90" y="224"/>
                  </a:lnTo>
                  <a:lnTo>
                    <a:pt x="91" y="220"/>
                  </a:lnTo>
                  <a:lnTo>
                    <a:pt x="91" y="220"/>
                  </a:lnTo>
                  <a:lnTo>
                    <a:pt x="93" y="217"/>
                  </a:lnTo>
                  <a:lnTo>
                    <a:pt x="93" y="213"/>
                  </a:lnTo>
                  <a:lnTo>
                    <a:pt x="93" y="210"/>
                  </a:lnTo>
                  <a:lnTo>
                    <a:pt x="94" y="209"/>
                  </a:lnTo>
                  <a:lnTo>
                    <a:pt x="94" y="209"/>
                  </a:lnTo>
                  <a:lnTo>
                    <a:pt x="96" y="209"/>
                  </a:lnTo>
                  <a:lnTo>
                    <a:pt x="96" y="206"/>
                  </a:lnTo>
                  <a:lnTo>
                    <a:pt x="96" y="203"/>
                  </a:lnTo>
                  <a:lnTo>
                    <a:pt x="94" y="202"/>
                  </a:lnTo>
                  <a:lnTo>
                    <a:pt x="94" y="202"/>
                  </a:lnTo>
                  <a:lnTo>
                    <a:pt x="93" y="199"/>
                  </a:lnTo>
                  <a:lnTo>
                    <a:pt x="93" y="196"/>
                  </a:lnTo>
                  <a:lnTo>
                    <a:pt x="93" y="193"/>
                  </a:lnTo>
                  <a:lnTo>
                    <a:pt x="91" y="191"/>
                  </a:lnTo>
                  <a:lnTo>
                    <a:pt x="91" y="191"/>
                  </a:lnTo>
                  <a:lnTo>
                    <a:pt x="89" y="189"/>
                  </a:lnTo>
                  <a:lnTo>
                    <a:pt x="84" y="185"/>
                  </a:lnTo>
                  <a:lnTo>
                    <a:pt x="80" y="181"/>
                  </a:lnTo>
                  <a:lnTo>
                    <a:pt x="79" y="177"/>
                  </a:lnTo>
                  <a:lnTo>
                    <a:pt x="79" y="177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4" y="149"/>
                  </a:lnTo>
                  <a:lnTo>
                    <a:pt x="86" y="148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97" y="148"/>
                  </a:lnTo>
                  <a:lnTo>
                    <a:pt x="100" y="146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7" y="141"/>
                  </a:lnTo>
                  <a:lnTo>
                    <a:pt x="111" y="139"/>
                  </a:lnTo>
                  <a:lnTo>
                    <a:pt x="115" y="138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9" y="134"/>
                  </a:lnTo>
                  <a:lnTo>
                    <a:pt x="122" y="132"/>
                  </a:lnTo>
                  <a:lnTo>
                    <a:pt x="125" y="131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6" y="125"/>
                  </a:lnTo>
                  <a:lnTo>
                    <a:pt x="129" y="121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2" y="116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2" y="118"/>
                  </a:lnTo>
                  <a:lnTo>
                    <a:pt x="119" y="117"/>
                  </a:lnTo>
                  <a:lnTo>
                    <a:pt x="116" y="116"/>
                  </a:lnTo>
                  <a:lnTo>
                    <a:pt x="116" y="111"/>
                  </a:lnTo>
                  <a:lnTo>
                    <a:pt x="116" y="111"/>
                  </a:lnTo>
                  <a:lnTo>
                    <a:pt x="116" y="110"/>
                  </a:lnTo>
                  <a:lnTo>
                    <a:pt x="114" y="109"/>
                  </a:lnTo>
                  <a:lnTo>
                    <a:pt x="108" y="107"/>
                  </a:lnTo>
                  <a:lnTo>
                    <a:pt x="108" y="107"/>
                  </a:lnTo>
                  <a:lnTo>
                    <a:pt x="107" y="107"/>
                  </a:lnTo>
                  <a:lnTo>
                    <a:pt x="107" y="104"/>
                  </a:lnTo>
                  <a:lnTo>
                    <a:pt x="108" y="98"/>
                  </a:lnTo>
                  <a:lnTo>
                    <a:pt x="108" y="98"/>
                  </a:lnTo>
                  <a:lnTo>
                    <a:pt x="108" y="95"/>
                  </a:lnTo>
                  <a:lnTo>
                    <a:pt x="108" y="92"/>
                  </a:lnTo>
                  <a:lnTo>
                    <a:pt x="105" y="91"/>
                  </a:lnTo>
                  <a:lnTo>
                    <a:pt x="102" y="91"/>
                  </a:lnTo>
                  <a:lnTo>
                    <a:pt x="102" y="91"/>
                  </a:lnTo>
                  <a:lnTo>
                    <a:pt x="100" y="89"/>
                  </a:lnTo>
                  <a:lnTo>
                    <a:pt x="97" y="85"/>
                  </a:lnTo>
                  <a:lnTo>
                    <a:pt x="97" y="81"/>
                  </a:lnTo>
                  <a:lnTo>
                    <a:pt x="97" y="78"/>
                  </a:lnTo>
                  <a:lnTo>
                    <a:pt x="97" y="78"/>
                  </a:lnTo>
                  <a:lnTo>
                    <a:pt x="97" y="77"/>
                  </a:lnTo>
                  <a:lnTo>
                    <a:pt x="97" y="75"/>
                  </a:lnTo>
                  <a:lnTo>
                    <a:pt x="93" y="74"/>
                  </a:lnTo>
                  <a:lnTo>
                    <a:pt x="87" y="74"/>
                  </a:lnTo>
                  <a:lnTo>
                    <a:pt x="83" y="75"/>
                  </a:lnTo>
                  <a:lnTo>
                    <a:pt x="83" y="75"/>
                  </a:lnTo>
                  <a:lnTo>
                    <a:pt x="80" y="75"/>
                  </a:lnTo>
                  <a:lnTo>
                    <a:pt x="80" y="73"/>
                  </a:lnTo>
                  <a:lnTo>
                    <a:pt x="80" y="70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3"/>
                  </a:lnTo>
                  <a:lnTo>
                    <a:pt x="84" y="57"/>
                  </a:lnTo>
                  <a:lnTo>
                    <a:pt x="89" y="50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7" y="41"/>
                  </a:lnTo>
                  <a:lnTo>
                    <a:pt x="97" y="34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18"/>
                  </a:lnTo>
                  <a:lnTo>
                    <a:pt x="96" y="16"/>
                  </a:lnTo>
                  <a:lnTo>
                    <a:pt x="93" y="14"/>
                  </a:lnTo>
                  <a:lnTo>
                    <a:pt x="91" y="14"/>
                  </a:lnTo>
                  <a:lnTo>
                    <a:pt x="91" y="14"/>
                  </a:lnTo>
                  <a:lnTo>
                    <a:pt x="89" y="14"/>
                  </a:lnTo>
                  <a:lnTo>
                    <a:pt x="87" y="11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6" y="3"/>
                  </a:lnTo>
                  <a:lnTo>
                    <a:pt x="83" y="2"/>
                  </a:lnTo>
                  <a:lnTo>
                    <a:pt x="80" y="0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3" y="6"/>
                  </a:lnTo>
                  <a:lnTo>
                    <a:pt x="72" y="9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69" y="11"/>
                  </a:lnTo>
                  <a:lnTo>
                    <a:pt x="69" y="14"/>
                  </a:lnTo>
                  <a:lnTo>
                    <a:pt x="71" y="17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3"/>
                  </a:lnTo>
                  <a:lnTo>
                    <a:pt x="73" y="24"/>
                  </a:lnTo>
                  <a:lnTo>
                    <a:pt x="71" y="24"/>
                  </a:lnTo>
                  <a:lnTo>
                    <a:pt x="68" y="23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65" y="20"/>
                  </a:lnTo>
                  <a:lnTo>
                    <a:pt x="64" y="20"/>
                  </a:lnTo>
                  <a:lnTo>
                    <a:pt x="59" y="21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46" y="32"/>
                  </a:lnTo>
                  <a:lnTo>
                    <a:pt x="43" y="35"/>
                  </a:lnTo>
                  <a:lnTo>
                    <a:pt x="41" y="39"/>
                  </a:lnTo>
                  <a:lnTo>
                    <a:pt x="41" y="39"/>
                  </a:lnTo>
                  <a:lnTo>
                    <a:pt x="41" y="45"/>
                  </a:lnTo>
                  <a:lnTo>
                    <a:pt x="39" y="49"/>
                  </a:lnTo>
                  <a:lnTo>
                    <a:pt x="37" y="53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63"/>
                  </a:lnTo>
                  <a:lnTo>
                    <a:pt x="34" y="68"/>
                  </a:lnTo>
                  <a:lnTo>
                    <a:pt x="33" y="74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8"/>
                  </a:lnTo>
                  <a:lnTo>
                    <a:pt x="30" y="78"/>
                  </a:lnTo>
                  <a:lnTo>
                    <a:pt x="26" y="78"/>
                  </a:lnTo>
                  <a:lnTo>
                    <a:pt x="19" y="77"/>
                  </a:lnTo>
                  <a:lnTo>
                    <a:pt x="19" y="77"/>
                  </a:lnTo>
                  <a:lnTo>
                    <a:pt x="19" y="78"/>
                  </a:lnTo>
                  <a:lnTo>
                    <a:pt x="18" y="84"/>
                  </a:lnTo>
                  <a:lnTo>
                    <a:pt x="18" y="88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5" y="96"/>
                  </a:lnTo>
                  <a:lnTo>
                    <a:pt x="15" y="102"/>
                  </a:lnTo>
                  <a:lnTo>
                    <a:pt x="14" y="107"/>
                  </a:lnTo>
                  <a:lnTo>
                    <a:pt x="14" y="109"/>
                  </a:lnTo>
                  <a:lnTo>
                    <a:pt x="12" y="109"/>
                  </a:lnTo>
                  <a:lnTo>
                    <a:pt x="12" y="109"/>
                  </a:lnTo>
                  <a:lnTo>
                    <a:pt x="9" y="110"/>
                  </a:lnTo>
                  <a:lnTo>
                    <a:pt x="7" y="114"/>
                  </a:lnTo>
                  <a:lnTo>
                    <a:pt x="5" y="121"/>
                  </a:lnTo>
                  <a:lnTo>
                    <a:pt x="5" y="121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5" y="134"/>
                  </a:lnTo>
                  <a:lnTo>
                    <a:pt x="9" y="138"/>
                  </a:lnTo>
                  <a:lnTo>
                    <a:pt x="15" y="141"/>
                  </a:lnTo>
                  <a:lnTo>
                    <a:pt x="15" y="141"/>
                  </a:lnTo>
                  <a:lnTo>
                    <a:pt x="18" y="143"/>
                  </a:lnTo>
                  <a:lnTo>
                    <a:pt x="21" y="146"/>
                  </a:lnTo>
                  <a:lnTo>
                    <a:pt x="26" y="154"/>
                  </a:lnTo>
                  <a:lnTo>
                    <a:pt x="29" y="164"/>
                  </a:lnTo>
                  <a:lnTo>
                    <a:pt x="32" y="172"/>
                  </a:lnTo>
                  <a:lnTo>
                    <a:pt x="32" y="172"/>
                  </a:lnTo>
                  <a:lnTo>
                    <a:pt x="33" y="179"/>
                  </a:lnTo>
                  <a:lnTo>
                    <a:pt x="33" y="186"/>
                  </a:lnTo>
                  <a:lnTo>
                    <a:pt x="32" y="193"/>
                  </a:lnTo>
                  <a:lnTo>
                    <a:pt x="30" y="197"/>
                  </a:lnTo>
                  <a:lnTo>
                    <a:pt x="30" y="197"/>
                  </a:lnTo>
                  <a:lnTo>
                    <a:pt x="29" y="200"/>
                  </a:lnTo>
                  <a:lnTo>
                    <a:pt x="30" y="203"/>
                  </a:lnTo>
                  <a:lnTo>
                    <a:pt x="36" y="206"/>
                  </a:lnTo>
                  <a:lnTo>
                    <a:pt x="36" y="206"/>
                  </a:lnTo>
                  <a:lnTo>
                    <a:pt x="40" y="207"/>
                  </a:lnTo>
                  <a:lnTo>
                    <a:pt x="44" y="209"/>
                  </a:lnTo>
                  <a:lnTo>
                    <a:pt x="48" y="207"/>
                  </a:lnTo>
                  <a:lnTo>
                    <a:pt x="51" y="204"/>
                  </a:lnTo>
                  <a:lnTo>
                    <a:pt x="51" y="204"/>
                  </a:lnTo>
                  <a:lnTo>
                    <a:pt x="55" y="200"/>
                  </a:lnTo>
                  <a:lnTo>
                    <a:pt x="59" y="196"/>
                  </a:lnTo>
                  <a:lnTo>
                    <a:pt x="62" y="193"/>
                  </a:lnTo>
                  <a:lnTo>
                    <a:pt x="65" y="189"/>
                  </a:lnTo>
                  <a:lnTo>
                    <a:pt x="65" y="189"/>
                  </a:lnTo>
                  <a:lnTo>
                    <a:pt x="65" y="186"/>
                  </a:lnTo>
                  <a:lnTo>
                    <a:pt x="66" y="186"/>
                  </a:lnTo>
                  <a:lnTo>
                    <a:pt x="68" y="188"/>
                  </a:lnTo>
                  <a:lnTo>
                    <a:pt x="73" y="195"/>
                  </a:lnTo>
                  <a:lnTo>
                    <a:pt x="73" y="195"/>
                  </a:lnTo>
                  <a:lnTo>
                    <a:pt x="75" y="197"/>
                  </a:lnTo>
                  <a:lnTo>
                    <a:pt x="77" y="202"/>
                  </a:lnTo>
                  <a:lnTo>
                    <a:pt x="79" y="213"/>
                  </a:lnTo>
                  <a:lnTo>
                    <a:pt x="79" y="213"/>
                  </a:lnTo>
                  <a:lnTo>
                    <a:pt x="82" y="229"/>
                  </a:lnTo>
                  <a:lnTo>
                    <a:pt x="83" y="239"/>
                  </a:lnTo>
                  <a:lnTo>
                    <a:pt x="84" y="243"/>
                  </a:lnTo>
                  <a:lnTo>
                    <a:pt x="87" y="246"/>
                  </a:lnTo>
                  <a:lnTo>
                    <a:pt x="87" y="246"/>
                  </a:lnTo>
                  <a:lnTo>
                    <a:pt x="91" y="252"/>
                  </a:lnTo>
                  <a:lnTo>
                    <a:pt x="94" y="259"/>
                  </a:lnTo>
                  <a:lnTo>
                    <a:pt x="94" y="265"/>
                  </a:lnTo>
                  <a:lnTo>
                    <a:pt x="93" y="271"/>
                  </a:lnTo>
                  <a:lnTo>
                    <a:pt x="93" y="271"/>
                  </a:lnTo>
                  <a:lnTo>
                    <a:pt x="93" y="275"/>
                  </a:lnTo>
                  <a:lnTo>
                    <a:pt x="94" y="279"/>
                  </a:lnTo>
                  <a:lnTo>
                    <a:pt x="96" y="285"/>
                  </a:lnTo>
                  <a:lnTo>
                    <a:pt x="96" y="289"/>
                  </a:lnTo>
                  <a:lnTo>
                    <a:pt x="96" y="289"/>
                  </a:lnTo>
                  <a:lnTo>
                    <a:pt x="94" y="293"/>
                  </a:lnTo>
                  <a:lnTo>
                    <a:pt x="94" y="293"/>
                  </a:lnTo>
                  <a:lnTo>
                    <a:pt x="97" y="293"/>
                  </a:lnTo>
                  <a:lnTo>
                    <a:pt x="100" y="290"/>
                  </a:lnTo>
                  <a:lnTo>
                    <a:pt x="104" y="281"/>
                  </a:lnTo>
                  <a:lnTo>
                    <a:pt x="108" y="268"/>
                  </a:lnTo>
                  <a:lnTo>
                    <a:pt x="108" y="268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62"/>
            <p:cNvSpPr>
              <a:spLocks/>
            </p:cNvSpPr>
            <p:nvPr/>
          </p:nvSpPr>
          <p:spPr bwMode="auto">
            <a:xfrm>
              <a:off x="6788151" y="3267075"/>
              <a:ext cx="73025" cy="39688"/>
            </a:xfrm>
            <a:custGeom>
              <a:avLst/>
              <a:gdLst>
                <a:gd name="T0" fmla="*/ 46 w 46"/>
                <a:gd name="T1" fmla="*/ 8 h 25"/>
                <a:gd name="T2" fmla="*/ 46 w 46"/>
                <a:gd name="T3" fmla="*/ 8 h 25"/>
                <a:gd name="T4" fmla="*/ 40 w 46"/>
                <a:gd name="T5" fmla="*/ 4 h 25"/>
                <a:gd name="T6" fmla="*/ 36 w 46"/>
                <a:gd name="T7" fmla="*/ 4 h 25"/>
                <a:gd name="T8" fmla="*/ 32 w 46"/>
                <a:gd name="T9" fmla="*/ 4 h 25"/>
                <a:gd name="T10" fmla="*/ 28 w 46"/>
                <a:gd name="T11" fmla="*/ 4 h 25"/>
                <a:gd name="T12" fmla="*/ 28 w 46"/>
                <a:gd name="T13" fmla="*/ 4 h 25"/>
                <a:gd name="T14" fmla="*/ 19 w 46"/>
                <a:gd name="T15" fmla="*/ 0 h 25"/>
                <a:gd name="T16" fmla="*/ 18 w 46"/>
                <a:gd name="T17" fmla="*/ 0 h 25"/>
                <a:gd name="T18" fmla="*/ 15 w 46"/>
                <a:gd name="T19" fmla="*/ 1 h 25"/>
                <a:gd name="T20" fmla="*/ 15 w 46"/>
                <a:gd name="T21" fmla="*/ 1 h 25"/>
                <a:gd name="T22" fmla="*/ 10 w 46"/>
                <a:gd name="T23" fmla="*/ 4 h 25"/>
                <a:gd name="T24" fmla="*/ 7 w 46"/>
                <a:gd name="T25" fmla="*/ 6 h 25"/>
                <a:gd name="T26" fmla="*/ 4 w 46"/>
                <a:gd name="T27" fmla="*/ 11 h 25"/>
                <a:gd name="T28" fmla="*/ 4 w 46"/>
                <a:gd name="T29" fmla="*/ 11 h 25"/>
                <a:gd name="T30" fmla="*/ 0 w 46"/>
                <a:gd name="T31" fmla="*/ 18 h 25"/>
                <a:gd name="T32" fmla="*/ 0 w 46"/>
                <a:gd name="T33" fmla="*/ 18 h 25"/>
                <a:gd name="T34" fmla="*/ 3 w 46"/>
                <a:gd name="T35" fmla="*/ 20 h 25"/>
                <a:gd name="T36" fmla="*/ 4 w 46"/>
                <a:gd name="T37" fmla="*/ 22 h 25"/>
                <a:gd name="T38" fmla="*/ 4 w 46"/>
                <a:gd name="T39" fmla="*/ 22 h 25"/>
                <a:gd name="T40" fmla="*/ 7 w 46"/>
                <a:gd name="T41" fmla="*/ 22 h 25"/>
                <a:gd name="T42" fmla="*/ 8 w 46"/>
                <a:gd name="T43" fmla="*/ 23 h 25"/>
                <a:gd name="T44" fmla="*/ 11 w 46"/>
                <a:gd name="T45" fmla="*/ 23 h 25"/>
                <a:gd name="T46" fmla="*/ 15 w 46"/>
                <a:gd name="T47" fmla="*/ 23 h 25"/>
                <a:gd name="T48" fmla="*/ 15 w 46"/>
                <a:gd name="T49" fmla="*/ 23 h 25"/>
                <a:gd name="T50" fmla="*/ 18 w 46"/>
                <a:gd name="T51" fmla="*/ 23 h 25"/>
                <a:gd name="T52" fmla="*/ 22 w 46"/>
                <a:gd name="T53" fmla="*/ 25 h 25"/>
                <a:gd name="T54" fmla="*/ 25 w 46"/>
                <a:gd name="T55" fmla="*/ 25 h 25"/>
                <a:gd name="T56" fmla="*/ 29 w 46"/>
                <a:gd name="T57" fmla="*/ 25 h 25"/>
                <a:gd name="T58" fmla="*/ 29 w 46"/>
                <a:gd name="T59" fmla="*/ 25 h 25"/>
                <a:gd name="T60" fmla="*/ 35 w 46"/>
                <a:gd name="T61" fmla="*/ 25 h 25"/>
                <a:gd name="T62" fmla="*/ 39 w 46"/>
                <a:gd name="T63" fmla="*/ 25 h 25"/>
                <a:gd name="T64" fmla="*/ 43 w 46"/>
                <a:gd name="T65" fmla="*/ 25 h 25"/>
                <a:gd name="T66" fmla="*/ 46 w 46"/>
                <a:gd name="T67" fmla="*/ 23 h 25"/>
                <a:gd name="T68" fmla="*/ 46 w 46"/>
                <a:gd name="T69" fmla="*/ 23 h 25"/>
                <a:gd name="T70" fmla="*/ 46 w 46"/>
                <a:gd name="T71" fmla="*/ 19 h 25"/>
                <a:gd name="T72" fmla="*/ 46 w 46"/>
                <a:gd name="T73" fmla="*/ 15 h 25"/>
                <a:gd name="T74" fmla="*/ 43 w 46"/>
                <a:gd name="T75" fmla="*/ 9 h 25"/>
                <a:gd name="T76" fmla="*/ 43 w 46"/>
                <a:gd name="T77" fmla="*/ 9 h 25"/>
                <a:gd name="T78" fmla="*/ 46 w 46"/>
                <a:gd name="T79" fmla="*/ 8 h 25"/>
                <a:gd name="T80" fmla="*/ 46 w 46"/>
                <a:gd name="T81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" h="25">
                  <a:moveTo>
                    <a:pt x="46" y="8"/>
                  </a:moveTo>
                  <a:lnTo>
                    <a:pt x="46" y="8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19" y="0"/>
                  </a:lnTo>
                  <a:lnTo>
                    <a:pt x="18" y="0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0" y="4"/>
                  </a:lnTo>
                  <a:lnTo>
                    <a:pt x="7" y="6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3" y="20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7" y="22"/>
                  </a:lnTo>
                  <a:lnTo>
                    <a:pt x="8" y="23"/>
                  </a:lnTo>
                  <a:lnTo>
                    <a:pt x="11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8" y="23"/>
                  </a:lnTo>
                  <a:lnTo>
                    <a:pt x="22" y="25"/>
                  </a:lnTo>
                  <a:lnTo>
                    <a:pt x="25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35" y="25"/>
                  </a:lnTo>
                  <a:lnTo>
                    <a:pt x="39" y="25"/>
                  </a:lnTo>
                  <a:lnTo>
                    <a:pt x="43" y="25"/>
                  </a:lnTo>
                  <a:lnTo>
                    <a:pt x="46" y="23"/>
                  </a:lnTo>
                  <a:lnTo>
                    <a:pt x="46" y="23"/>
                  </a:lnTo>
                  <a:lnTo>
                    <a:pt x="46" y="19"/>
                  </a:lnTo>
                  <a:lnTo>
                    <a:pt x="46" y="15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6" y="8"/>
                  </a:lnTo>
                  <a:lnTo>
                    <a:pt x="46" y="8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63"/>
            <p:cNvSpPr>
              <a:spLocks/>
            </p:cNvSpPr>
            <p:nvPr/>
          </p:nvSpPr>
          <p:spPr bwMode="auto">
            <a:xfrm>
              <a:off x="7100888" y="3398838"/>
              <a:ext cx="179388" cy="376238"/>
            </a:xfrm>
            <a:custGeom>
              <a:avLst/>
              <a:gdLst>
                <a:gd name="T0" fmla="*/ 75 w 113"/>
                <a:gd name="T1" fmla="*/ 22 h 237"/>
                <a:gd name="T2" fmla="*/ 71 w 113"/>
                <a:gd name="T3" fmla="*/ 11 h 237"/>
                <a:gd name="T4" fmla="*/ 60 w 113"/>
                <a:gd name="T5" fmla="*/ 5 h 237"/>
                <a:gd name="T6" fmla="*/ 50 w 113"/>
                <a:gd name="T7" fmla="*/ 0 h 237"/>
                <a:gd name="T8" fmla="*/ 40 w 113"/>
                <a:gd name="T9" fmla="*/ 8 h 237"/>
                <a:gd name="T10" fmla="*/ 29 w 113"/>
                <a:gd name="T11" fmla="*/ 10 h 237"/>
                <a:gd name="T12" fmla="*/ 18 w 113"/>
                <a:gd name="T13" fmla="*/ 8 h 237"/>
                <a:gd name="T14" fmla="*/ 14 w 113"/>
                <a:gd name="T15" fmla="*/ 11 h 237"/>
                <a:gd name="T16" fmla="*/ 6 w 113"/>
                <a:gd name="T17" fmla="*/ 10 h 237"/>
                <a:gd name="T18" fmla="*/ 0 w 113"/>
                <a:gd name="T19" fmla="*/ 14 h 237"/>
                <a:gd name="T20" fmla="*/ 7 w 113"/>
                <a:gd name="T21" fmla="*/ 25 h 237"/>
                <a:gd name="T22" fmla="*/ 13 w 113"/>
                <a:gd name="T23" fmla="*/ 35 h 237"/>
                <a:gd name="T24" fmla="*/ 26 w 113"/>
                <a:gd name="T25" fmla="*/ 41 h 237"/>
                <a:gd name="T26" fmla="*/ 35 w 113"/>
                <a:gd name="T27" fmla="*/ 40 h 237"/>
                <a:gd name="T28" fmla="*/ 40 w 113"/>
                <a:gd name="T29" fmla="*/ 51 h 237"/>
                <a:gd name="T30" fmla="*/ 42 w 113"/>
                <a:gd name="T31" fmla="*/ 58 h 237"/>
                <a:gd name="T32" fmla="*/ 31 w 113"/>
                <a:gd name="T33" fmla="*/ 62 h 237"/>
                <a:gd name="T34" fmla="*/ 32 w 113"/>
                <a:gd name="T35" fmla="*/ 66 h 237"/>
                <a:gd name="T36" fmla="*/ 47 w 113"/>
                <a:gd name="T37" fmla="*/ 78 h 237"/>
                <a:gd name="T38" fmla="*/ 54 w 113"/>
                <a:gd name="T39" fmla="*/ 91 h 237"/>
                <a:gd name="T40" fmla="*/ 65 w 113"/>
                <a:gd name="T41" fmla="*/ 104 h 237"/>
                <a:gd name="T42" fmla="*/ 74 w 113"/>
                <a:gd name="T43" fmla="*/ 116 h 237"/>
                <a:gd name="T44" fmla="*/ 83 w 113"/>
                <a:gd name="T45" fmla="*/ 128 h 237"/>
                <a:gd name="T46" fmla="*/ 83 w 113"/>
                <a:gd name="T47" fmla="*/ 148 h 237"/>
                <a:gd name="T48" fmla="*/ 90 w 113"/>
                <a:gd name="T49" fmla="*/ 165 h 237"/>
                <a:gd name="T50" fmla="*/ 82 w 113"/>
                <a:gd name="T51" fmla="*/ 176 h 237"/>
                <a:gd name="T52" fmla="*/ 74 w 113"/>
                <a:gd name="T53" fmla="*/ 187 h 237"/>
                <a:gd name="T54" fmla="*/ 64 w 113"/>
                <a:gd name="T55" fmla="*/ 189 h 237"/>
                <a:gd name="T56" fmla="*/ 60 w 113"/>
                <a:gd name="T57" fmla="*/ 193 h 237"/>
                <a:gd name="T58" fmla="*/ 64 w 113"/>
                <a:gd name="T59" fmla="*/ 202 h 237"/>
                <a:gd name="T60" fmla="*/ 49 w 113"/>
                <a:gd name="T61" fmla="*/ 202 h 237"/>
                <a:gd name="T62" fmla="*/ 44 w 113"/>
                <a:gd name="T63" fmla="*/ 205 h 237"/>
                <a:gd name="T64" fmla="*/ 39 w 113"/>
                <a:gd name="T65" fmla="*/ 214 h 237"/>
                <a:gd name="T66" fmla="*/ 44 w 113"/>
                <a:gd name="T67" fmla="*/ 218 h 237"/>
                <a:gd name="T68" fmla="*/ 39 w 113"/>
                <a:gd name="T69" fmla="*/ 229 h 237"/>
                <a:gd name="T70" fmla="*/ 47 w 113"/>
                <a:gd name="T71" fmla="*/ 236 h 237"/>
                <a:gd name="T72" fmla="*/ 61 w 113"/>
                <a:gd name="T73" fmla="*/ 225 h 237"/>
                <a:gd name="T74" fmla="*/ 64 w 113"/>
                <a:gd name="T75" fmla="*/ 219 h 237"/>
                <a:gd name="T76" fmla="*/ 68 w 113"/>
                <a:gd name="T77" fmla="*/ 211 h 237"/>
                <a:gd name="T78" fmla="*/ 78 w 113"/>
                <a:gd name="T79" fmla="*/ 209 h 237"/>
                <a:gd name="T80" fmla="*/ 100 w 113"/>
                <a:gd name="T81" fmla="*/ 198 h 237"/>
                <a:gd name="T82" fmla="*/ 110 w 113"/>
                <a:gd name="T83" fmla="*/ 186 h 237"/>
                <a:gd name="T84" fmla="*/ 111 w 113"/>
                <a:gd name="T85" fmla="*/ 155 h 237"/>
                <a:gd name="T86" fmla="*/ 103 w 113"/>
                <a:gd name="T87" fmla="*/ 128 h 237"/>
                <a:gd name="T88" fmla="*/ 93 w 113"/>
                <a:gd name="T89" fmla="*/ 116 h 237"/>
                <a:gd name="T90" fmla="*/ 68 w 113"/>
                <a:gd name="T91" fmla="*/ 96 h 237"/>
                <a:gd name="T92" fmla="*/ 61 w 113"/>
                <a:gd name="T93" fmla="*/ 83 h 237"/>
                <a:gd name="T94" fmla="*/ 57 w 113"/>
                <a:gd name="T95" fmla="*/ 68 h 237"/>
                <a:gd name="T96" fmla="*/ 64 w 113"/>
                <a:gd name="T97" fmla="*/ 55 h 237"/>
                <a:gd name="T98" fmla="*/ 68 w 113"/>
                <a:gd name="T99" fmla="*/ 48 h 237"/>
                <a:gd name="T100" fmla="*/ 75 w 113"/>
                <a:gd name="T101" fmla="*/ 40 h 237"/>
                <a:gd name="T102" fmla="*/ 86 w 113"/>
                <a:gd name="T103" fmla="*/ 32 h 237"/>
                <a:gd name="T104" fmla="*/ 85 w 113"/>
                <a:gd name="T105" fmla="*/ 28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3" h="237">
                  <a:moveTo>
                    <a:pt x="85" y="28"/>
                  </a:moveTo>
                  <a:lnTo>
                    <a:pt x="85" y="28"/>
                  </a:lnTo>
                  <a:lnTo>
                    <a:pt x="81" y="26"/>
                  </a:lnTo>
                  <a:lnTo>
                    <a:pt x="75" y="22"/>
                  </a:lnTo>
                  <a:lnTo>
                    <a:pt x="71" y="19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71" y="11"/>
                  </a:lnTo>
                  <a:lnTo>
                    <a:pt x="69" y="8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0" y="5"/>
                  </a:lnTo>
                  <a:lnTo>
                    <a:pt x="56" y="4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0" y="0"/>
                  </a:lnTo>
                  <a:lnTo>
                    <a:pt x="46" y="1"/>
                  </a:lnTo>
                  <a:lnTo>
                    <a:pt x="42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3" y="8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5" y="11"/>
                  </a:lnTo>
                  <a:lnTo>
                    <a:pt x="21" y="10"/>
                  </a:lnTo>
                  <a:lnTo>
                    <a:pt x="18" y="8"/>
                  </a:lnTo>
                  <a:lnTo>
                    <a:pt x="17" y="8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4" y="11"/>
                  </a:lnTo>
                  <a:lnTo>
                    <a:pt x="13" y="11"/>
                  </a:lnTo>
                  <a:lnTo>
                    <a:pt x="10" y="11"/>
                  </a:lnTo>
                  <a:lnTo>
                    <a:pt x="7" y="10"/>
                  </a:lnTo>
                  <a:lnTo>
                    <a:pt x="6" y="10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3" y="19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7" y="25"/>
                  </a:lnTo>
                  <a:lnTo>
                    <a:pt x="10" y="28"/>
                  </a:lnTo>
                  <a:lnTo>
                    <a:pt x="13" y="30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5" y="37"/>
                  </a:lnTo>
                  <a:lnTo>
                    <a:pt x="18" y="40"/>
                  </a:lnTo>
                  <a:lnTo>
                    <a:pt x="22" y="41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9" y="40"/>
                  </a:lnTo>
                  <a:lnTo>
                    <a:pt x="32" y="40"/>
                  </a:lnTo>
                  <a:lnTo>
                    <a:pt x="35" y="40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8"/>
                  </a:lnTo>
                  <a:lnTo>
                    <a:pt x="40" y="51"/>
                  </a:lnTo>
                  <a:lnTo>
                    <a:pt x="42" y="54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2" y="58"/>
                  </a:lnTo>
                  <a:lnTo>
                    <a:pt x="40" y="58"/>
                  </a:lnTo>
                  <a:lnTo>
                    <a:pt x="36" y="60"/>
                  </a:lnTo>
                  <a:lnTo>
                    <a:pt x="33" y="61"/>
                  </a:lnTo>
                  <a:lnTo>
                    <a:pt x="31" y="62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5"/>
                  </a:lnTo>
                  <a:lnTo>
                    <a:pt x="32" y="66"/>
                  </a:lnTo>
                  <a:lnTo>
                    <a:pt x="38" y="71"/>
                  </a:lnTo>
                  <a:lnTo>
                    <a:pt x="44" y="75"/>
                  </a:lnTo>
                  <a:lnTo>
                    <a:pt x="46" y="76"/>
                  </a:lnTo>
                  <a:lnTo>
                    <a:pt x="47" y="78"/>
                  </a:lnTo>
                  <a:lnTo>
                    <a:pt x="47" y="78"/>
                  </a:lnTo>
                  <a:lnTo>
                    <a:pt x="47" y="82"/>
                  </a:lnTo>
                  <a:lnTo>
                    <a:pt x="50" y="84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57" y="96"/>
                  </a:lnTo>
                  <a:lnTo>
                    <a:pt x="61" y="100"/>
                  </a:lnTo>
                  <a:lnTo>
                    <a:pt x="65" y="104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9" y="112"/>
                  </a:lnTo>
                  <a:lnTo>
                    <a:pt x="74" y="116"/>
                  </a:lnTo>
                  <a:lnTo>
                    <a:pt x="81" y="121"/>
                  </a:lnTo>
                  <a:lnTo>
                    <a:pt x="81" y="121"/>
                  </a:lnTo>
                  <a:lnTo>
                    <a:pt x="82" y="123"/>
                  </a:lnTo>
                  <a:lnTo>
                    <a:pt x="83" y="128"/>
                  </a:lnTo>
                  <a:lnTo>
                    <a:pt x="83" y="136"/>
                  </a:lnTo>
                  <a:lnTo>
                    <a:pt x="83" y="136"/>
                  </a:lnTo>
                  <a:lnTo>
                    <a:pt x="83" y="141"/>
                  </a:lnTo>
                  <a:lnTo>
                    <a:pt x="83" y="148"/>
                  </a:lnTo>
                  <a:lnTo>
                    <a:pt x="85" y="155"/>
                  </a:lnTo>
                  <a:lnTo>
                    <a:pt x="89" y="162"/>
                  </a:lnTo>
                  <a:lnTo>
                    <a:pt x="89" y="162"/>
                  </a:lnTo>
                  <a:lnTo>
                    <a:pt x="90" y="165"/>
                  </a:lnTo>
                  <a:lnTo>
                    <a:pt x="90" y="168"/>
                  </a:lnTo>
                  <a:lnTo>
                    <a:pt x="89" y="171"/>
                  </a:lnTo>
                  <a:lnTo>
                    <a:pt x="86" y="173"/>
                  </a:lnTo>
                  <a:lnTo>
                    <a:pt x="82" y="176"/>
                  </a:lnTo>
                  <a:lnTo>
                    <a:pt x="78" y="180"/>
                  </a:lnTo>
                  <a:lnTo>
                    <a:pt x="78" y="180"/>
                  </a:lnTo>
                  <a:lnTo>
                    <a:pt x="75" y="184"/>
                  </a:lnTo>
                  <a:lnTo>
                    <a:pt x="74" y="187"/>
                  </a:lnTo>
                  <a:lnTo>
                    <a:pt x="72" y="189"/>
                  </a:lnTo>
                  <a:lnTo>
                    <a:pt x="71" y="190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0" y="189"/>
                  </a:lnTo>
                  <a:lnTo>
                    <a:pt x="58" y="190"/>
                  </a:lnTo>
                  <a:lnTo>
                    <a:pt x="58" y="191"/>
                  </a:lnTo>
                  <a:lnTo>
                    <a:pt x="60" y="193"/>
                  </a:lnTo>
                  <a:lnTo>
                    <a:pt x="63" y="198"/>
                  </a:lnTo>
                  <a:lnTo>
                    <a:pt x="64" y="201"/>
                  </a:lnTo>
                  <a:lnTo>
                    <a:pt x="64" y="202"/>
                  </a:lnTo>
                  <a:lnTo>
                    <a:pt x="64" y="202"/>
                  </a:lnTo>
                  <a:lnTo>
                    <a:pt x="63" y="204"/>
                  </a:lnTo>
                  <a:lnTo>
                    <a:pt x="60" y="204"/>
                  </a:lnTo>
                  <a:lnTo>
                    <a:pt x="54" y="202"/>
                  </a:lnTo>
                  <a:lnTo>
                    <a:pt x="49" y="202"/>
                  </a:lnTo>
                  <a:lnTo>
                    <a:pt x="46" y="202"/>
                  </a:lnTo>
                  <a:lnTo>
                    <a:pt x="46" y="202"/>
                  </a:lnTo>
                  <a:lnTo>
                    <a:pt x="46" y="202"/>
                  </a:lnTo>
                  <a:lnTo>
                    <a:pt x="44" y="205"/>
                  </a:lnTo>
                  <a:lnTo>
                    <a:pt x="43" y="207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9" y="214"/>
                  </a:lnTo>
                  <a:lnTo>
                    <a:pt x="43" y="216"/>
                  </a:lnTo>
                  <a:lnTo>
                    <a:pt x="43" y="216"/>
                  </a:lnTo>
                  <a:lnTo>
                    <a:pt x="44" y="216"/>
                  </a:lnTo>
                  <a:lnTo>
                    <a:pt x="44" y="218"/>
                  </a:lnTo>
                  <a:lnTo>
                    <a:pt x="42" y="221"/>
                  </a:lnTo>
                  <a:lnTo>
                    <a:pt x="40" y="225"/>
                  </a:lnTo>
                  <a:lnTo>
                    <a:pt x="39" y="229"/>
                  </a:lnTo>
                  <a:lnTo>
                    <a:pt x="39" y="229"/>
                  </a:lnTo>
                  <a:lnTo>
                    <a:pt x="40" y="234"/>
                  </a:lnTo>
                  <a:lnTo>
                    <a:pt x="42" y="236"/>
                  </a:lnTo>
                  <a:lnTo>
                    <a:pt x="44" y="237"/>
                  </a:lnTo>
                  <a:lnTo>
                    <a:pt x="47" y="236"/>
                  </a:lnTo>
                  <a:lnTo>
                    <a:pt x="47" y="236"/>
                  </a:lnTo>
                  <a:lnTo>
                    <a:pt x="53" y="229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3" y="223"/>
                  </a:lnTo>
                  <a:lnTo>
                    <a:pt x="63" y="222"/>
                  </a:lnTo>
                  <a:lnTo>
                    <a:pt x="63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7" y="218"/>
                  </a:lnTo>
                  <a:lnTo>
                    <a:pt x="67" y="216"/>
                  </a:lnTo>
                  <a:lnTo>
                    <a:pt x="68" y="211"/>
                  </a:lnTo>
                  <a:lnTo>
                    <a:pt x="68" y="211"/>
                  </a:lnTo>
                  <a:lnTo>
                    <a:pt x="69" y="209"/>
                  </a:lnTo>
                  <a:lnTo>
                    <a:pt x="72" y="208"/>
                  </a:lnTo>
                  <a:lnTo>
                    <a:pt x="78" y="209"/>
                  </a:lnTo>
                  <a:lnTo>
                    <a:pt x="78" y="209"/>
                  </a:lnTo>
                  <a:lnTo>
                    <a:pt x="83" y="208"/>
                  </a:lnTo>
                  <a:lnTo>
                    <a:pt x="88" y="205"/>
                  </a:lnTo>
                  <a:lnTo>
                    <a:pt x="100" y="198"/>
                  </a:lnTo>
                  <a:lnTo>
                    <a:pt x="100" y="198"/>
                  </a:lnTo>
                  <a:lnTo>
                    <a:pt x="104" y="196"/>
                  </a:lnTo>
                  <a:lnTo>
                    <a:pt x="107" y="191"/>
                  </a:lnTo>
                  <a:lnTo>
                    <a:pt x="110" y="186"/>
                  </a:lnTo>
                  <a:lnTo>
                    <a:pt x="113" y="177"/>
                  </a:lnTo>
                  <a:lnTo>
                    <a:pt x="113" y="177"/>
                  </a:lnTo>
                  <a:lnTo>
                    <a:pt x="113" y="166"/>
                  </a:lnTo>
                  <a:lnTo>
                    <a:pt x="111" y="155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07" y="136"/>
                  </a:lnTo>
                  <a:lnTo>
                    <a:pt x="103" y="128"/>
                  </a:lnTo>
                  <a:lnTo>
                    <a:pt x="97" y="121"/>
                  </a:lnTo>
                  <a:lnTo>
                    <a:pt x="94" y="118"/>
                  </a:lnTo>
                  <a:lnTo>
                    <a:pt x="93" y="116"/>
                  </a:lnTo>
                  <a:lnTo>
                    <a:pt x="93" y="116"/>
                  </a:lnTo>
                  <a:lnTo>
                    <a:pt x="89" y="114"/>
                  </a:lnTo>
                  <a:lnTo>
                    <a:pt x="81" y="10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7" y="93"/>
                  </a:lnTo>
                  <a:lnTo>
                    <a:pt x="65" y="90"/>
                  </a:lnTo>
                  <a:lnTo>
                    <a:pt x="64" y="87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58" y="80"/>
                  </a:lnTo>
                  <a:lnTo>
                    <a:pt x="57" y="75"/>
                  </a:lnTo>
                  <a:lnTo>
                    <a:pt x="57" y="68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60" y="58"/>
                  </a:lnTo>
                  <a:lnTo>
                    <a:pt x="64" y="55"/>
                  </a:lnTo>
                  <a:lnTo>
                    <a:pt x="67" y="53"/>
                  </a:lnTo>
                  <a:lnTo>
                    <a:pt x="68" y="50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6"/>
                  </a:lnTo>
                  <a:lnTo>
                    <a:pt x="69" y="43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8" y="39"/>
                  </a:lnTo>
                  <a:lnTo>
                    <a:pt x="82" y="37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5" y="28"/>
                  </a:lnTo>
                  <a:lnTo>
                    <a:pt x="85" y="28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64"/>
            <p:cNvSpPr>
              <a:spLocks/>
            </p:cNvSpPr>
            <p:nvPr/>
          </p:nvSpPr>
          <p:spPr bwMode="auto">
            <a:xfrm>
              <a:off x="7105651" y="3625850"/>
              <a:ext cx="138113" cy="107950"/>
            </a:xfrm>
            <a:custGeom>
              <a:avLst/>
              <a:gdLst>
                <a:gd name="T0" fmla="*/ 43 w 87"/>
                <a:gd name="T1" fmla="*/ 59 h 68"/>
                <a:gd name="T2" fmla="*/ 46 w 87"/>
                <a:gd name="T3" fmla="*/ 59 h 68"/>
                <a:gd name="T4" fmla="*/ 57 w 87"/>
                <a:gd name="T5" fmla="*/ 61 h 68"/>
                <a:gd name="T6" fmla="*/ 61 w 87"/>
                <a:gd name="T7" fmla="*/ 59 h 68"/>
                <a:gd name="T8" fmla="*/ 61 w 87"/>
                <a:gd name="T9" fmla="*/ 58 h 68"/>
                <a:gd name="T10" fmla="*/ 57 w 87"/>
                <a:gd name="T11" fmla="*/ 50 h 68"/>
                <a:gd name="T12" fmla="*/ 55 w 87"/>
                <a:gd name="T13" fmla="*/ 47 h 68"/>
                <a:gd name="T14" fmla="*/ 61 w 87"/>
                <a:gd name="T15" fmla="*/ 46 h 68"/>
                <a:gd name="T16" fmla="*/ 68 w 87"/>
                <a:gd name="T17" fmla="*/ 47 h 68"/>
                <a:gd name="T18" fmla="*/ 71 w 87"/>
                <a:gd name="T19" fmla="*/ 44 h 68"/>
                <a:gd name="T20" fmla="*/ 75 w 87"/>
                <a:gd name="T21" fmla="*/ 37 h 68"/>
                <a:gd name="T22" fmla="*/ 79 w 87"/>
                <a:gd name="T23" fmla="*/ 33 h 68"/>
                <a:gd name="T24" fmla="*/ 86 w 87"/>
                <a:gd name="T25" fmla="*/ 28 h 68"/>
                <a:gd name="T26" fmla="*/ 87 w 87"/>
                <a:gd name="T27" fmla="*/ 22 h 68"/>
                <a:gd name="T28" fmla="*/ 86 w 87"/>
                <a:gd name="T29" fmla="*/ 19 h 68"/>
                <a:gd name="T30" fmla="*/ 82 w 87"/>
                <a:gd name="T31" fmla="*/ 10 h 68"/>
                <a:gd name="T32" fmla="*/ 80 w 87"/>
                <a:gd name="T33" fmla="*/ 0 h 68"/>
                <a:gd name="T34" fmla="*/ 73 w 87"/>
                <a:gd name="T35" fmla="*/ 3 h 68"/>
                <a:gd name="T36" fmla="*/ 69 w 87"/>
                <a:gd name="T37" fmla="*/ 3 h 68"/>
                <a:gd name="T38" fmla="*/ 62 w 87"/>
                <a:gd name="T39" fmla="*/ 1 h 68"/>
                <a:gd name="T40" fmla="*/ 58 w 87"/>
                <a:gd name="T41" fmla="*/ 5 h 68"/>
                <a:gd name="T42" fmla="*/ 58 w 87"/>
                <a:gd name="T43" fmla="*/ 8 h 68"/>
                <a:gd name="T44" fmla="*/ 54 w 87"/>
                <a:gd name="T45" fmla="*/ 11 h 68"/>
                <a:gd name="T46" fmla="*/ 54 w 87"/>
                <a:gd name="T47" fmla="*/ 10 h 68"/>
                <a:gd name="T48" fmla="*/ 51 w 87"/>
                <a:gd name="T49" fmla="*/ 7 h 68"/>
                <a:gd name="T50" fmla="*/ 44 w 87"/>
                <a:gd name="T51" fmla="*/ 4 h 68"/>
                <a:gd name="T52" fmla="*/ 43 w 87"/>
                <a:gd name="T53" fmla="*/ 3 h 68"/>
                <a:gd name="T54" fmla="*/ 35 w 87"/>
                <a:gd name="T55" fmla="*/ 3 h 68"/>
                <a:gd name="T56" fmla="*/ 23 w 87"/>
                <a:gd name="T57" fmla="*/ 3 h 68"/>
                <a:gd name="T58" fmla="*/ 18 w 87"/>
                <a:gd name="T59" fmla="*/ 3 h 68"/>
                <a:gd name="T60" fmla="*/ 7 w 87"/>
                <a:gd name="T61" fmla="*/ 8 h 68"/>
                <a:gd name="T62" fmla="*/ 3 w 87"/>
                <a:gd name="T63" fmla="*/ 14 h 68"/>
                <a:gd name="T64" fmla="*/ 0 w 87"/>
                <a:gd name="T65" fmla="*/ 21 h 68"/>
                <a:gd name="T66" fmla="*/ 3 w 87"/>
                <a:gd name="T67" fmla="*/ 28 h 68"/>
                <a:gd name="T68" fmla="*/ 4 w 87"/>
                <a:gd name="T69" fmla="*/ 32 h 68"/>
                <a:gd name="T70" fmla="*/ 5 w 87"/>
                <a:gd name="T71" fmla="*/ 36 h 68"/>
                <a:gd name="T72" fmla="*/ 5 w 87"/>
                <a:gd name="T73" fmla="*/ 40 h 68"/>
                <a:gd name="T74" fmla="*/ 5 w 87"/>
                <a:gd name="T75" fmla="*/ 40 h 68"/>
                <a:gd name="T76" fmla="*/ 8 w 87"/>
                <a:gd name="T77" fmla="*/ 47 h 68"/>
                <a:gd name="T78" fmla="*/ 10 w 87"/>
                <a:gd name="T79" fmla="*/ 54 h 68"/>
                <a:gd name="T80" fmla="*/ 12 w 87"/>
                <a:gd name="T81" fmla="*/ 57 h 68"/>
                <a:gd name="T82" fmla="*/ 19 w 87"/>
                <a:gd name="T83" fmla="*/ 55 h 68"/>
                <a:gd name="T84" fmla="*/ 19 w 87"/>
                <a:gd name="T85" fmla="*/ 58 h 68"/>
                <a:gd name="T86" fmla="*/ 19 w 87"/>
                <a:gd name="T87" fmla="*/ 64 h 68"/>
                <a:gd name="T88" fmla="*/ 22 w 87"/>
                <a:gd name="T89" fmla="*/ 65 h 68"/>
                <a:gd name="T90" fmla="*/ 29 w 87"/>
                <a:gd name="T91" fmla="*/ 64 h 68"/>
                <a:gd name="T92" fmla="*/ 32 w 87"/>
                <a:gd name="T93" fmla="*/ 65 h 68"/>
                <a:gd name="T94" fmla="*/ 33 w 87"/>
                <a:gd name="T95" fmla="*/ 68 h 68"/>
                <a:gd name="T96" fmla="*/ 40 w 87"/>
                <a:gd name="T97" fmla="*/ 64 h 68"/>
                <a:gd name="T98" fmla="*/ 43 w 87"/>
                <a:gd name="T99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7" h="68">
                  <a:moveTo>
                    <a:pt x="43" y="59"/>
                  </a:moveTo>
                  <a:lnTo>
                    <a:pt x="43" y="59"/>
                  </a:lnTo>
                  <a:lnTo>
                    <a:pt x="43" y="59"/>
                  </a:lnTo>
                  <a:lnTo>
                    <a:pt x="46" y="59"/>
                  </a:lnTo>
                  <a:lnTo>
                    <a:pt x="51" y="59"/>
                  </a:lnTo>
                  <a:lnTo>
                    <a:pt x="57" y="61"/>
                  </a:lnTo>
                  <a:lnTo>
                    <a:pt x="60" y="61"/>
                  </a:lnTo>
                  <a:lnTo>
                    <a:pt x="61" y="59"/>
                  </a:lnTo>
                  <a:lnTo>
                    <a:pt x="61" y="59"/>
                  </a:lnTo>
                  <a:lnTo>
                    <a:pt x="61" y="58"/>
                  </a:lnTo>
                  <a:lnTo>
                    <a:pt x="60" y="55"/>
                  </a:lnTo>
                  <a:lnTo>
                    <a:pt x="57" y="50"/>
                  </a:lnTo>
                  <a:lnTo>
                    <a:pt x="55" y="48"/>
                  </a:lnTo>
                  <a:lnTo>
                    <a:pt x="55" y="47"/>
                  </a:lnTo>
                  <a:lnTo>
                    <a:pt x="57" y="46"/>
                  </a:lnTo>
                  <a:lnTo>
                    <a:pt x="61" y="46"/>
                  </a:lnTo>
                  <a:lnTo>
                    <a:pt x="61" y="46"/>
                  </a:lnTo>
                  <a:lnTo>
                    <a:pt x="68" y="47"/>
                  </a:lnTo>
                  <a:lnTo>
                    <a:pt x="69" y="46"/>
                  </a:lnTo>
                  <a:lnTo>
                    <a:pt x="71" y="44"/>
                  </a:lnTo>
                  <a:lnTo>
                    <a:pt x="72" y="41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9" y="33"/>
                  </a:lnTo>
                  <a:lnTo>
                    <a:pt x="83" y="30"/>
                  </a:lnTo>
                  <a:lnTo>
                    <a:pt x="86" y="28"/>
                  </a:lnTo>
                  <a:lnTo>
                    <a:pt x="87" y="25"/>
                  </a:lnTo>
                  <a:lnTo>
                    <a:pt x="87" y="22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3" y="15"/>
                  </a:lnTo>
                  <a:lnTo>
                    <a:pt x="82" y="1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1"/>
                  </a:lnTo>
                  <a:lnTo>
                    <a:pt x="73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6" y="1"/>
                  </a:lnTo>
                  <a:lnTo>
                    <a:pt x="62" y="1"/>
                  </a:lnTo>
                  <a:lnTo>
                    <a:pt x="60" y="3"/>
                  </a:lnTo>
                  <a:lnTo>
                    <a:pt x="58" y="5"/>
                  </a:lnTo>
                  <a:lnTo>
                    <a:pt x="58" y="5"/>
                  </a:lnTo>
                  <a:lnTo>
                    <a:pt x="58" y="8"/>
                  </a:lnTo>
                  <a:lnTo>
                    <a:pt x="55" y="11"/>
                  </a:lnTo>
                  <a:lnTo>
                    <a:pt x="54" y="11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3" y="8"/>
                  </a:lnTo>
                  <a:lnTo>
                    <a:pt x="51" y="7"/>
                  </a:lnTo>
                  <a:lnTo>
                    <a:pt x="48" y="5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3" y="3"/>
                  </a:lnTo>
                  <a:lnTo>
                    <a:pt x="41" y="1"/>
                  </a:lnTo>
                  <a:lnTo>
                    <a:pt x="35" y="3"/>
                  </a:lnTo>
                  <a:lnTo>
                    <a:pt x="29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18" y="3"/>
                  </a:lnTo>
                  <a:lnTo>
                    <a:pt x="12" y="4"/>
                  </a:lnTo>
                  <a:lnTo>
                    <a:pt x="7" y="8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1" y="23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5" y="36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8" y="43"/>
                  </a:lnTo>
                  <a:lnTo>
                    <a:pt x="8" y="47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1" y="57"/>
                  </a:lnTo>
                  <a:lnTo>
                    <a:pt x="12" y="57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7"/>
                  </a:lnTo>
                  <a:lnTo>
                    <a:pt x="19" y="58"/>
                  </a:lnTo>
                  <a:lnTo>
                    <a:pt x="18" y="61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22" y="65"/>
                  </a:lnTo>
                  <a:lnTo>
                    <a:pt x="26" y="64"/>
                  </a:lnTo>
                  <a:lnTo>
                    <a:pt x="29" y="64"/>
                  </a:lnTo>
                  <a:lnTo>
                    <a:pt x="30" y="64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40" y="64"/>
                  </a:lnTo>
                  <a:lnTo>
                    <a:pt x="41" y="62"/>
                  </a:lnTo>
                  <a:lnTo>
                    <a:pt x="43" y="59"/>
                  </a:lnTo>
                  <a:lnTo>
                    <a:pt x="43" y="59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65"/>
            <p:cNvSpPr>
              <a:spLocks/>
            </p:cNvSpPr>
            <p:nvPr/>
          </p:nvSpPr>
          <p:spPr bwMode="auto">
            <a:xfrm>
              <a:off x="7050088" y="3421063"/>
              <a:ext cx="182563" cy="222250"/>
            </a:xfrm>
            <a:custGeom>
              <a:avLst/>
              <a:gdLst>
                <a:gd name="T0" fmla="*/ 78 w 115"/>
                <a:gd name="T1" fmla="*/ 62 h 140"/>
                <a:gd name="T2" fmla="*/ 64 w 115"/>
                <a:gd name="T3" fmla="*/ 52 h 140"/>
                <a:gd name="T4" fmla="*/ 63 w 115"/>
                <a:gd name="T5" fmla="*/ 50 h 140"/>
                <a:gd name="T6" fmla="*/ 68 w 115"/>
                <a:gd name="T7" fmla="*/ 46 h 140"/>
                <a:gd name="T8" fmla="*/ 74 w 115"/>
                <a:gd name="T9" fmla="*/ 43 h 140"/>
                <a:gd name="T10" fmla="*/ 72 w 115"/>
                <a:gd name="T11" fmla="*/ 37 h 140"/>
                <a:gd name="T12" fmla="*/ 70 w 115"/>
                <a:gd name="T13" fmla="*/ 30 h 140"/>
                <a:gd name="T14" fmla="*/ 61 w 115"/>
                <a:gd name="T15" fmla="*/ 26 h 140"/>
                <a:gd name="T16" fmla="*/ 54 w 115"/>
                <a:gd name="T17" fmla="*/ 27 h 140"/>
                <a:gd name="T18" fmla="*/ 45 w 115"/>
                <a:gd name="T19" fmla="*/ 21 h 140"/>
                <a:gd name="T20" fmla="*/ 42 w 115"/>
                <a:gd name="T21" fmla="*/ 14 h 140"/>
                <a:gd name="T22" fmla="*/ 38 w 115"/>
                <a:gd name="T23" fmla="*/ 8 h 140"/>
                <a:gd name="T24" fmla="*/ 32 w 115"/>
                <a:gd name="T25" fmla="*/ 0 h 140"/>
                <a:gd name="T26" fmla="*/ 25 w 115"/>
                <a:gd name="T27" fmla="*/ 1 h 140"/>
                <a:gd name="T28" fmla="*/ 22 w 115"/>
                <a:gd name="T29" fmla="*/ 7 h 140"/>
                <a:gd name="T30" fmla="*/ 24 w 115"/>
                <a:gd name="T31" fmla="*/ 12 h 140"/>
                <a:gd name="T32" fmla="*/ 24 w 115"/>
                <a:gd name="T33" fmla="*/ 21 h 140"/>
                <a:gd name="T34" fmla="*/ 20 w 115"/>
                <a:gd name="T35" fmla="*/ 19 h 140"/>
                <a:gd name="T36" fmla="*/ 14 w 115"/>
                <a:gd name="T37" fmla="*/ 14 h 140"/>
                <a:gd name="T38" fmla="*/ 7 w 115"/>
                <a:gd name="T39" fmla="*/ 23 h 140"/>
                <a:gd name="T40" fmla="*/ 6 w 115"/>
                <a:gd name="T41" fmla="*/ 29 h 140"/>
                <a:gd name="T42" fmla="*/ 0 w 115"/>
                <a:gd name="T43" fmla="*/ 32 h 140"/>
                <a:gd name="T44" fmla="*/ 4 w 115"/>
                <a:gd name="T45" fmla="*/ 36 h 140"/>
                <a:gd name="T46" fmla="*/ 6 w 115"/>
                <a:gd name="T47" fmla="*/ 47 h 140"/>
                <a:gd name="T48" fmla="*/ 7 w 115"/>
                <a:gd name="T49" fmla="*/ 48 h 140"/>
                <a:gd name="T50" fmla="*/ 15 w 115"/>
                <a:gd name="T51" fmla="*/ 48 h 140"/>
                <a:gd name="T52" fmla="*/ 17 w 115"/>
                <a:gd name="T53" fmla="*/ 55 h 140"/>
                <a:gd name="T54" fmla="*/ 14 w 115"/>
                <a:gd name="T55" fmla="*/ 66 h 140"/>
                <a:gd name="T56" fmla="*/ 13 w 115"/>
                <a:gd name="T57" fmla="*/ 73 h 140"/>
                <a:gd name="T58" fmla="*/ 10 w 115"/>
                <a:gd name="T59" fmla="*/ 79 h 140"/>
                <a:gd name="T60" fmla="*/ 15 w 115"/>
                <a:gd name="T61" fmla="*/ 80 h 140"/>
                <a:gd name="T62" fmla="*/ 28 w 115"/>
                <a:gd name="T63" fmla="*/ 72 h 140"/>
                <a:gd name="T64" fmla="*/ 36 w 115"/>
                <a:gd name="T65" fmla="*/ 73 h 140"/>
                <a:gd name="T66" fmla="*/ 42 w 115"/>
                <a:gd name="T67" fmla="*/ 73 h 140"/>
                <a:gd name="T68" fmla="*/ 46 w 115"/>
                <a:gd name="T69" fmla="*/ 70 h 140"/>
                <a:gd name="T70" fmla="*/ 57 w 115"/>
                <a:gd name="T71" fmla="*/ 68 h 140"/>
                <a:gd name="T72" fmla="*/ 65 w 115"/>
                <a:gd name="T73" fmla="*/ 76 h 140"/>
                <a:gd name="T74" fmla="*/ 74 w 115"/>
                <a:gd name="T75" fmla="*/ 83 h 140"/>
                <a:gd name="T76" fmla="*/ 72 w 115"/>
                <a:gd name="T77" fmla="*/ 97 h 140"/>
                <a:gd name="T78" fmla="*/ 74 w 115"/>
                <a:gd name="T79" fmla="*/ 100 h 140"/>
                <a:gd name="T80" fmla="*/ 83 w 115"/>
                <a:gd name="T81" fmla="*/ 111 h 140"/>
                <a:gd name="T82" fmla="*/ 83 w 115"/>
                <a:gd name="T83" fmla="*/ 122 h 140"/>
                <a:gd name="T84" fmla="*/ 82 w 115"/>
                <a:gd name="T85" fmla="*/ 134 h 140"/>
                <a:gd name="T86" fmla="*/ 88 w 115"/>
                <a:gd name="T87" fmla="*/ 137 h 140"/>
                <a:gd name="T88" fmla="*/ 89 w 115"/>
                <a:gd name="T89" fmla="*/ 140 h 140"/>
                <a:gd name="T90" fmla="*/ 93 w 115"/>
                <a:gd name="T91" fmla="*/ 134 h 140"/>
                <a:gd name="T92" fmla="*/ 97 w 115"/>
                <a:gd name="T93" fmla="*/ 130 h 140"/>
                <a:gd name="T94" fmla="*/ 104 w 115"/>
                <a:gd name="T95" fmla="*/ 132 h 140"/>
                <a:gd name="T96" fmla="*/ 115 w 115"/>
                <a:gd name="T97" fmla="*/ 129 h 140"/>
                <a:gd name="T98" fmla="*/ 115 w 115"/>
                <a:gd name="T99" fmla="*/ 122 h 140"/>
                <a:gd name="T100" fmla="*/ 113 w 115"/>
                <a:gd name="T101" fmla="*/ 107 h 140"/>
                <a:gd name="T102" fmla="*/ 101 w 115"/>
                <a:gd name="T103" fmla="*/ 98 h 140"/>
                <a:gd name="T104" fmla="*/ 97 w 115"/>
                <a:gd name="T105" fmla="*/ 90 h 140"/>
                <a:gd name="T106" fmla="*/ 86 w 115"/>
                <a:gd name="T107" fmla="*/ 77 h 140"/>
                <a:gd name="T108" fmla="*/ 79 w 115"/>
                <a:gd name="T109" fmla="*/ 6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" h="140">
                  <a:moveTo>
                    <a:pt x="79" y="64"/>
                  </a:moveTo>
                  <a:lnTo>
                    <a:pt x="79" y="64"/>
                  </a:lnTo>
                  <a:lnTo>
                    <a:pt x="78" y="62"/>
                  </a:lnTo>
                  <a:lnTo>
                    <a:pt x="76" y="61"/>
                  </a:lnTo>
                  <a:lnTo>
                    <a:pt x="70" y="57"/>
                  </a:lnTo>
                  <a:lnTo>
                    <a:pt x="64" y="52"/>
                  </a:lnTo>
                  <a:lnTo>
                    <a:pt x="63" y="51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48"/>
                  </a:lnTo>
                  <a:lnTo>
                    <a:pt x="65" y="47"/>
                  </a:lnTo>
                  <a:lnTo>
                    <a:pt x="68" y="46"/>
                  </a:lnTo>
                  <a:lnTo>
                    <a:pt x="72" y="44"/>
                  </a:lnTo>
                  <a:lnTo>
                    <a:pt x="74" y="44"/>
                  </a:lnTo>
                  <a:lnTo>
                    <a:pt x="74" y="43"/>
                  </a:lnTo>
                  <a:lnTo>
                    <a:pt x="74" y="43"/>
                  </a:lnTo>
                  <a:lnTo>
                    <a:pt x="74" y="40"/>
                  </a:lnTo>
                  <a:lnTo>
                    <a:pt x="72" y="37"/>
                  </a:lnTo>
                  <a:lnTo>
                    <a:pt x="70" y="34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67" y="26"/>
                  </a:lnTo>
                  <a:lnTo>
                    <a:pt x="64" y="26"/>
                  </a:lnTo>
                  <a:lnTo>
                    <a:pt x="61" y="26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4" y="27"/>
                  </a:lnTo>
                  <a:lnTo>
                    <a:pt x="50" y="26"/>
                  </a:lnTo>
                  <a:lnTo>
                    <a:pt x="47" y="23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16"/>
                  </a:lnTo>
                  <a:lnTo>
                    <a:pt x="42" y="14"/>
                  </a:lnTo>
                  <a:lnTo>
                    <a:pt x="39" y="11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5" y="5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8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4" y="1"/>
                  </a:lnTo>
                  <a:lnTo>
                    <a:pt x="22" y="4"/>
                  </a:lnTo>
                  <a:lnTo>
                    <a:pt x="22" y="7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4" y="12"/>
                  </a:lnTo>
                  <a:lnTo>
                    <a:pt x="25" y="16"/>
                  </a:lnTo>
                  <a:lnTo>
                    <a:pt x="25" y="21"/>
                  </a:lnTo>
                  <a:lnTo>
                    <a:pt x="24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19"/>
                  </a:lnTo>
                  <a:lnTo>
                    <a:pt x="18" y="16"/>
                  </a:lnTo>
                  <a:lnTo>
                    <a:pt x="15" y="15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0" y="19"/>
                  </a:lnTo>
                  <a:lnTo>
                    <a:pt x="7" y="23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9"/>
                  </a:lnTo>
                  <a:lnTo>
                    <a:pt x="4" y="29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6"/>
                  </a:lnTo>
                  <a:lnTo>
                    <a:pt x="4" y="39"/>
                  </a:lnTo>
                  <a:lnTo>
                    <a:pt x="4" y="43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8"/>
                  </a:lnTo>
                  <a:lnTo>
                    <a:pt x="10" y="47"/>
                  </a:lnTo>
                  <a:lnTo>
                    <a:pt x="14" y="47"/>
                  </a:lnTo>
                  <a:lnTo>
                    <a:pt x="15" y="48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7" y="55"/>
                  </a:lnTo>
                  <a:lnTo>
                    <a:pt x="15" y="58"/>
                  </a:lnTo>
                  <a:lnTo>
                    <a:pt x="15" y="62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70"/>
                  </a:lnTo>
                  <a:lnTo>
                    <a:pt x="13" y="73"/>
                  </a:lnTo>
                  <a:lnTo>
                    <a:pt x="10" y="76"/>
                  </a:lnTo>
                  <a:lnTo>
                    <a:pt x="10" y="79"/>
                  </a:lnTo>
                  <a:lnTo>
                    <a:pt x="10" y="79"/>
                  </a:lnTo>
                  <a:lnTo>
                    <a:pt x="11" y="80"/>
                  </a:lnTo>
                  <a:lnTo>
                    <a:pt x="13" y="82"/>
                  </a:lnTo>
                  <a:lnTo>
                    <a:pt x="15" y="80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8" y="72"/>
                  </a:lnTo>
                  <a:lnTo>
                    <a:pt x="32" y="70"/>
                  </a:lnTo>
                  <a:lnTo>
                    <a:pt x="33" y="72"/>
                  </a:lnTo>
                  <a:lnTo>
                    <a:pt x="36" y="73"/>
                  </a:lnTo>
                  <a:lnTo>
                    <a:pt x="36" y="73"/>
                  </a:lnTo>
                  <a:lnTo>
                    <a:pt x="38" y="75"/>
                  </a:lnTo>
                  <a:lnTo>
                    <a:pt x="42" y="73"/>
                  </a:lnTo>
                  <a:lnTo>
                    <a:pt x="45" y="72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9" y="68"/>
                  </a:lnTo>
                  <a:lnTo>
                    <a:pt x="53" y="68"/>
                  </a:lnTo>
                  <a:lnTo>
                    <a:pt x="57" y="68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65" y="76"/>
                  </a:lnTo>
                  <a:lnTo>
                    <a:pt x="72" y="82"/>
                  </a:lnTo>
                  <a:lnTo>
                    <a:pt x="72" y="82"/>
                  </a:lnTo>
                  <a:lnTo>
                    <a:pt x="74" y="83"/>
                  </a:lnTo>
                  <a:lnTo>
                    <a:pt x="74" y="84"/>
                  </a:lnTo>
                  <a:lnTo>
                    <a:pt x="72" y="91"/>
                  </a:lnTo>
                  <a:lnTo>
                    <a:pt x="72" y="97"/>
                  </a:lnTo>
                  <a:lnTo>
                    <a:pt x="72" y="98"/>
                  </a:lnTo>
                  <a:lnTo>
                    <a:pt x="74" y="100"/>
                  </a:lnTo>
                  <a:lnTo>
                    <a:pt x="74" y="100"/>
                  </a:lnTo>
                  <a:lnTo>
                    <a:pt x="76" y="101"/>
                  </a:lnTo>
                  <a:lnTo>
                    <a:pt x="81" y="105"/>
                  </a:lnTo>
                  <a:lnTo>
                    <a:pt x="83" y="111"/>
                  </a:lnTo>
                  <a:lnTo>
                    <a:pt x="83" y="116"/>
                  </a:lnTo>
                  <a:lnTo>
                    <a:pt x="83" y="116"/>
                  </a:lnTo>
                  <a:lnTo>
                    <a:pt x="83" y="122"/>
                  </a:lnTo>
                  <a:lnTo>
                    <a:pt x="85" y="126"/>
                  </a:lnTo>
                  <a:lnTo>
                    <a:pt x="85" y="130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6" y="136"/>
                  </a:lnTo>
                  <a:lnTo>
                    <a:pt x="88" y="137"/>
                  </a:lnTo>
                  <a:lnTo>
                    <a:pt x="89" y="139"/>
                  </a:lnTo>
                  <a:lnTo>
                    <a:pt x="89" y="139"/>
                  </a:lnTo>
                  <a:lnTo>
                    <a:pt x="89" y="140"/>
                  </a:lnTo>
                  <a:lnTo>
                    <a:pt x="90" y="140"/>
                  </a:lnTo>
                  <a:lnTo>
                    <a:pt x="93" y="137"/>
                  </a:lnTo>
                  <a:lnTo>
                    <a:pt x="93" y="134"/>
                  </a:lnTo>
                  <a:lnTo>
                    <a:pt x="93" y="134"/>
                  </a:lnTo>
                  <a:lnTo>
                    <a:pt x="95" y="132"/>
                  </a:lnTo>
                  <a:lnTo>
                    <a:pt x="97" y="130"/>
                  </a:lnTo>
                  <a:lnTo>
                    <a:pt x="101" y="130"/>
                  </a:lnTo>
                  <a:lnTo>
                    <a:pt x="104" y="132"/>
                  </a:lnTo>
                  <a:lnTo>
                    <a:pt x="104" y="132"/>
                  </a:lnTo>
                  <a:lnTo>
                    <a:pt x="108" y="132"/>
                  </a:lnTo>
                  <a:lnTo>
                    <a:pt x="113" y="130"/>
                  </a:lnTo>
                  <a:lnTo>
                    <a:pt x="115" y="129"/>
                  </a:lnTo>
                  <a:lnTo>
                    <a:pt x="115" y="129"/>
                  </a:lnTo>
                  <a:lnTo>
                    <a:pt x="115" y="122"/>
                  </a:lnTo>
                  <a:lnTo>
                    <a:pt x="115" y="122"/>
                  </a:lnTo>
                  <a:lnTo>
                    <a:pt x="115" y="114"/>
                  </a:lnTo>
                  <a:lnTo>
                    <a:pt x="114" y="109"/>
                  </a:lnTo>
                  <a:lnTo>
                    <a:pt x="113" y="107"/>
                  </a:lnTo>
                  <a:lnTo>
                    <a:pt x="113" y="107"/>
                  </a:lnTo>
                  <a:lnTo>
                    <a:pt x="106" y="102"/>
                  </a:lnTo>
                  <a:lnTo>
                    <a:pt x="101" y="98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7" y="90"/>
                  </a:lnTo>
                  <a:lnTo>
                    <a:pt x="93" y="86"/>
                  </a:lnTo>
                  <a:lnTo>
                    <a:pt x="89" y="82"/>
                  </a:lnTo>
                  <a:lnTo>
                    <a:pt x="86" y="77"/>
                  </a:lnTo>
                  <a:lnTo>
                    <a:pt x="86" y="77"/>
                  </a:lnTo>
                  <a:lnTo>
                    <a:pt x="82" y="70"/>
                  </a:lnTo>
                  <a:lnTo>
                    <a:pt x="79" y="68"/>
                  </a:lnTo>
                  <a:lnTo>
                    <a:pt x="79" y="64"/>
                  </a:lnTo>
                  <a:lnTo>
                    <a:pt x="79" y="64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66"/>
            <p:cNvSpPr>
              <a:spLocks/>
            </p:cNvSpPr>
            <p:nvPr/>
          </p:nvSpPr>
          <p:spPr bwMode="auto">
            <a:xfrm>
              <a:off x="6986588" y="3471863"/>
              <a:ext cx="198438" cy="374650"/>
            </a:xfrm>
            <a:custGeom>
              <a:avLst/>
              <a:gdLst>
                <a:gd name="T0" fmla="*/ 75 w 125"/>
                <a:gd name="T1" fmla="*/ 118 h 236"/>
                <a:gd name="T2" fmla="*/ 82 w 125"/>
                <a:gd name="T3" fmla="*/ 105 h 236"/>
                <a:gd name="T4" fmla="*/ 98 w 125"/>
                <a:gd name="T5" fmla="*/ 100 h 236"/>
                <a:gd name="T6" fmla="*/ 118 w 125"/>
                <a:gd name="T7" fmla="*/ 100 h 236"/>
                <a:gd name="T8" fmla="*/ 122 w 125"/>
                <a:gd name="T9" fmla="*/ 102 h 236"/>
                <a:gd name="T10" fmla="*/ 123 w 125"/>
                <a:gd name="T11" fmla="*/ 84 h 236"/>
                <a:gd name="T12" fmla="*/ 116 w 125"/>
                <a:gd name="T13" fmla="*/ 69 h 236"/>
                <a:gd name="T14" fmla="*/ 112 w 125"/>
                <a:gd name="T15" fmla="*/ 65 h 236"/>
                <a:gd name="T16" fmla="*/ 112 w 125"/>
                <a:gd name="T17" fmla="*/ 50 h 236"/>
                <a:gd name="T18" fmla="*/ 101 w 125"/>
                <a:gd name="T19" fmla="*/ 37 h 236"/>
                <a:gd name="T20" fmla="*/ 86 w 125"/>
                <a:gd name="T21" fmla="*/ 38 h 236"/>
                <a:gd name="T22" fmla="*/ 78 w 125"/>
                <a:gd name="T23" fmla="*/ 43 h 236"/>
                <a:gd name="T24" fmla="*/ 72 w 125"/>
                <a:gd name="T25" fmla="*/ 38 h 236"/>
                <a:gd name="T26" fmla="*/ 55 w 125"/>
                <a:gd name="T27" fmla="*/ 48 h 236"/>
                <a:gd name="T28" fmla="*/ 50 w 125"/>
                <a:gd name="T29" fmla="*/ 47 h 236"/>
                <a:gd name="T30" fmla="*/ 54 w 125"/>
                <a:gd name="T31" fmla="*/ 34 h 236"/>
                <a:gd name="T32" fmla="*/ 57 w 125"/>
                <a:gd name="T33" fmla="*/ 23 h 236"/>
                <a:gd name="T34" fmla="*/ 54 w 125"/>
                <a:gd name="T35" fmla="*/ 15 h 236"/>
                <a:gd name="T36" fmla="*/ 46 w 125"/>
                <a:gd name="T37" fmla="*/ 15 h 236"/>
                <a:gd name="T38" fmla="*/ 44 w 125"/>
                <a:gd name="T39" fmla="*/ 4 h 236"/>
                <a:gd name="T40" fmla="*/ 40 w 125"/>
                <a:gd name="T41" fmla="*/ 0 h 236"/>
                <a:gd name="T42" fmla="*/ 32 w 125"/>
                <a:gd name="T43" fmla="*/ 5 h 236"/>
                <a:gd name="T44" fmla="*/ 21 w 125"/>
                <a:gd name="T45" fmla="*/ 12 h 236"/>
                <a:gd name="T46" fmla="*/ 7 w 125"/>
                <a:gd name="T47" fmla="*/ 14 h 236"/>
                <a:gd name="T48" fmla="*/ 0 w 125"/>
                <a:gd name="T49" fmla="*/ 43 h 236"/>
                <a:gd name="T50" fmla="*/ 10 w 125"/>
                <a:gd name="T51" fmla="*/ 55 h 236"/>
                <a:gd name="T52" fmla="*/ 14 w 125"/>
                <a:gd name="T53" fmla="*/ 62 h 236"/>
                <a:gd name="T54" fmla="*/ 17 w 125"/>
                <a:gd name="T55" fmla="*/ 69 h 236"/>
                <a:gd name="T56" fmla="*/ 15 w 125"/>
                <a:gd name="T57" fmla="*/ 75 h 236"/>
                <a:gd name="T58" fmla="*/ 12 w 125"/>
                <a:gd name="T59" fmla="*/ 86 h 236"/>
                <a:gd name="T60" fmla="*/ 14 w 125"/>
                <a:gd name="T61" fmla="*/ 98 h 236"/>
                <a:gd name="T62" fmla="*/ 23 w 125"/>
                <a:gd name="T63" fmla="*/ 112 h 236"/>
                <a:gd name="T64" fmla="*/ 26 w 125"/>
                <a:gd name="T65" fmla="*/ 127 h 236"/>
                <a:gd name="T66" fmla="*/ 25 w 125"/>
                <a:gd name="T67" fmla="*/ 147 h 236"/>
                <a:gd name="T68" fmla="*/ 15 w 125"/>
                <a:gd name="T69" fmla="*/ 159 h 236"/>
                <a:gd name="T70" fmla="*/ 10 w 125"/>
                <a:gd name="T71" fmla="*/ 195 h 236"/>
                <a:gd name="T72" fmla="*/ 21 w 125"/>
                <a:gd name="T73" fmla="*/ 202 h 236"/>
                <a:gd name="T74" fmla="*/ 37 w 125"/>
                <a:gd name="T75" fmla="*/ 224 h 236"/>
                <a:gd name="T76" fmla="*/ 53 w 125"/>
                <a:gd name="T77" fmla="*/ 229 h 236"/>
                <a:gd name="T78" fmla="*/ 55 w 125"/>
                <a:gd name="T79" fmla="*/ 236 h 236"/>
                <a:gd name="T80" fmla="*/ 67 w 125"/>
                <a:gd name="T81" fmla="*/ 234 h 236"/>
                <a:gd name="T82" fmla="*/ 71 w 125"/>
                <a:gd name="T83" fmla="*/ 229 h 236"/>
                <a:gd name="T84" fmla="*/ 53 w 125"/>
                <a:gd name="T85" fmla="*/ 219 h 236"/>
                <a:gd name="T86" fmla="*/ 44 w 125"/>
                <a:gd name="T87" fmla="*/ 212 h 236"/>
                <a:gd name="T88" fmla="*/ 42 w 125"/>
                <a:gd name="T89" fmla="*/ 197 h 236"/>
                <a:gd name="T90" fmla="*/ 36 w 125"/>
                <a:gd name="T91" fmla="*/ 187 h 236"/>
                <a:gd name="T92" fmla="*/ 26 w 125"/>
                <a:gd name="T93" fmla="*/ 179 h 236"/>
                <a:gd name="T94" fmla="*/ 29 w 125"/>
                <a:gd name="T95" fmla="*/ 154 h 236"/>
                <a:gd name="T96" fmla="*/ 37 w 125"/>
                <a:gd name="T97" fmla="*/ 129 h 236"/>
                <a:gd name="T98" fmla="*/ 36 w 125"/>
                <a:gd name="T99" fmla="*/ 120 h 236"/>
                <a:gd name="T100" fmla="*/ 48 w 125"/>
                <a:gd name="T101" fmla="*/ 116 h 236"/>
                <a:gd name="T102" fmla="*/ 53 w 125"/>
                <a:gd name="T103" fmla="*/ 126 h 236"/>
                <a:gd name="T104" fmla="*/ 68 w 125"/>
                <a:gd name="T105" fmla="*/ 129 h 236"/>
                <a:gd name="T106" fmla="*/ 79 w 125"/>
                <a:gd name="T107" fmla="*/ 137 h 236"/>
                <a:gd name="T108" fmla="*/ 80 w 125"/>
                <a:gd name="T109" fmla="*/ 137 h 236"/>
                <a:gd name="T110" fmla="*/ 78 w 125"/>
                <a:gd name="T111" fmla="*/ 12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5" h="236">
                  <a:moveTo>
                    <a:pt x="78" y="125"/>
                  </a:moveTo>
                  <a:lnTo>
                    <a:pt x="78" y="125"/>
                  </a:lnTo>
                  <a:lnTo>
                    <a:pt x="76" y="120"/>
                  </a:lnTo>
                  <a:lnTo>
                    <a:pt x="75" y="118"/>
                  </a:lnTo>
                  <a:lnTo>
                    <a:pt x="75" y="115"/>
                  </a:lnTo>
                  <a:lnTo>
                    <a:pt x="78" y="111"/>
                  </a:lnTo>
                  <a:lnTo>
                    <a:pt x="78" y="111"/>
                  </a:lnTo>
                  <a:lnTo>
                    <a:pt x="82" y="105"/>
                  </a:lnTo>
                  <a:lnTo>
                    <a:pt x="87" y="101"/>
                  </a:lnTo>
                  <a:lnTo>
                    <a:pt x="93" y="100"/>
                  </a:lnTo>
                  <a:lnTo>
                    <a:pt x="98" y="100"/>
                  </a:lnTo>
                  <a:lnTo>
                    <a:pt x="98" y="100"/>
                  </a:lnTo>
                  <a:lnTo>
                    <a:pt x="104" y="100"/>
                  </a:lnTo>
                  <a:lnTo>
                    <a:pt x="110" y="100"/>
                  </a:lnTo>
                  <a:lnTo>
                    <a:pt x="116" y="98"/>
                  </a:lnTo>
                  <a:lnTo>
                    <a:pt x="118" y="100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5" y="98"/>
                  </a:lnTo>
                  <a:lnTo>
                    <a:pt x="125" y="94"/>
                  </a:lnTo>
                  <a:lnTo>
                    <a:pt x="123" y="90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23" y="79"/>
                  </a:lnTo>
                  <a:lnTo>
                    <a:pt x="121" y="73"/>
                  </a:lnTo>
                  <a:lnTo>
                    <a:pt x="116" y="69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2" y="66"/>
                  </a:lnTo>
                  <a:lnTo>
                    <a:pt x="112" y="65"/>
                  </a:lnTo>
                  <a:lnTo>
                    <a:pt x="112" y="59"/>
                  </a:lnTo>
                  <a:lnTo>
                    <a:pt x="114" y="52"/>
                  </a:lnTo>
                  <a:lnTo>
                    <a:pt x="114" y="51"/>
                  </a:lnTo>
                  <a:lnTo>
                    <a:pt x="112" y="50"/>
                  </a:lnTo>
                  <a:lnTo>
                    <a:pt x="112" y="50"/>
                  </a:lnTo>
                  <a:lnTo>
                    <a:pt x="105" y="44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97" y="36"/>
                  </a:lnTo>
                  <a:lnTo>
                    <a:pt x="93" y="36"/>
                  </a:lnTo>
                  <a:lnTo>
                    <a:pt x="89" y="36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85" y="40"/>
                  </a:lnTo>
                  <a:lnTo>
                    <a:pt x="82" y="41"/>
                  </a:lnTo>
                  <a:lnTo>
                    <a:pt x="78" y="43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3" y="40"/>
                  </a:lnTo>
                  <a:lnTo>
                    <a:pt x="72" y="38"/>
                  </a:lnTo>
                  <a:lnTo>
                    <a:pt x="68" y="40"/>
                  </a:lnTo>
                  <a:lnTo>
                    <a:pt x="65" y="41"/>
                  </a:lnTo>
                  <a:lnTo>
                    <a:pt x="65" y="41"/>
                  </a:lnTo>
                  <a:lnTo>
                    <a:pt x="55" y="48"/>
                  </a:lnTo>
                  <a:lnTo>
                    <a:pt x="53" y="50"/>
                  </a:lnTo>
                  <a:lnTo>
                    <a:pt x="51" y="48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44"/>
                  </a:lnTo>
                  <a:lnTo>
                    <a:pt x="53" y="41"/>
                  </a:lnTo>
                  <a:lnTo>
                    <a:pt x="54" y="38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5" y="26"/>
                  </a:lnTo>
                  <a:lnTo>
                    <a:pt x="57" y="23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16"/>
                  </a:lnTo>
                  <a:lnTo>
                    <a:pt x="54" y="15"/>
                  </a:lnTo>
                  <a:lnTo>
                    <a:pt x="50" y="15"/>
                  </a:lnTo>
                  <a:lnTo>
                    <a:pt x="47" y="16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4" y="11"/>
                  </a:lnTo>
                  <a:lnTo>
                    <a:pt x="44" y="7"/>
                  </a:lnTo>
                  <a:lnTo>
                    <a:pt x="44" y="4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36" y="4"/>
                  </a:lnTo>
                  <a:lnTo>
                    <a:pt x="32" y="5"/>
                  </a:lnTo>
                  <a:lnTo>
                    <a:pt x="28" y="7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1" y="12"/>
                  </a:lnTo>
                  <a:lnTo>
                    <a:pt x="18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7" y="14"/>
                  </a:lnTo>
                  <a:lnTo>
                    <a:pt x="5" y="15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47"/>
                  </a:lnTo>
                  <a:lnTo>
                    <a:pt x="5" y="51"/>
                  </a:lnTo>
                  <a:lnTo>
                    <a:pt x="10" y="55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4" y="59"/>
                  </a:lnTo>
                  <a:lnTo>
                    <a:pt x="14" y="62"/>
                  </a:lnTo>
                  <a:lnTo>
                    <a:pt x="14" y="65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7" y="69"/>
                  </a:lnTo>
                  <a:lnTo>
                    <a:pt x="17" y="72"/>
                  </a:lnTo>
                  <a:lnTo>
                    <a:pt x="17" y="75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14" y="76"/>
                  </a:lnTo>
                  <a:lnTo>
                    <a:pt x="14" y="79"/>
                  </a:lnTo>
                  <a:lnTo>
                    <a:pt x="14" y="83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1" y="90"/>
                  </a:lnTo>
                  <a:lnTo>
                    <a:pt x="11" y="94"/>
                  </a:lnTo>
                  <a:lnTo>
                    <a:pt x="14" y="98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21" y="108"/>
                  </a:lnTo>
                  <a:lnTo>
                    <a:pt x="23" y="112"/>
                  </a:lnTo>
                  <a:lnTo>
                    <a:pt x="23" y="122"/>
                  </a:lnTo>
                  <a:lnTo>
                    <a:pt x="23" y="122"/>
                  </a:lnTo>
                  <a:lnTo>
                    <a:pt x="25" y="125"/>
                  </a:lnTo>
                  <a:lnTo>
                    <a:pt x="26" y="127"/>
                  </a:lnTo>
                  <a:lnTo>
                    <a:pt x="28" y="130"/>
                  </a:lnTo>
                  <a:lnTo>
                    <a:pt x="29" y="134"/>
                  </a:lnTo>
                  <a:lnTo>
                    <a:pt x="29" y="134"/>
                  </a:lnTo>
                  <a:lnTo>
                    <a:pt x="25" y="147"/>
                  </a:lnTo>
                  <a:lnTo>
                    <a:pt x="21" y="156"/>
                  </a:lnTo>
                  <a:lnTo>
                    <a:pt x="18" y="159"/>
                  </a:lnTo>
                  <a:lnTo>
                    <a:pt x="15" y="159"/>
                  </a:lnTo>
                  <a:lnTo>
                    <a:pt x="15" y="159"/>
                  </a:lnTo>
                  <a:lnTo>
                    <a:pt x="11" y="183"/>
                  </a:lnTo>
                  <a:lnTo>
                    <a:pt x="11" y="183"/>
                  </a:lnTo>
                  <a:lnTo>
                    <a:pt x="10" y="193"/>
                  </a:lnTo>
                  <a:lnTo>
                    <a:pt x="10" y="195"/>
                  </a:lnTo>
                  <a:lnTo>
                    <a:pt x="12" y="197"/>
                  </a:lnTo>
                  <a:lnTo>
                    <a:pt x="12" y="197"/>
                  </a:lnTo>
                  <a:lnTo>
                    <a:pt x="15" y="198"/>
                  </a:lnTo>
                  <a:lnTo>
                    <a:pt x="21" y="202"/>
                  </a:lnTo>
                  <a:lnTo>
                    <a:pt x="33" y="216"/>
                  </a:lnTo>
                  <a:lnTo>
                    <a:pt x="33" y="216"/>
                  </a:lnTo>
                  <a:lnTo>
                    <a:pt x="37" y="224"/>
                  </a:lnTo>
                  <a:lnTo>
                    <a:pt x="37" y="224"/>
                  </a:lnTo>
                  <a:lnTo>
                    <a:pt x="46" y="224"/>
                  </a:lnTo>
                  <a:lnTo>
                    <a:pt x="46" y="224"/>
                  </a:lnTo>
                  <a:lnTo>
                    <a:pt x="50" y="226"/>
                  </a:lnTo>
                  <a:lnTo>
                    <a:pt x="53" y="229"/>
                  </a:lnTo>
                  <a:lnTo>
                    <a:pt x="54" y="231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5" y="236"/>
                  </a:lnTo>
                  <a:lnTo>
                    <a:pt x="60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4"/>
                  </a:lnTo>
                  <a:lnTo>
                    <a:pt x="68" y="233"/>
                  </a:lnTo>
                  <a:lnTo>
                    <a:pt x="68" y="231"/>
                  </a:lnTo>
                  <a:lnTo>
                    <a:pt x="71" y="229"/>
                  </a:lnTo>
                  <a:lnTo>
                    <a:pt x="71" y="229"/>
                  </a:lnTo>
                  <a:lnTo>
                    <a:pt x="68" y="226"/>
                  </a:lnTo>
                  <a:lnTo>
                    <a:pt x="64" y="223"/>
                  </a:lnTo>
                  <a:lnTo>
                    <a:pt x="58" y="220"/>
                  </a:lnTo>
                  <a:lnTo>
                    <a:pt x="53" y="219"/>
                  </a:lnTo>
                  <a:lnTo>
                    <a:pt x="53" y="219"/>
                  </a:lnTo>
                  <a:lnTo>
                    <a:pt x="50" y="218"/>
                  </a:lnTo>
                  <a:lnTo>
                    <a:pt x="48" y="216"/>
                  </a:lnTo>
                  <a:lnTo>
                    <a:pt x="44" y="212"/>
                  </a:lnTo>
                  <a:lnTo>
                    <a:pt x="43" y="206"/>
                  </a:lnTo>
                  <a:lnTo>
                    <a:pt x="43" y="201"/>
                  </a:lnTo>
                  <a:lnTo>
                    <a:pt x="43" y="201"/>
                  </a:lnTo>
                  <a:lnTo>
                    <a:pt x="42" y="197"/>
                  </a:lnTo>
                  <a:lnTo>
                    <a:pt x="40" y="194"/>
                  </a:lnTo>
                  <a:lnTo>
                    <a:pt x="37" y="190"/>
                  </a:lnTo>
                  <a:lnTo>
                    <a:pt x="36" y="187"/>
                  </a:lnTo>
                  <a:lnTo>
                    <a:pt x="36" y="187"/>
                  </a:lnTo>
                  <a:lnTo>
                    <a:pt x="36" y="184"/>
                  </a:lnTo>
                  <a:lnTo>
                    <a:pt x="33" y="181"/>
                  </a:lnTo>
                  <a:lnTo>
                    <a:pt x="26" y="179"/>
                  </a:lnTo>
                  <a:lnTo>
                    <a:pt x="26" y="179"/>
                  </a:lnTo>
                  <a:lnTo>
                    <a:pt x="25" y="177"/>
                  </a:lnTo>
                  <a:lnTo>
                    <a:pt x="25" y="175"/>
                  </a:lnTo>
                  <a:lnTo>
                    <a:pt x="25" y="168"/>
                  </a:lnTo>
                  <a:lnTo>
                    <a:pt x="29" y="154"/>
                  </a:lnTo>
                  <a:lnTo>
                    <a:pt x="29" y="154"/>
                  </a:lnTo>
                  <a:lnTo>
                    <a:pt x="30" y="147"/>
                  </a:lnTo>
                  <a:lnTo>
                    <a:pt x="35" y="138"/>
                  </a:lnTo>
                  <a:lnTo>
                    <a:pt x="37" y="129"/>
                  </a:lnTo>
                  <a:lnTo>
                    <a:pt x="37" y="125"/>
                  </a:lnTo>
                  <a:lnTo>
                    <a:pt x="37" y="122"/>
                  </a:lnTo>
                  <a:lnTo>
                    <a:pt x="37" y="122"/>
                  </a:lnTo>
                  <a:lnTo>
                    <a:pt x="36" y="120"/>
                  </a:lnTo>
                  <a:lnTo>
                    <a:pt x="37" y="118"/>
                  </a:lnTo>
                  <a:lnTo>
                    <a:pt x="42" y="115"/>
                  </a:lnTo>
                  <a:lnTo>
                    <a:pt x="47" y="115"/>
                  </a:lnTo>
                  <a:lnTo>
                    <a:pt x="48" y="116"/>
                  </a:lnTo>
                  <a:lnTo>
                    <a:pt x="50" y="118"/>
                  </a:lnTo>
                  <a:lnTo>
                    <a:pt x="50" y="118"/>
                  </a:lnTo>
                  <a:lnTo>
                    <a:pt x="51" y="123"/>
                  </a:lnTo>
                  <a:lnTo>
                    <a:pt x="53" y="126"/>
                  </a:lnTo>
                  <a:lnTo>
                    <a:pt x="57" y="127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68" y="129"/>
                  </a:lnTo>
                  <a:lnTo>
                    <a:pt x="71" y="131"/>
                  </a:lnTo>
                  <a:lnTo>
                    <a:pt x="75" y="134"/>
                  </a:lnTo>
                  <a:lnTo>
                    <a:pt x="79" y="137"/>
                  </a:lnTo>
                  <a:lnTo>
                    <a:pt x="79" y="137"/>
                  </a:lnTo>
                  <a:lnTo>
                    <a:pt x="80" y="137"/>
                  </a:lnTo>
                  <a:lnTo>
                    <a:pt x="80" y="137"/>
                  </a:lnTo>
                  <a:lnTo>
                    <a:pt x="80" y="137"/>
                  </a:lnTo>
                  <a:lnTo>
                    <a:pt x="80" y="137"/>
                  </a:lnTo>
                  <a:lnTo>
                    <a:pt x="80" y="133"/>
                  </a:lnTo>
                  <a:lnTo>
                    <a:pt x="79" y="131"/>
                  </a:lnTo>
                  <a:lnTo>
                    <a:pt x="79" y="129"/>
                  </a:lnTo>
                  <a:lnTo>
                    <a:pt x="78" y="125"/>
                  </a:lnTo>
                  <a:lnTo>
                    <a:pt x="78" y="125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142"/>
            <p:cNvSpPr>
              <a:spLocks/>
            </p:cNvSpPr>
            <p:nvPr/>
          </p:nvSpPr>
          <p:spPr bwMode="auto">
            <a:xfrm>
              <a:off x="5976938" y="2762250"/>
              <a:ext cx="431800" cy="257175"/>
            </a:xfrm>
            <a:custGeom>
              <a:avLst/>
              <a:gdLst>
                <a:gd name="T0" fmla="*/ 257 w 272"/>
                <a:gd name="T1" fmla="*/ 82 h 162"/>
                <a:gd name="T2" fmla="*/ 249 w 272"/>
                <a:gd name="T3" fmla="*/ 80 h 162"/>
                <a:gd name="T4" fmla="*/ 236 w 272"/>
                <a:gd name="T5" fmla="*/ 82 h 162"/>
                <a:gd name="T6" fmla="*/ 226 w 272"/>
                <a:gd name="T7" fmla="*/ 76 h 162"/>
                <a:gd name="T8" fmla="*/ 210 w 272"/>
                <a:gd name="T9" fmla="*/ 83 h 162"/>
                <a:gd name="T10" fmla="*/ 204 w 272"/>
                <a:gd name="T11" fmla="*/ 93 h 162"/>
                <a:gd name="T12" fmla="*/ 197 w 272"/>
                <a:gd name="T13" fmla="*/ 91 h 162"/>
                <a:gd name="T14" fmla="*/ 185 w 272"/>
                <a:gd name="T15" fmla="*/ 84 h 162"/>
                <a:gd name="T16" fmla="*/ 171 w 272"/>
                <a:gd name="T17" fmla="*/ 80 h 162"/>
                <a:gd name="T18" fmla="*/ 164 w 272"/>
                <a:gd name="T19" fmla="*/ 68 h 162"/>
                <a:gd name="T20" fmla="*/ 161 w 272"/>
                <a:gd name="T21" fmla="*/ 51 h 162"/>
                <a:gd name="T22" fmla="*/ 153 w 272"/>
                <a:gd name="T23" fmla="*/ 44 h 162"/>
                <a:gd name="T24" fmla="*/ 131 w 272"/>
                <a:gd name="T25" fmla="*/ 40 h 162"/>
                <a:gd name="T26" fmla="*/ 104 w 272"/>
                <a:gd name="T27" fmla="*/ 40 h 162"/>
                <a:gd name="T28" fmla="*/ 94 w 272"/>
                <a:gd name="T29" fmla="*/ 40 h 162"/>
                <a:gd name="T30" fmla="*/ 75 w 272"/>
                <a:gd name="T31" fmla="*/ 23 h 162"/>
                <a:gd name="T32" fmla="*/ 57 w 272"/>
                <a:gd name="T33" fmla="*/ 32 h 162"/>
                <a:gd name="T34" fmla="*/ 53 w 272"/>
                <a:gd name="T35" fmla="*/ 23 h 162"/>
                <a:gd name="T36" fmla="*/ 54 w 272"/>
                <a:gd name="T37" fmla="*/ 4 h 162"/>
                <a:gd name="T38" fmla="*/ 49 w 272"/>
                <a:gd name="T39" fmla="*/ 2 h 162"/>
                <a:gd name="T40" fmla="*/ 46 w 272"/>
                <a:gd name="T41" fmla="*/ 23 h 162"/>
                <a:gd name="T42" fmla="*/ 42 w 272"/>
                <a:gd name="T43" fmla="*/ 22 h 162"/>
                <a:gd name="T44" fmla="*/ 3 w 272"/>
                <a:gd name="T45" fmla="*/ 11 h 162"/>
                <a:gd name="T46" fmla="*/ 0 w 272"/>
                <a:gd name="T47" fmla="*/ 80 h 162"/>
                <a:gd name="T48" fmla="*/ 15 w 272"/>
                <a:gd name="T49" fmla="*/ 82 h 162"/>
                <a:gd name="T50" fmla="*/ 18 w 272"/>
                <a:gd name="T51" fmla="*/ 72 h 162"/>
                <a:gd name="T52" fmla="*/ 28 w 272"/>
                <a:gd name="T53" fmla="*/ 66 h 162"/>
                <a:gd name="T54" fmla="*/ 33 w 272"/>
                <a:gd name="T55" fmla="*/ 61 h 162"/>
                <a:gd name="T56" fmla="*/ 40 w 272"/>
                <a:gd name="T57" fmla="*/ 58 h 162"/>
                <a:gd name="T58" fmla="*/ 51 w 272"/>
                <a:gd name="T59" fmla="*/ 61 h 162"/>
                <a:gd name="T60" fmla="*/ 65 w 272"/>
                <a:gd name="T61" fmla="*/ 65 h 162"/>
                <a:gd name="T62" fmla="*/ 69 w 272"/>
                <a:gd name="T63" fmla="*/ 82 h 162"/>
                <a:gd name="T64" fmla="*/ 92 w 272"/>
                <a:gd name="T65" fmla="*/ 84 h 162"/>
                <a:gd name="T66" fmla="*/ 99 w 272"/>
                <a:gd name="T67" fmla="*/ 94 h 162"/>
                <a:gd name="T68" fmla="*/ 106 w 272"/>
                <a:gd name="T69" fmla="*/ 107 h 162"/>
                <a:gd name="T70" fmla="*/ 121 w 272"/>
                <a:gd name="T71" fmla="*/ 119 h 162"/>
                <a:gd name="T72" fmla="*/ 139 w 272"/>
                <a:gd name="T73" fmla="*/ 129 h 162"/>
                <a:gd name="T74" fmla="*/ 153 w 272"/>
                <a:gd name="T75" fmla="*/ 138 h 162"/>
                <a:gd name="T76" fmla="*/ 164 w 272"/>
                <a:gd name="T77" fmla="*/ 141 h 162"/>
                <a:gd name="T78" fmla="*/ 172 w 272"/>
                <a:gd name="T79" fmla="*/ 154 h 162"/>
                <a:gd name="T80" fmla="*/ 182 w 272"/>
                <a:gd name="T81" fmla="*/ 158 h 162"/>
                <a:gd name="T82" fmla="*/ 192 w 272"/>
                <a:gd name="T83" fmla="*/ 162 h 162"/>
                <a:gd name="T84" fmla="*/ 194 w 272"/>
                <a:gd name="T85" fmla="*/ 148 h 162"/>
                <a:gd name="T86" fmla="*/ 199 w 272"/>
                <a:gd name="T87" fmla="*/ 143 h 162"/>
                <a:gd name="T88" fmla="*/ 196 w 272"/>
                <a:gd name="T89" fmla="*/ 132 h 162"/>
                <a:gd name="T90" fmla="*/ 187 w 272"/>
                <a:gd name="T91" fmla="*/ 122 h 162"/>
                <a:gd name="T92" fmla="*/ 187 w 272"/>
                <a:gd name="T93" fmla="*/ 118 h 162"/>
                <a:gd name="T94" fmla="*/ 203 w 272"/>
                <a:gd name="T95" fmla="*/ 112 h 162"/>
                <a:gd name="T96" fmla="*/ 205 w 272"/>
                <a:gd name="T97" fmla="*/ 105 h 162"/>
                <a:gd name="T98" fmla="*/ 214 w 272"/>
                <a:gd name="T99" fmla="*/ 97 h 162"/>
                <a:gd name="T100" fmla="*/ 225 w 272"/>
                <a:gd name="T101" fmla="*/ 94 h 162"/>
                <a:gd name="T102" fmla="*/ 236 w 272"/>
                <a:gd name="T103" fmla="*/ 91 h 162"/>
                <a:gd name="T104" fmla="*/ 230 w 272"/>
                <a:gd name="T105" fmla="*/ 104 h 162"/>
                <a:gd name="T106" fmla="*/ 249 w 272"/>
                <a:gd name="T107" fmla="*/ 101 h 162"/>
                <a:gd name="T108" fmla="*/ 260 w 272"/>
                <a:gd name="T109" fmla="*/ 101 h 162"/>
                <a:gd name="T110" fmla="*/ 265 w 272"/>
                <a:gd name="T111" fmla="*/ 97 h 162"/>
                <a:gd name="T112" fmla="*/ 269 w 272"/>
                <a:gd name="T113" fmla="*/ 9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2" h="162">
                  <a:moveTo>
                    <a:pt x="269" y="91"/>
                  </a:moveTo>
                  <a:lnTo>
                    <a:pt x="269" y="91"/>
                  </a:lnTo>
                  <a:lnTo>
                    <a:pt x="264" y="86"/>
                  </a:lnTo>
                  <a:lnTo>
                    <a:pt x="257" y="82"/>
                  </a:lnTo>
                  <a:lnTo>
                    <a:pt x="251" y="80"/>
                  </a:lnTo>
                  <a:lnTo>
                    <a:pt x="250" y="80"/>
                  </a:lnTo>
                  <a:lnTo>
                    <a:pt x="249" y="80"/>
                  </a:lnTo>
                  <a:lnTo>
                    <a:pt x="249" y="80"/>
                  </a:lnTo>
                  <a:lnTo>
                    <a:pt x="246" y="83"/>
                  </a:lnTo>
                  <a:lnTo>
                    <a:pt x="243" y="84"/>
                  </a:lnTo>
                  <a:lnTo>
                    <a:pt x="239" y="83"/>
                  </a:lnTo>
                  <a:lnTo>
                    <a:pt x="236" y="82"/>
                  </a:lnTo>
                  <a:lnTo>
                    <a:pt x="236" y="82"/>
                  </a:lnTo>
                  <a:lnTo>
                    <a:pt x="233" y="79"/>
                  </a:lnTo>
                  <a:lnTo>
                    <a:pt x="230" y="76"/>
                  </a:lnTo>
                  <a:lnTo>
                    <a:pt x="226" y="76"/>
                  </a:lnTo>
                  <a:lnTo>
                    <a:pt x="221" y="77"/>
                  </a:lnTo>
                  <a:lnTo>
                    <a:pt x="221" y="77"/>
                  </a:lnTo>
                  <a:lnTo>
                    <a:pt x="215" y="80"/>
                  </a:lnTo>
                  <a:lnTo>
                    <a:pt x="210" y="83"/>
                  </a:lnTo>
                  <a:lnTo>
                    <a:pt x="207" y="87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4" y="93"/>
                  </a:lnTo>
                  <a:lnTo>
                    <a:pt x="201" y="94"/>
                  </a:lnTo>
                  <a:lnTo>
                    <a:pt x="199" y="94"/>
                  </a:lnTo>
                  <a:lnTo>
                    <a:pt x="197" y="91"/>
                  </a:lnTo>
                  <a:lnTo>
                    <a:pt x="197" y="91"/>
                  </a:lnTo>
                  <a:lnTo>
                    <a:pt x="196" y="88"/>
                  </a:lnTo>
                  <a:lnTo>
                    <a:pt x="193" y="87"/>
                  </a:lnTo>
                  <a:lnTo>
                    <a:pt x="185" y="84"/>
                  </a:lnTo>
                  <a:lnTo>
                    <a:pt x="185" y="84"/>
                  </a:lnTo>
                  <a:lnTo>
                    <a:pt x="176" y="83"/>
                  </a:lnTo>
                  <a:lnTo>
                    <a:pt x="172" y="83"/>
                  </a:lnTo>
                  <a:lnTo>
                    <a:pt x="172" y="82"/>
                  </a:lnTo>
                  <a:lnTo>
                    <a:pt x="171" y="80"/>
                  </a:lnTo>
                  <a:lnTo>
                    <a:pt x="171" y="80"/>
                  </a:lnTo>
                  <a:lnTo>
                    <a:pt x="169" y="76"/>
                  </a:lnTo>
                  <a:lnTo>
                    <a:pt x="167" y="72"/>
                  </a:lnTo>
                  <a:lnTo>
                    <a:pt x="164" y="68"/>
                  </a:lnTo>
                  <a:lnTo>
                    <a:pt x="162" y="64"/>
                  </a:lnTo>
                  <a:lnTo>
                    <a:pt x="162" y="64"/>
                  </a:lnTo>
                  <a:lnTo>
                    <a:pt x="162" y="55"/>
                  </a:lnTo>
                  <a:lnTo>
                    <a:pt x="161" y="51"/>
                  </a:lnTo>
                  <a:lnTo>
                    <a:pt x="158" y="50"/>
                  </a:lnTo>
                  <a:lnTo>
                    <a:pt x="158" y="50"/>
                  </a:lnTo>
                  <a:lnTo>
                    <a:pt x="156" y="47"/>
                  </a:lnTo>
                  <a:lnTo>
                    <a:pt x="153" y="44"/>
                  </a:lnTo>
                  <a:lnTo>
                    <a:pt x="150" y="41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31" y="40"/>
                  </a:lnTo>
                  <a:lnTo>
                    <a:pt x="115" y="39"/>
                  </a:lnTo>
                  <a:lnTo>
                    <a:pt x="115" y="39"/>
                  </a:lnTo>
                  <a:lnTo>
                    <a:pt x="111" y="39"/>
                  </a:lnTo>
                  <a:lnTo>
                    <a:pt x="104" y="40"/>
                  </a:lnTo>
                  <a:lnTo>
                    <a:pt x="97" y="41"/>
                  </a:lnTo>
                  <a:lnTo>
                    <a:pt x="96" y="41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87" y="3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5" y="23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64" y="32"/>
                  </a:lnTo>
                  <a:lnTo>
                    <a:pt x="57" y="32"/>
                  </a:lnTo>
                  <a:lnTo>
                    <a:pt x="54" y="32"/>
                  </a:lnTo>
                  <a:lnTo>
                    <a:pt x="53" y="30"/>
                  </a:lnTo>
                  <a:lnTo>
                    <a:pt x="51" y="27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4" y="16"/>
                  </a:lnTo>
                  <a:lnTo>
                    <a:pt x="56" y="8"/>
                  </a:lnTo>
                  <a:lnTo>
                    <a:pt x="54" y="4"/>
                  </a:lnTo>
                  <a:lnTo>
                    <a:pt x="53" y="2"/>
                  </a:lnTo>
                  <a:lnTo>
                    <a:pt x="51" y="1"/>
                  </a:lnTo>
                  <a:lnTo>
                    <a:pt x="51" y="1"/>
                  </a:lnTo>
                  <a:lnTo>
                    <a:pt x="49" y="2"/>
                  </a:lnTo>
                  <a:lnTo>
                    <a:pt x="47" y="5"/>
                  </a:lnTo>
                  <a:lnTo>
                    <a:pt x="47" y="12"/>
                  </a:lnTo>
                  <a:lnTo>
                    <a:pt x="46" y="20"/>
                  </a:lnTo>
                  <a:lnTo>
                    <a:pt x="46" y="23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3" y="23"/>
                  </a:lnTo>
                  <a:lnTo>
                    <a:pt x="42" y="22"/>
                  </a:lnTo>
                  <a:lnTo>
                    <a:pt x="40" y="16"/>
                  </a:lnTo>
                  <a:lnTo>
                    <a:pt x="40" y="8"/>
                  </a:lnTo>
                  <a:lnTo>
                    <a:pt x="42" y="0"/>
                  </a:lnTo>
                  <a:lnTo>
                    <a:pt x="3" y="11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6" y="82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5" y="82"/>
                  </a:lnTo>
                  <a:lnTo>
                    <a:pt x="17" y="80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8" y="72"/>
                  </a:lnTo>
                  <a:lnTo>
                    <a:pt x="21" y="69"/>
                  </a:lnTo>
                  <a:lnTo>
                    <a:pt x="25" y="68"/>
                  </a:lnTo>
                  <a:lnTo>
                    <a:pt x="28" y="66"/>
                  </a:lnTo>
                  <a:lnTo>
                    <a:pt x="28" y="66"/>
                  </a:lnTo>
                  <a:lnTo>
                    <a:pt x="31" y="66"/>
                  </a:lnTo>
                  <a:lnTo>
                    <a:pt x="32" y="64"/>
                  </a:lnTo>
                  <a:lnTo>
                    <a:pt x="33" y="62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8" y="59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42" y="57"/>
                  </a:lnTo>
                  <a:lnTo>
                    <a:pt x="46" y="57"/>
                  </a:lnTo>
                  <a:lnTo>
                    <a:pt x="51" y="61"/>
                  </a:lnTo>
                  <a:lnTo>
                    <a:pt x="51" y="61"/>
                  </a:lnTo>
                  <a:lnTo>
                    <a:pt x="57" y="62"/>
                  </a:lnTo>
                  <a:lnTo>
                    <a:pt x="64" y="65"/>
                  </a:lnTo>
                  <a:lnTo>
                    <a:pt x="64" y="65"/>
                  </a:lnTo>
                  <a:lnTo>
                    <a:pt x="65" y="65"/>
                  </a:lnTo>
                  <a:lnTo>
                    <a:pt x="65" y="66"/>
                  </a:lnTo>
                  <a:lnTo>
                    <a:pt x="68" y="72"/>
                  </a:lnTo>
                  <a:lnTo>
                    <a:pt x="69" y="82"/>
                  </a:lnTo>
                  <a:lnTo>
                    <a:pt x="69" y="82"/>
                  </a:lnTo>
                  <a:lnTo>
                    <a:pt x="69" y="82"/>
                  </a:lnTo>
                  <a:lnTo>
                    <a:pt x="72" y="83"/>
                  </a:lnTo>
                  <a:lnTo>
                    <a:pt x="79" y="83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4" y="84"/>
                  </a:lnTo>
                  <a:lnTo>
                    <a:pt x="96" y="87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103" y="101"/>
                  </a:lnTo>
                  <a:lnTo>
                    <a:pt x="106" y="107"/>
                  </a:lnTo>
                  <a:lnTo>
                    <a:pt x="106" y="107"/>
                  </a:lnTo>
                  <a:lnTo>
                    <a:pt x="108" y="109"/>
                  </a:lnTo>
                  <a:lnTo>
                    <a:pt x="112" y="112"/>
                  </a:lnTo>
                  <a:lnTo>
                    <a:pt x="118" y="115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4" y="122"/>
                  </a:lnTo>
                  <a:lnTo>
                    <a:pt x="129" y="125"/>
                  </a:lnTo>
                  <a:lnTo>
                    <a:pt x="139" y="129"/>
                  </a:lnTo>
                  <a:lnTo>
                    <a:pt x="139" y="129"/>
                  </a:lnTo>
                  <a:lnTo>
                    <a:pt x="144" y="132"/>
                  </a:lnTo>
                  <a:lnTo>
                    <a:pt x="149" y="136"/>
                  </a:lnTo>
                  <a:lnTo>
                    <a:pt x="153" y="138"/>
                  </a:lnTo>
                  <a:lnTo>
                    <a:pt x="156" y="140"/>
                  </a:lnTo>
                  <a:lnTo>
                    <a:pt x="156" y="140"/>
                  </a:lnTo>
                  <a:lnTo>
                    <a:pt x="160" y="140"/>
                  </a:lnTo>
                  <a:lnTo>
                    <a:pt x="164" y="141"/>
                  </a:lnTo>
                  <a:lnTo>
                    <a:pt x="169" y="144"/>
                  </a:lnTo>
                  <a:lnTo>
                    <a:pt x="171" y="155"/>
                  </a:lnTo>
                  <a:lnTo>
                    <a:pt x="171" y="155"/>
                  </a:lnTo>
                  <a:lnTo>
                    <a:pt x="172" y="154"/>
                  </a:lnTo>
                  <a:lnTo>
                    <a:pt x="172" y="154"/>
                  </a:lnTo>
                  <a:lnTo>
                    <a:pt x="175" y="154"/>
                  </a:lnTo>
                  <a:lnTo>
                    <a:pt x="179" y="155"/>
                  </a:lnTo>
                  <a:lnTo>
                    <a:pt x="182" y="158"/>
                  </a:lnTo>
                  <a:lnTo>
                    <a:pt x="185" y="159"/>
                  </a:lnTo>
                  <a:lnTo>
                    <a:pt x="185" y="159"/>
                  </a:lnTo>
                  <a:lnTo>
                    <a:pt x="187" y="159"/>
                  </a:lnTo>
                  <a:lnTo>
                    <a:pt x="192" y="162"/>
                  </a:lnTo>
                  <a:lnTo>
                    <a:pt x="192" y="162"/>
                  </a:lnTo>
                  <a:lnTo>
                    <a:pt x="192" y="155"/>
                  </a:lnTo>
                  <a:lnTo>
                    <a:pt x="193" y="151"/>
                  </a:lnTo>
                  <a:lnTo>
                    <a:pt x="194" y="148"/>
                  </a:lnTo>
                  <a:lnTo>
                    <a:pt x="197" y="145"/>
                  </a:lnTo>
                  <a:lnTo>
                    <a:pt x="197" y="145"/>
                  </a:lnTo>
                  <a:lnTo>
                    <a:pt x="199" y="144"/>
                  </a:lnTo>
                  <a:lnTo>
                    <a:pt x="199" y="143"/>
                  </a:lnTo>
                  <a:lnTo>
                    <a:pt x="197" y="138"/>
                  </a:lnTo>
                  <a:lnTo>
                    <a:pt x="196" y="136"/>
                  </a:lnTo>
                  <a:lnTo>
                    <a:pt x="196" y="132"/>
                  </a:lnTo>
                  <a:lnTo>
                    <a:pt x="196" y="132"/>
                  </a:lnTo>
                  <a:lnTo>
                    <a:pt x="196" y="130"/>
                  </a:lnTo>
                  <a:lnTo>
                    <a:pt x="194" y="127"/>
                  </a:lnTo>
                  <a:lnTo>
                    <a:pt x="190" y="125"/>
                  </a:lnTo>
                  <a:lnTo>
                    <a:pt x="187" y="122"/>
                  </a:lnTo>
                  <a:lnTo>
                    <a:pt x="186" y="120"/>
                  </a:lnTo>
                  <a:lnTo>
                    <a:pt x="186" y="119"/>
                  </a:lnTo>
                  <a:lnTo>
                    <a:pt x="186" y="119"/>
                  </a:lnTo>
                  <a:lnTo>
                    <a:pt x="187" y="118"/>
                  </a:lnTo>
                  <a:lnTo>
                    <a:pt x="192" y="116"/>
                  </a:lnTo>
                  <a:lnTo>
                    <a:pt x="201" y="113"/>
                  </a:lnTo>
                  <a:lnTo>
                    <a:pt x="201" y="113"/>
                  </a:lnTo>
                  <a:lnTo>
                    <a:pt x="203" y="112"/>
                  </a:lnTo>
                  <a:lnTo>
                    <a:pt x="203" y="109"/>
                  </a:lnTo>
                  <a:lnTo>
                    <a:pt x="204" y="107"/>
                  </a:lnTo>
                  <a:lnTo>
                    <a:pt x="205" y="105"/>
                  </a:lnTo>
                  <a:lnTo>
                    <a:pt x="205" y="105"/>
                  </a:lnTo>
                  <a:lnTo>
                    <a:pt x="208" y="104"/>
                  </a:lnTo>
                  <a:lnTo>
                    <a:pt x="211" y="102"/>
                  </a:lnTo>
                  <a:lnTo>
                    <a:pt x="214" y="97"/>
                  </a:lnTo>
                  <a:lnTo>
                    <a:pt x="214" y="97"/>
                  </a:lnTo>
                  <a:lnTo>
                    <a:pt x="215" y="95"/>
                  </a:lnTo>
                  <a:lnTo>
                    <a:pt x="218" y="95"/>
                  </a:lnTo>
                  <a:lnTo>
                    <a:pt x="222" y="95"/>
                  </a:lnTo>
                  <a:lnTo>
                    <a:pt x="225" y="94"/>
                  </a:lnTo>
                  <a:lnTo>
                    <a:pt x="225" y="94"/>
                  </a:lnTo>
                  <a:lnTo>
                    <a:pt x="232" y="91"/>
                  </a:lnTo>
                  <a:lnTo>
                    <a:pt x="235" y="90"/>
                  </a:lnTo>
                  <a:lnTo>
                    <a:pt x="236" y="91"/>
                  </a:lnTo>
                  <a:lnTo>
                    <a:pt x="236" y="91"/>
                  </a:lnTo>
                  <a:lnTo>
                    <a:pt x="236" y="94"/>
                  </a:lnTo>
                  <a:lnTo>
                    <a:pt x="235" y="97"/>
                  </a:lnTo>
                  <a:lnTo>
                    <a:pt x="230" y="104"/>
                  </a:lnTo>
                  <a:lnTo>
                    <a:pt x="230" y="104"/>
                  </a:lnTo>
                  <a:lnTo>
                    <a:pt x="242" y="104"/>
                  </a:lnTo>
                  <a:lnTo>
                    <a:pt x="246" y="102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51" y="101"/>
                  </a:lnTo>
                  <a:lnTo>
                    <a:pt x="255" y="101"/>
                  </a:lnTo>
                  <a:lnTo>
                    <a:pt x="260" y="101"/>
                  </a:lnTo>
                  <a:lnTo>
                    <a:pt x="262" y="101"/>
                  </a:lnTo>
                  <a:lnTo>
                    <a:pt x="264" y="98"/>
                  </a:lnTo>
                  <a:lnTo>
                    <a:pt x="264" y="98"/>
                  </a:lnTo>
                  <a:lnTo>
                    <a:pt x="265" y="97"/>
                  </a:lnTo>
                  <a:lnTo>
                    <a:pt x="267" y="95"/>
                  </a:lnTo>
                  <a:lnTo>
                    <a:pt x="271" y="94"/>
                  </a:lnTo>
                  <a:lnTo>
                    <a:pt x="272" y="94"/>
                  </a:lnTo>
                  <a:lnTo>
                    <a:pt x="269" y="91"/>
                  </a:lnTo>
                  <a:lnTo>
                    <a:pt x="269" y="91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145"/>
            <p:cNvSpPr>
              <a:spLocks noEditPoints="1"/>
            </p:cNvSpPr>
            <p:nvPr/>
          </p:nvSpPr>
          <p:spPr bwMode="auto">
            <a:xfrm>
              <a:off x="7788276" y="2770188"/>
              <a:ext cx="423863" cy="419100"/>
            </a:xfrm>
            <a:custGeom>
              <a:avLst/>
              <a:gdLst>
                <a:gd name="T0" fmla="*/ 242 w 267"/>
                <a:gd name="T1" fmla="*/ 28 h 264"/>
                <a:gd name="T2" fmla="*/ 208 w 267"/>
                <a:gd name="T3" fmla="*/ 11 h 264"/>
                <a:gd name="T4" fmla="*/ 193 w 267"/>
                <a:gd name="T5" fmla="*/ 2 h 264"/>
                <a:gd name="T6" fmla="*/ 195 w 267"/>
                <a:gd name="T7" fmla="*/ 13 h 264"/>
                <a:gd name="T8" fmla="*/ 189 w 267"/>
                <a:gd name="T9" fmla="*/ 34 h 264"/>
                <a:gd name="T10" fmla="*/ 182 w 267"/>
                <a:gd name="T11" fmla="*/ 43 h 264"/>
                <a:gd name="T12" fmla="*/ 168 w 267"/>
                <a:gd name="T13" fmla="*/ 54 h 264"/>
                <a:gd name="T14" fmla="*/ 165 w 267"/>
                <a:gd name="T15" fmla="*/ 63 h 264"/>
                <a:gd name="T16" fmla="*/ 167 w 267"/>
                <a:gd name="T17" fmla="*/ 77 h 264"/>
                <a:gd name="T18" fmla="*/ 181 w 267"/>
                <a:gd name="T19" fmla="*/ 70 h 264"/>
                <a:gd name="T20" fmla="*/ 172 w 267"/>
                <a:gd name="T21" fmla="*/ 60 h 264"/>
                <a:gd name="T22" fmla="*/ 181 w 267"/>
                <a:gd name="T23" fmla="*/ 57 h 264"/>
                <a:gd name="T24" fmla="*/ 208 w 267"/>
                <a:gd name="T25" fmla="*/ 63 h 264"/>
                <a:gd name="T26" fmla="*/ 218 w 267"/>
                <a:gd name="T27" fmla="*/ 59 h 264"/>
                <a:gd name="T28" fmla="*/ 242 w 267"/>
                <a:gd name="T29" fmla="*/ 49 h 264"/>
                <a:gd name="T30" fmla="*/ 249 w 267"/>
                <a:gd name="T31" fmla="*/ 39 h 264"/>
                <a:gd name="T32" fmla="*/ 267 w 267"/>
                <a:gd name="T33" fmla="*/ 21 h 264"/>
                <a:gd name="T34" fmla="*/ 253 w 267"/>
                <a:gd name="T35" fmla="*/ 25 h 264"/>
                <a:gd name="T36" fmla="*/ 163 w 267"/>
                <a:gd name="T37" fmla="*/ 106 h 264"/>
                <a:gd name="T38" fmla="*/ 163 w 267"/>
                <a:gd name="T39" fmla="*/ 118 h 264"/>
                <a:gd name="T40" fmla="*/ 156 w 267"/>
                <a:gd name="T41" fmla="*/ 136 h 264"/>
                <a:gd name="T42" fmla="*/ 142 w 267"/>
                <a:gd name="T43" fmla="*/ 152 h 264"/>
                <a:gd name="T44" fmla="*/ 124 w 267"/>
                <a:gd name="T45" fmla="*/ 158 h 264"/>
                <a:gd name="T46" fmla="*/ 117 w 267"/>
                <a:gd name="T47" fmla="*/ 153 h 264"/>
                <a:gd name="T48" fmla="*/ 109 w 267"/>
                <a:gd name="T49" fmla="*/ 171 h 264"/>
                <a:gd name="T50" fmla="*/ 102 w 267"/>
                <a:gd name="T51" fmla="*/ 182 h 264"/>
                <a:gd name="T52" fmla="*/ 92 w 267"/>
                <a:gd name="T53" fmla="*/ 183 h 264"/>
                <a:gd name="T54" fmla="*/ 68 w 267"/>
                <a:gd name="T55" fmla="*/ 186 h 264"/>
                <a:gd name="T56" fmla="*/ 49 w 267"/>
                <a:gd name="T57" fmla="*/ 188 h 264"/>
                <a:gd name="T58" fmla="*/ 21 w 267"/>
                <a:gd name="T59" fmla="*/ 207 h 264"/>
                <a:gd name="T60" fmla="*/ 29 w 267"/>
                <a:gd name="T61" fmla="*/ 213 h 264"/>
                <a:gd name="T62" fmla="*/ 57 w 267"/>
                <a:gd name="T63" fmla="*/ 204 h 264"/>
                <a:gd name="T64" fmla="*/ 89 w 267"/>
                <a:gd name="T65" fmla="*/ 203 h 264"/>
                <a:gd name="T66" fmla="*/ 90 w 267"/>
                <a:gd name="T67" fmla="*/ 218 h 264"/>
                <a:gd name="T68" fmla="*/ 114 w 267"/>
                <a:gd name="T69" fmla="*/ 206 h 264"/>
                <a:gd name="T70" fmla="*/ 117 w 267"/>
                <a:gd name="T71" fmla="*/ 200 h 264"/>
                <a:gd name="T72" fmla="*/ 136 w 267"/>
                <a:gd name="T73" fmla="*/ 199 h 264"/>
                <a:gd name="T74" fmla="*/ 149 w 267"/>
                <a:gd name="T75" fmla="*/ 200 h 264"/>
                <a:gd name="T76" fmla="*/ 157 w 267"/>
                <a:gd name="T77" fmla="*/ 190 h 264"/>
                <a:gd name="T78" fmla="*/ 172 w 267"/>
                <a:gd name="T79" fmla="*/ 189 h 264"/>
                <a:gd name="T80" fmla="*/ 177 w 267"/>
                <a:gd name="T81" fmla="*/ 167 h 264"/>
                <a:gd name="T82" fmla="*/ 181 w 267"/>
                <a:gd name="T83" fmla="*/ 142 h 264"/>
                <a:gd name="T84" fmla="*/ 196 w 267"/>
                <a:gd name="T85" fmla="*/ 122 h 264"/>
                <a:gd name="T86" fmla="*/ 186 w 267"/>
                <a:gd name="T87" fmla="*/ 81 h 264"/>
                <a:gd name="T88" fmla="*/ 65 w 267"/>
                <a:gd name="T89" fmla="*/ 210 h 264"/>
                <a:gd name="T90" fmla="*/ 46 w 267"/>
                <a:gd name="T91" fmla="*/ 217 h 264"/>
                <a:gd name="T92" fmla="*/ 52 w 267"/>
                <a:gd name="T93" fmla="*/ 235 h 264"/>
                <a:gd name="T94" fmla="*/ 63 w 267"/>
                <a:gd name="T95" fmla="*/ 225 h 264"/>
                <a:gd name="T96" fmla="*/ 78 w 267"/>
                <a:gd name="T97" fmla="*/ 221 h 264"/>
                <a:gd name="T98" fmla="*/ 74 w 267"/>
                <a:gd name="T99" fmla="*/ 206 h 264"/>
                <a:gd name="T100" fmla="*/ 34 w 267"/>
                <a:gd name="T101" fmla="*/ 228 h 264"/>
                <a:gd name="T102" fmla="*/ 22 w 267"/>
                <a:gd name="T103" fmla="*/ 220 h 264"/>
                <a:gd name="T104" fmla="*/ 9 w 267"/>
                <a:gd name="T105" fmla="*/ 222 h 264"/>
                <a:gd name="T106" fmla="*/ 7 w 267"/>
                <a:gd name="T107" fmla="*/ 235 h 264"/>
                <a:gd name="T108" fmla="*/ 14 w 267"/>
                <a:gd name="T109" fmla="*/ 232 h 264"/>
                <a:gd name="T110" fmla="*/ 16 w 267"/>
                <a:gd name="T111" fmla="*/ 263 h 264"/>
                <a:gd name="T112" fmla="*/ 27 w 267"/>
                <a:gd name="T113" fmla="*/ 254 h 264"/>
                <a:gd name="T114" fmla="*/ 38 w 267"/>
                <a:gd name="T115" fmla="*/ 23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67" h="264">
                  <a:moveTo>
                    <a:pt x="253" y="25"/>
                  </a:moveTo>
                  <a:lnTo>
                    <a:pt x="253" y="25"/>
                  </a:lnTo>
                  <a:lnTo>
                    <a:pt x="252" y="24"/>
                  </a:lnTo>
                  <a:lnTo>
                    <a:pt x="249" y="24"/>
                  </a:lnTo>
                  <a:lnTo>
                    <a:pt x="246" y="25"/>
                  </a:lnTo>
                  <a:lnTo>
                    <a:pt x="242" y="28"/>
                  </a:lnTo>
                  <a:lnTo>
                    <a:pt x="236" y="29"/>
                  </a:lnTo>
                  <a:lnTo>
                    <a:pt x="236" y="29"/>
                  </a:lnTo>
                  <a:lnTo>
                    <a:pt x="233" y="29"/>
                  </a:lnTo>
                  <a:lnTo>
                    <a:pt x="229" y="27"/>
                  </a:lnTo>
                  <a:lnTo>
                    <a:pt x="220" y="21"/>
                  </a:lnTo>
                  <a:lnTo>
                    <a:pt x="208" y="11"/>
                  </a:lnTo>
                  <a:lnTo>
                    <a:pt x="203" y="4"/>
                  </a:lnTo>
                  <a:lnTo>
                    <a:pt x="203" y="4"/>
                  </a:lnTo>
                  <a:lnTo>
                    <a:pt x="200" y="2"/>
                  </a:lnTo>
                  <a:lnTo>
                    <a:pt x="197" y="0"/>
                  </a:lnTo>
                  <a:lnTo>
                    <a:pt x="196" y="0"/>
                  </a:lnTo>
                  <a:lnTo>
                    <a:pt x="193" y="2"/>
                  </a:lnTo>
                  <a:lnTo>
                    <a:pt x="192" y="3"/>
                  </a:lnTo>
                  <a:lnTo>
                    <a:pt x="190" y="4"/>
                  </a:lnTo>
                  <a:lnTo>
                    <a:pt x="190" y="7"/>
                  </a:lnTo>
                  <a:lnTo>
                    <a:pt x="192" y="9"/>
                  </a:lnTo>
                  <a:lnTo>
                    <a:pt x="192" y="9"/>
                  </a:lnTo>
                  <a:lnTo>
                    <a:pt x="195" y="13"/>
                  </a:lnTo>
                  <a:lnTo>
                    <a:pt x="193" y="15"/>
                  </a:lnTo>
                  <a:lnTo>
                    <a:pt x="192" y="20"/>
                  </a:lnTo>
                  <a:lnTo>
                    <a:pt x="192" y="25"/>
                  </a:lnTo>
                  <a:lnTo>
                    <a:pt x="192" y="25"/>
                  </a:lnTo>
                  <a:lnTo>
                    <a:pt x="190" y="29"/>
                  </a:lnTo>
                  <a:lnTo>
                    <a:pt x="189" y="34"/>
                  </a:lnTo>
                  <a:lnTo>
                    <a:pt x="186" y="35"/>
                  </a:lnTo>
                  <a:lnTo>
                    <a:pt x="186" y="39"/>
                  </a:lnTo>
                  <a:lnTo>
                    <a:pt x="186" y="39"/>
                  </a:lnTo>
                  <a:lnTo>
                    <a:pt x="186" y="40"/>
                  </a:lnTo>
                  <a:lnTo>
                    <a:pt x="186" y="42"/>
                  </a:lnTo>
                  <a:lnTo>
                    <a:pt x="182" y="43"/>
                  </a:lnTo>
                  <a:lnTo>
                    <a:pt x="174" y="45"/>
                  </a:lnTo>
                  <a:lnTo>
                    <a:pt x="174" y="45"/>
                  </a:lnTo>
                  <a:lnTo>
                    <a:pt x="171" y="46"/>
                  </a:lnTo>
                  <a:lnTo>
                    <a:pt x="171" y="49"/>
                  </a:lnTo>
                  <a:lnTo>
                    <a:pt x="171" y="52"/>
                  </a:lnTo>
                  <a:lnTo>
                    <a:pt x="168" y="54"/>
                  </a:lnTo>
                  <a:lnTo>
                    <a:pt x="168" y="54"/>
                  </a:lnTo>
                  <a:lnTo>
                    <a:pt x="164" y="56"/>
                  </a:lnTo>
                  <a:lnTo>
                    <a:pt x="163" y="59"/>
                  </a:lnTo>
                  <a:lnTo>
                    <a:pt x="163" y="61"/>
                  </a:lnTo>
                  <a:lnTo>
                    <a:pt x="165" y="63"/>
                  </a:lnTo>
                  <a:lnTo>
                    <a:pt x="165" y="63"/>
                  </a:lnTo>
                  <a:lnTo>
                    <a:pt x="167" y="65"/>
                  </a:lnTo>
                  <a:lnTo>
                    <a:pt x="167" y="68"/>
                  </a:lnTo>
                  <a:lnTo>
                    <a:pt x="165" y="75"/>
                  </a:lnTo>
                  <a:lnTo>
                    <a:pt x="165" y="75"/>
                  </a:lnTo>
                  <a:lnTo>
                    <a:pt x="165" y="77"/>
                  </a:lnTo>
                  <a:lnTo>
                    <a:pt x="167" y="77"/>
                  </a:lnTo>
                  <a:lnTo>
                    <a:pt x="172" y="72"/>
                  </a:lnTo>
                  <a:lnTo>
                    <a:pt x="172" y="72"/>
                  </a:lnTo>
                  <a:lnTo>
                    <a:pt x="175" y="70"/>
                  </a:lnTo>
                  <a:lnTo>
                    <a:pt x="178" y="71"/>
                  </a:lnTo>
                  <a:lnTo>
                    <a:pt x="179" y="71"/>
                  </a:lnTo>
                  <a:lnTo>
                    <a:pt x="181" y="70"/>
                  </a:lnTo>
                  <a:lnTo>
                    <a:pt x="181" y="70"/>
                  </a:lnTo>
                  <a:lnTo>
                    <a:pt x="181" y="68"/>
                  </a:lnTo>
                  <a:lnTo>
                    <a:pt x="179" y="67"/>
                  </a:lnTo>
                  <a:lnTo>
                    <a:pt x="177" y="64"/>
                  </a:lnTo>
                  <a:lnTo>
                    <a:pt x="174" y="61"/>
                  </a:lnTo>
                  <a:lnTo>
                    <a:pt x="172" y="60"/>
                  </a:lnTo>
                  <a:lnTo>
                    <a:pt x="172" y="59"/>
                  </a:lnTo>
                  <a:lnTo>
                    <a:pt x="172" y="59"/>
                  </a:lnTo>
                  <a:lnTo>
                    <a:pt x="172" y="57"/>
                  </a:lnTo>
                  <a:lnTo>
                    <a:pt x="174" y="57"/>
                  </a:lnTo>
                  <a:lnTo>
                    <a:pt x="177" y="57"/>
                  </a:lnTo>
                  <a:lnTo>
                    <a:pt x="181" y="57"/>
                  </a:lnTo>
                  <a:lnTo>
                    <a:pt x="185" y="57"/>
                  </a:lnTo>
                  <a:lnTo>
                    <a:pt x="185" y="57"/>
                  </a:lnTo>
                  <a:lnTo>
                    <a:pt x="190" y="56"/>
                  </a:lnTo>
                  <a:lnTo>
                    <a:pt x="196" y="57"/>
                  </a:lnTo>
                  <a:lnTo>
                    <a:pt x="203" y="59"/>
                  </a:lnTo>
                  <a:lnTo>
                    <a:pt x="208" y="63"/>
                  </a:lnTo>
                  <a:lnTo>
                    <a:pt x="208" y="63"/>
                  </a:lnTo>
                  <a:lnTo>
                    <a:pt x="213" y="65"/>
                  </a:lnTo>
                  <a:lnTo>
                    <a:pt x="215" y="65"/>
                  </a:lnTo>
                  <a:lnTo>
                    <a:pt x="217" y="63"/>
                  </a:lnTo>
                  <a:lnTo>
                    <a:pt x="218" y="59"/>
                  </a:lnTo>
                  <a:lnTo>
                    <a:pt x="218" y="59"/>
                  </a:lnTo>
                  <a:lnTo>
                    <a:pt x="220" y="56"/>
                  </a:lnTo>
                  <a:lnTo>
                    <a:pt x="221" y="54"/>
                  </a:lnTo>
                  <a:lnTo>
                    <a:pt x="227" y="50"/>
                  </a:lnTo>
                  <a:lnTo>
                    <a:pt x="233" y="49"/>
                  </a:lnTo>
                  <a:lnTo>
                    <a:pt x="242" y="49"/>
                  </a:lnTo>
                  <a:lnTo>
                    <a:pt x="242" y="49"/>
                  </a:lnTo>
                  <a:lnTo>
                    <a:pt x="247" y="47"/>
                  </a:lnTo>
                  <a:lnTo>
                    <a:pt x="250" y="46"/>
                  </a:lnTo>
                  <a:lnTo>
                    <a:pt x="252" y="43"/>
                  </a:lnTo>
                  <a:lnTo>
                    <a:pt x="250" y="40"/>
                  </a:lnTo>
                  <a:lnTo>
                    <a:pt x="250" y="40"/>
                  </a:lnTo>
                  <a:lnTo>
                    <a:pt x="249" y="39"/>
                  </a:lnTo>
                  <a:lnTo>
                    <a:pt x="252" y="38"/>
                  </a:lnTo>
                  <a:lnTo>
                    <a:pt x="257" y="32"/>
                  </a:lnTo>
                  <a:lnTo>
                    <a:pt x="264" y="25"/>
                  </a:lnTo>
                  <a:lnTo>
                    <a:pt x="265" y="24"/>
                  </a:lnTo>
                  <a:lnTo>
                    <a:pt x="267" y="21"/>
                  </a:lnTo>
                  <a:lnTo>
                    <a:pt x="267" y="21"/>
                  </a:lnTo>
                  <a:lnTo>
                    <a:pt x="265" y="21"/>
                  </a:lnTo>
                  <a:lnTo>
                    <a:pt x="264" y="21"/>
                  </a:lnTo>
                  <a:lnTo>
                    <a:pt x="260" y="24"/>
                  </a:lnTo>
                  <a:lnTo>
                    <a:pt x="256" y="27"/>
                  </a:lnTo>
                  <a:lnTo>
                    <a:pt x="254" y="27"/>
                  </a:lnTo>
                  <a:lnTo>
                    <a:pt x="253" y="25"/>
                  </a:lnTo>
                  <a:lnTo>
                    <a:pt x="253" y="25"/>
                  </a:lnTo>
                  <a:close/>
                  <a:moveTo>
                    <a:pt x="167" y="89"/>
                  </a:moveTo>
                  <a:lnTo>
                    <a:pt x="167" y="89"/>
                  </a:lnTo>
                  <a:lnTo>
                    <a:pt x="164" y="93"/>
                  </a:lnTo>
                  <a:lnTo>
                    <a:pt x="163" y="99"/>
                  </a:lnTo>
                  <a:lnTo>
                    <a:pt x="163" y="106"/>
                  </a:lnTo>
                  <a:lnTo>
                    <a:pt x="163" y="107"/>
                  </a:lnTo>
                  <a:lnTo>
                    <a:pt x="164" y="110"/>
                  </a:lnTo>
                  <a:lnTo>
                    <a:pt x="164" y="110"/>
                  </a:lnTo>
                  <a:lnTo>
                    <a:pt x="165" y="111"/>
                  </a:lnTo>
                  <a:lnTo>
                    <a:pt x="165" y="114"/>
                  </a:lnTo>
                  <a:lnTo>
                    <a:pt x="163" y="118"/>
                  </a:lnTo>
                  <a:lnTo>
                    <a:pt x="158" y="124"/>
                  </a:lnTo>
                  <a:lnTo>
                    <a:pt x="157" y="128"/>
                  </a:lnTo>
                  <a:lnTo>
                    <a:pt x="157" y="131"/>
                  </a:lnTo>
                  <a:lnTo>
                    <a:pt x="157" y="131"/>
                  </a:lnTo>
                  <a:lnTo>
                    <a:pt x="156" y="133"/>
                  </a:lnTo>
                  <a:lnTo>
                    <a:pt x="156" y="136"/>
                  </a:lnTo>
                  <a:lnTo>
                    <a:pt x="153" y="139"/>
                  </a:lnTo>
                  <a:lnTo>
                    <a:pt x="149" y="142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45" y="149"/>
                  </a:lnTo>
                  <a:lnTo>
                    <a:pt x="142" y="152"/>
                  </a:lnTo>
                  <a:lnTo>
                    <a:pt x="138" y="153"/>
                  </a:lnTo>
                  <a:lnTo>
                    <a:pt x="132" y="157"/>
                  </a:lnTo>
                  <a:lnTo>
                    <a:pt x="132" y="157"/>
                  </a:lnTo>
                  <a:lnTo>
                    <a:pt x="129" y="158"/>
                  </a:lnTo>
                  <a:lnTo>
                    <a:pt x="127" y="160"/>
                  </a:lnTo>
                  <a:lnTo>
                    <a:pt x="124" y="158"/>
                  </a:lnTo>
                  <a:lnTo>
                    <a:pt x="122" y="156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22" y="150"/>
                  </a:lnTo>
                  <a:lnTo>
                    <a:pt x="121" y="150"/>
                  </a:lnTo>
                  <a:lnTo>
                    <a:pt x="117" y="153"/>
                  </a:lnTo>
                  <a:lnTo>
                    <a:pt x="113" y="157"/>
                  </a:lnTo>
                  <a:lnTo>
                    <a:pt x="111" y="161"/>
                  </a:lnTo>
                  <a:lnTo>
                    <a:pt x="111" y="164"/>
                  </a:lnTo>
                  <a:lnTo>
                    <a:pt x="111" y="164"/>
                  </a:lnTo>
                  <a:lnTo>
                    <a:pt x="110" y="168"/>
                  </a:lnTo>
                  <a:lnTo>
                    <a:pt x="109" y="171"/>
                  </a:lnTo>
                  <a:lnTo>
                    <a:pt x="104" y="174"/>
                  </a:lnTo>
                  <a:lnTo>
                    <a:pt x="102" y="176"/>
                  </a:lnTo>
                  <a:lnTo>
                    <a:pt x="100" y="178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2"/>
                  </a:lnTo>
                  <a:lnTo>
                    <a:pt x="100" y="183"/>
                  </a:lnTo>
                  <a:lnTo>
                    <a:pt x="97" y="185"/>
                  </a:lnTo>
                  <a:lnTo>
                    <a:pt x="93" y="185"/>
                  </a:lnTo>
                  <a:lnTo>
                    <a:pt x="92" y="185"/>
                  </a:lnTo>
                  <a:lnTo>
                    <a:pt x="92" y="183"/>
                  </a:lnTo>
                  <a:lnTo>
                    <a:pt x="92" y="183"/>
                  </a:lnTo>
                  <a:lnTo>
                    <a:pt x="90" y="182"/>
                  </a:lnTo>
                  <a:lnTo>
                    <a:pt x="90" y="181"/>
                  </a:lnTo>
                  <a:lnTo>
                    <a:pt x="86" y="181"/>
                  </a:lnTo>
                  <a:lnTo>
                    <a:pt x="72" y="186"/>
                  </a:lnTo>
                  <a:lnTo>
                    <a:pt x="72" y="186"/>
                  </a:lnTo>
                  <a:lnTo>
                    <a:pt x="68" y="186"/>
                  </a:lnTo>
                  <a:lnTo>
                    <a:pt x="65" y="186"/>
                  </a:lnTo>
                  <a:lnTo>
                    <a:pt x="59" y="186"/>
                  </a:lnTo>
                  <a:lnTo>
                    <a:pt x="54" y="185"/>
                  </a:lnTo>
                  <a:lnTo>
                    <a:pt x="52" y="185"/>
                  </a:lnTo>
                  <a:lnTo>
                    <a:pt x="49" y="188"/>
                  </a:lnTo>
                  <a:lnTo>
                    <a:pt x="49" y="188"/>
                  </a:lnTo>
                  <a:lnTo>
                    <a:pt x="38" y="197"/>
                  </a:lnTo>
                  <a:lnTo>
                    <a:pt x="31" y="203"/>
                  </a:lnTo>
                  <a:lnTo>
                    <a:pt x="25" y="206"/>
                  </a:lnTo>
                  <a:lnTo>
                    <a:pt x="25" y="206"/>
                  </a:lnTo>
                  <a:lnTo>
                    <a:pt x="22" y="206"/>
                  </a:lnTo>
                  <a:lnTo>
                    <a:pt x="21" y="207"/>
                  </a:lnTo>
                  <a:lnTo>
                    <a:pt x="21" y="211"/>
                  </a:lnTo>
                  <a:lnTo>
                    <a:pt x="22" y="214"/>
                  </a:lnTo>
                  <a:lnTo>
                    <a:pt x="24" y="214"/>
                  </a:lnTo>
                  <a:lnTo>
                    <a:pt x="25" y="214"/>
                  </a:lnTo>
                  <a:lnTo>
                    <a:pt x="25" y="214"/>
                  </a:lnTo>
                  <a:lnTo>
                    <a:pt x="29" y="213"/>
                  </a:lnTo>
                  <a:lnTo>
                    <a:pt x="35" y="213"/>
                  </a:lnTo>
                  <a:lnTo>
                    <a:pt x="39" y="213"/>
                  </a:lnTo>
                  <a:lnTo>
                    <a:pt x="42" y="210"/>
                  </a:lnTo>
                  <a:lnTo>
                    <a:pt x="42" y="210"/>
                  </a:lnTo>
                  <a:lnTo>
                    <a:pt x="47" y="207"/>
                  </a:lnTo>
                  <a:lnTo>
                    <a:pt x="57" y="204"/>
                  </a:lnTo>
                  <a:lnTo>
                    <a:pt x="70" y="201"/>
                  </a:lnTo>
                  <a:lnTo>
                    <a:pt x="82" y="200"/>
                  </a:lnTo>
                  <a:lnTo>
                    <a:pt x="82" y="200"/>
                  </a:lnTo>
                  <a:lnTo>
                    <a:pt x="86" y="200"/>
                  </a:lnTo>
                  <a:lnTo>
                    <a:pt x="88" y="201"/>
                  </a:lnTo>
                  <a:lnTo>
                    <a:pt x="89" y="203"/>
                  </a:lnTo>
                  <a:lnTo>
                    <a:pt x="89" y="204"/>
                  </a:lnTo>
                  <a:lnTo>
                    <a:pt x="89" y="208"/>
                  </a:lnTo>
                  <a:lnTo>
                    <a:pt x="88" y="214"/>
                  </a:lnTo>
                  <a:lnTo>
                    <a:pt x="88" y="214"/>
                  </a:lnTo>
                  <a:lnTo>
                    <a:pt x="89" y="217"/>
                  </a:lnTo>
                  <a:lnTo>
                    <a:pt x="90" y="218"/>
                  </a:lnTo>
                  <a:lnTo>
                    <a:pt x="96" y="220"/>
                  </a:lnTo>
                  <a:lnTo>
                    <a:pt x="102" y="218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14" y="207"/>
                  </a:lnTo>
                  <a:lnTo>
                    <a:pt x="114" y="206"/>
                  </a:lnTo>
                  <a:lnTo>
                    <a:pt x="113" y="203"/>
                  </a:lnTo>
                  <a:lnTo>
                    <a:pt x="113" y="203"/>
                  </a:lnTo>
                  <a:lnTo>
                    <a:pt x="110" y="200"/>
                  </a:lnTo>
                  <a:lnTo>
                    <a:pt x="111" y="197"/>
                  </a:lnTo>
                  <a:lnTo>
                    <a:pt x="114" y="197"/>
                  </a:lnTo>
                  <a:lnTo>
                    <a:pt x="117" y="200"/>
                  </a:lnTo>
                  <a:lnTo>
                    <a:pt x="117" y="200"/>
                  </a:lnTo>
                  <a:lnTo>
                    <a:pt x="121" y="203"/>
                  </a:lnTo>
                  <a:lnTo>
                    <a:pt x="127" y="204"/>
                  </a:lnTo>
                  <a:lnTo>
                    <a:pt x="132" y="203"/>
                  </a:lnTo>
                  <a:lnTo>
                    <a:pt x="135" y="201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9" y="196"/>
                  </a:lnTo>
                  <a:lnTo>
                    <a:pt x="142" y="197"/>
                  </a:lnTo>
                  <a:lnTo>
                    <a:pt x="145" y="199"/>
                  </a:lnTo>
                  <a:lnTo>
                    <a:pt x="149" y="200"/>
                  </a:lnTo>
                  <a:lnTo>
                    <a:pt x="149" y="200"/>
                  </a:lnTo>
                  <a:lnTo>
                    <a:pt x="150" y="199"/>
                  </a:lnTo>
                  <a:lnTo>
                    <a:pt x="152" y="197"/>
                  </a:lnTo>
                  <a:lnTo>
                    <a:pt x="154" y="193"/>
                  </a:lnTo>
                  <a:lnTo>
                    <a:pt x="157" y="190"/>
                  </a:lnTo>
                  <a:lnTo>
                    <a:pt x="157" y="189"/>
                  </a:lnTo>
                  <a:lnTo>
                    <a:pt x="157" y="190"/>
                  </a:lnTo>
                  <a:lnTo>
                    <a:pt x="157" y="190"/>
                  </a:lnTo>
                  <a:lnTo>
                    <a:pt x="158" y="192"/>
                  </a:lnTo>
                  <a:lnTo>
                    <a:pt x="158" y="193"/>
                  </a:lnTo>
                  <a:lnTo>
                    <a:pt x="163" y="193"/>
                  </a:lnTo>
                  <a:lnTo>
                    <a:pt x="168" y="192"/>
                  </a:lnTo>
                  <a:lnTo>
                    <a:pt x="172" y="189"/>
                  </a:lnTo>
                  <a:lnTo>
                    <a:pt x="172" y="189"/>
                  </a:lnTo>
                  <a:lnTo>
                    <a:pt x="174" y="186"/>
                  </a:lnTo>
                  <a:lnTo>
                    <a:pt x="175" y="183"/>
                  </a:lnTo>
                  <a:lnTo>
                    <a:pt x="175" y="176"/>
                  </a:lnTo>
                  <a:lnTo>
                    <a:pt x="175" y="171"/>
                  </a:lnTo>
                  <a:lnTo>
                    <a:pt x="177" y="167"/>
                  </a:lnTo>
                  <a:lnTo>
                    <a:pt x="177" y="167"/>
                  </a:lnTo>
                  <a:lnTo>
                    <a:pt x="179" y="161"/>
                  </a:lnTo>
                  <a:lnTo>
                    <a:pt x="181" y="154"/>
                  </a:lnTo>
                  <a:lnTo>
                    <a:pt x="182" y="147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79" y="139"/>
                  </a:lnTo>
                  <a:lnTo>
                    <a:pt x="179" y="138"/>
                  </a:lnTo>
                  <a:lnTo>
                    <a:pt x="183" y="133"/>
                  </a:lnTo>
                  <a:lnTo>
                    <a:pt x="195" y="125"/>
                  </a:lnTo>
                  <a:lnTo>
                    <a:pt x="195" y="125"/>
                  </a:lnTo>
                  <a:lnTo>
                    <a:pt x="196" y="122"/>
                  </a:lnTo>
                  <a:lnTo>
                    <a:pt x="196" y="117"/>
                  </a:lnTo>
                  <a:lnTo>
                    <a:pt x="193" y="106"/>
                  </a:lnTo>
                  <a:lnTo>
                    <a:pt x="189" y="93"/>
                  </a:lnTo>
                  <a:lnTo>
                    <a:pt x="188" y="83"/>
                  </a:lnTo>
                  <a:lnTo>
                    <a:pt x="188" y="83"/>
                  </a:lnTo>
                  <a:lnTo>
                    <a:pt x="186" y="81"/>
                  </a:lnTo>
                  <a:lnTo>
                    <a:pt x="185" y="81"/>
                  </a:lnTo>
                  <a:lnTo>
                    <a:pt x="179" y="82"/>
                  </a:lnTo>
                  <a:lnTo>
                    <a:pt x="167" y="89"/>
                  </a:lnTo>
                  <a:lnTo>
                    <a:pt x="167" y="89"/>
                  </a:lnTo>
                  <a:close/>
                  <a:moveTo>
                    <a:pt x="65" y="210"/>
                  </a:moveTo>
                  <a:lnTo>
                    <a:pt x="65" y="210"/>
                  </a:lnTo>
                  <a:lnTo>
                    <a:pt x="63" y="211"/>
                  </a:lnTo>
                  <a:lnTo>
                    <a:pt x="60" y="213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47" y="214"/>
                  </a:lnTo>
                  <a:lnTo>
                    <a:pt x="46" y="217"/>
                  </a:lnTo>
                  <a:lnTo>
                    <a:pt x="45" y="224"/>
                  </a:lnTo>
                  <a:lnTo>
                    <a:pt x="45" y="231"/>
                  </a:lnTo>
                  <a:lnTo>
                    <a:pt x="46" y="233"/>
                  </a:lnTo>
                  <a:lnTo>
                    <a:pt x="49" y="235"/>
                  </a:lnTo>
                  <a:lnTo>
                    <a:pt x="49" y="235"/>
                  </a:lnTo>
                  <a:lnTo>
                    <a:pt x="52" y="235"/>
                  </a:lnTo>
                  <a:lnTo>
                    <a:pt x="53" y="235"/>
                  </a:lnTo>
                  <a:lnTo>
                    <a:pt x="56" y="233"/>
                  </a:lnTo>
                  <a:lnTo>
                    <a:pt x="57" y="231"/>
                  </a:lnTo>
                  <a:lnTo>
                    <a:pt x="57" y="231"/>
                  </a:lnTo>
                  <a:lnTo>
                    <a:pt x="59" y="226"/>
                  </a:lnTo>
                  <a:lnTo>
                    <a:pt x="63" y="225"/>
                  </a:lnTo>
                  <a:lnTo>
                    <a:pt x="67" y="224"/>
                  </a:lnTo>
                  <a:lnTo>
                    <a:pt x="71" y="225"/>
                  </a:lnTo>
                  <a:lnTo>
                    <a:pt x="71" y="225"/>
                  </a:lnTo>
                  <a:lnTo>
                    <a:pt x="72" y="225"/>
                  </a:lnTo>
                  <a:lnTo>
                    <a:pt x="74" y="225"/>
                  </a:lnTo>
                  <a:lnTo>
                    <a:pt x="78" y="221"/>
                  </a:lnTo>
                  <a:lnTo>
                    <a:pt x="79" y="217"/>
                  </a:lnTo>
                  <a:lnTo>
                    <a:pt x="81" y="211"/>
                  </a:lnTo>
                  <a:lnTo>
                    <a:pt x="81" y="211"/>
                  </a:lnTo>
                  <a:lnTo>
                    <a:pt x="81" y="208"/>
                  </a:lnTo>
                  <a:lnTo>
                    <a:pt x="79" y="207"/>
                  </a:lnTo>
                  <a:lnTo>
                    <a:pt x="74" y="206"/>
                  </a:lnTo>
                  <a:lnTo>
                    <a:pt x="68" y="207"/>
                  </a:lnTo>
                  <a:lnTo>
                    <a:pt x="67" y="207"/>
                  </a:lnTo>
                  <a:lnTo>
                    <a:pt x="65" y="210"/>
                  </a:lnTo>
                  <a:lnTo>
                    <a:pt x="65" y="210"/>
                  </a:lnTo>
                  <a:close/>
                  <a:moveTo>
                    <a:pt x="34" y="228"/>
                  </a:moveTo>
                  <a:lnTo>
                    <a:pt x="34" y="228"/>
                  </a:lnTo>
                  <a:lnTo>
                    <a:pt x="34" y="225"/>
                  </a:lnTo>
                  <a:lnTo>
                    <a:pt x="32" y="225"/>
                  </a:lnTo>
                  <a:lnTo>
                    <a:pt x="28" y="224"/>
                  </a:lnTo>
                  <a:lnTo>
                    <a:pt x="25" y="222"/>
                  </a:lnTo>
                  <a:lnTo>
                    <a:pt x="24" y="221"/>
                  </a:lnTo>
                  <a:lnTo>
                    <a:pt x="22" y="220"/>
                  </a:lnTo>
                  <a:lnTo>
                    <a:pt x="22" y="220"/>
                  </a:lnTo>
                  <a:lnTo>
                    <a:pt x="21" y="217"/>
                  </a:lnTo>
                  <a:lnTo>
                    <a:pt x="18" y="218"/>
                  </a:lnTo>
                  <a:lnTo>
                    <a:pt x="14" y="220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2" y="228"/>
                  </a:lnTo>
                  <a:lnTo>
                    <a:pt x="0" y="231"/>
                  </a:lnTo>
                  <a:lnTo>
                    <a:pt x="2" y="233"/>
                  </a:lnTo>
                  <a:lnTo>
                    <a:pt x="2" y="233"/>
                  </a:lnTo>
                  <a:lnTo>
                    <a:pt x="4" y="236"/>
                  </a:lnTo>
                  <a:lnTo>
                    <a:pt x="7" y="235"/>
                  </a:lnTo>
                  <a:lnTo>
                    <a:pt x="9" y="232"/>
                  </a:lnTo>
                  <a:lnTo>
                    <a:pt x="11" y="229"/>
                  </a:lnTo>
                  <a:lnTo>
                    <a:pt x="11" y="229"/>
                  </a:lnTo>
                  <a:lnTo>
                    <a:pt x="11" y="228"/>
                  </a:lnTo>
                  <a:lnTo>
                    <a:pt x="13" y="228"/>
                  </a:lnTo>
                  <a:lnTo>
                    <a:pt x="14" y="232"/>
                  </a:lnTo>
                  <a:lnTo>
                    <a:pt x="14" y="238"/>
                  </a:lnTo>
                  <a:lnTo>
                    <a:pt x="13" y="245"/>
                  </a:lnTo>
                  <a:lnTo>
                    <a:pt x="13" y="245"/>
                  </a:lnTo>
                  <a:lnTo>
                    <a:pt x="11" y="251"/>
                  </a:lnTo>
                  <a:lnTo>
                    <a:pt x="13" y="258"/>
                  </a:lnTo>
                  <a:lnTo>
                    <a:pt x="16" y="263"/>
                  </a:lnTo>
                  <a:lnTo>
                    <a:pt x="17" y="264"/>
                  </a:lnTo>
                  <a:lnTo>
                    <a:pt x="20" y="264"/>
                  </a:lnTo>
                  <a:lnTo>
                    <a:pt x="20" y="264"/>
                  </a:lnTo>
                  <a:lnTo>
                    <a:pt x="21" y="263"/>
                  </a:lnTo>
                  <a:lnTo>
                    <a:pt x="22" y="261"/>
                  </a:lnTo>
                  <a:lnTo>
                    <a:pt x="27" y="254"/>
                  </a:lnTo>
                  <a:lnTo>
                    <a:pt x="32" y="245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9" y="233"/>
                  </a:lnTo>
                  <a:lnTo>
                    <a:pt x="39" y="232"/>
                  </a:lnTo>
                  <a:lnTo>
                    <a:pt x="38" y="231"/>
                  </a:lnTo>
                  <a:lnTo>
                    <a:pt x="35" y="229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8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146"/>
            <p:cNvSpPr>
              <a:spLocks noEditPoints="1"/>
            </p:cNvSpPr>
            <p:nvPr/>
          </p:nvSpPr>
          <p:spPr bwMode="auto">
            <a:xfrm>
              <a:off x="6429376" y="2508250"/>
              <a:ext cx="1487488" cy="1022350"/>
            </a:xfrm>
            <a:custGeom>
              <a:avLst/>
              <a:gdLst>
                <a:gd name="T0" fmla="*/ 892 w 937"/>
                <a:gd name="T1" fmla="*/ 121 h 644"/>
                <a:gd name="T2" fmla="*/ 853 w 937"/>
                <a:gd name="T3" fmla="*/ 87 h 644"/>
                <a:gd name="T4" fmla="*/ 819 w 937"/>
                <a:gd name="T5" fmla="*/ 53 h 644"/>
                <a:gd name="T6" fmla="*/ 788 w 937"/>
                <a:gd name="T7" fmla="*/ 7 h 644"/>
                <a:gd name="T8" fmla="*/ 712 w 937"/>
                <a:gd name="T9" fmla="*/ 8 h 644"/>
                <a:gd name="T10" fmla="*/ 701 w 937"/>
                <a:gd name="T11" fmla="*/ 51 h 644"/>
                <a:gd name="T12" fmla="*/ 655 w 937"/>
                <a:gd name="T13" fmla="*/ 76 h 644"/>
                <a:gd name="T14" fmla="*/ 667 w 937"/>
                <a:gd name="T15" fmla="*/ 121 h 644"/>
                <a:gd name="T16" fmla="*/ 692 w 937"/>
                <a:gd name="T17" fmla="*/ 142 h 644"/>
                <a:gd name="T18" fmla="*/ 634 w 937"/>
                <a:gd name="T19" fmla="*/ 165 h 644"/>
                <a:gd name="T20" fmla="*/ 572 w 937"/>
                <a:gd name="T21" fmla="*/ 187 h 644"/>
                <a:gd name="T22" fmla="*/ 498 w 937"/>
                <a:gd name="T23" fmla="*/ 224 h 644"/>
                <a:gd name="T24" fmla="*/ 433 w 937"/>
                <a:gd name="T25" fmla="*/ 228 h 644"/>
                <a:gd name="T26" fmla="*/ 333 w 937"/>
                <a:gd name="T27" fmla="*/ 212 h 644"/>
                <a:gd name="T28" fmla="*/ 295 w 937"/>
                <a:gd name="T29" fmla="*/ 174 h 644"/>
                <a:gd name="T30" fmla="*/ 261 w 937"/>
                <a:gd name="T31" fmla="*/ 136 h 644"/>
                <a:gd name="T32" fmla="*/ 213 w 937"/>
                <a:gd name="T33" fmla="*/ 90 h 644"/>
                <a:gd name="T34" fmla="*/ 191 w 937"/>
                <a:gd name="T35" fmla="*/ 104 h 644"/>
                <a:gd name="T36" fmla="*/ 154 w 937"/>
                <a:gd name="T37" fmla="*/ 132 h 644"/>
                <a:gd name="T38" fmla="*/ 127 w 937"/>
                <a:gd name="T39" fmla="*/ 169 h 644"/>
                <a:gd name="T40" fmla="*/ 102 w 937"/>
                <a:gd name="T41" fmla="*/ 193 h 644"/>
                <a:gd name="T42" fmla="*/ 77 w 937"/>
                <a:gd name="T43" fmla="*/ 239 h 644"/>
                <a:gd name="T44" fmla="*/ 34 w 937"/>
                <a:gd name="T45" fmla="*/ 261 h 644"/>
                <a:gd name="T46" fmla="*/ 1 w 937"/>
                <a:gd name="T47" fmla="*/ 273 h 644"/>
                <a:gd name="T48" fmla="*/ 34 w 937"/>
                <a:gd name="T49" fmla="*/ 333 h 644"/>
                <a:gd name="T50" fmla="*/ 88 w 937"/>
                <a:gd name="T51" fmla="*/ 344 h 644"/>
                <a:gd name="T52" fmla="*/ 86 w 937"/>
                <a:gd name="T53" fmla="*/ 396 h 644"/>
                <a:gd name="T54" fmla="*/ 82 w 937"/>
                <a:gd name="T55" fmla="*/ 422 h 644"/>
                <a:gd name="T56" fmla="*/ 116 w 937"/>
                <a:gd name="T57" fmla="*/ 443 h 644"/>
                <a:gd name="T58" fmla="*/ 205 w 937"/>
                <a:gd name="T59" fmla="*/ 484 h 644"/>
                <a:gd name="T60" fmla="*/ 230 w 937"/>
                <a:gd name="T61" fmla="*/ 489 h 644"/>
                <a:gd name="T62" fmla="*/ 284 w 937"/>
                <a:gd name="T63" fmla="*/ 478 h 644"/>
                <a:gd name="T64" fmla="*/ 330 w 937"/>
                <a:gd name="T65" fmla="*/ 459 h 644"/>
                <a:gd name="T66" fmla="*/ 359 w 937"/>
                <a:gd name="T67" fmla="*/ 479 h 644"/>
                <a:gd name="T68" fmla="*/ 352 w 937"/>
                <a:gd name="T69" fmla="*/ 540 h 644"/>
                <a:gd name="T70" fmla="*/ 374 w 937"/>
                <a:gd name="T71" fmla="*/ 564 h 644"/>
                <a:gd name="T72" fmla="*/ 398 w 937"/>
                <a:gd name="T73" fmla="*/ 590 h 644"/>
                <a:gd name="T74" fmla="*/ 413 w 937"/>
                <a:gd name="T75" fmla="*/ 582 h 644"/>
                <a:gd name="T76" fmla="*/ 440 w 937"/>
                <a:gd name="T77" fmla="*/ 569 h 644"/>
                <a:gd name="T78" fmla="*/ 483 w 937"/>
                <a:gd name="T79" fmla="*/ 566 h 644"/>
                <a:gd name="T80" fmla="*/ 520 w 937"/>
                <a:gd name="T81" fmla="*/ 589 h 644"/>
                <a:gd name="T82" fmla="*/ 542 w 937"/>
                <a:gd name="T83" fmla="*/ 596 h 644"/>
                <a:gd name="T84" fmla="*/ 592 w 937"/>
                <a:gd name="T85" fmla="*/ 579 h 644"/>
                <a:gd name="T86" fmla="*/ 654 w 937"/>
                <a:gd name="T87" fmla="*/ 559 h 644"/>
                <a:gd name="T88" fmla="*/ 690 w 937"/>
                <a:gd name="T89" fmla="*/ 530 h 644"/>
                <a:gd name="T90" fmla="*/ 698 w 937"/>
                <a:gd name="T91" fmla="*/ 501 h 644"/>
                <a:gd name="T92" fmla="*/ 733 w 937"/>
                <a:gd name="T93" fmla="*/ 459 h 644"/>
                <a:gd name="T94" fmla="*/ 724 w 937"/>
                <a:gd name="T95" fmla="*/ 443 h 644"/>
                <a:gd name="T96" fmla="*/ 724 w 937"/>
                <a:gd name="T97" fmla="*/ 425 h 644"/>
                <a:gd name="T98" fmla="*/ 729 w 937"/>
                <a:gd name="T99" fmla="*/ 410 h 644"/>
                <a:gd name="T100" fmla="*/ 692 w 937"/>
                <a:gd name="T101" fmla="*/ 360 h 644"/>
                <a:gd name="T102" fmla="*/ 724 w 937"/>
                <a:gd name="T103" fmla="*/ 330 h 644"/>
                <a:gd name="T104" fmla="*/ 720 w 937"/>
                <a:gd name="T105" fmla="*/ 308 h 644"/>
                <a:gd name="T106" fmla="*/ 680 w 937"/>
                <a:gd name="T107" fmla="*/ 304 h 644"/>
                <a:gd name="T108" fmla="*/ 692 w 937"/>
                <a:gd name="T109" fmla="*/ 279 h 644"/>
                <a:gd name="T110" fmla="*/ 738 w 937"/>
                <a:gd name="T111" fmla="*/ 264 h 644"/>
                <a:gd name="T112" fmla="*/ 763 w 937"/>
                <a:gd name="T113" fmla="*/ 272 h 644"/>
                <a:gd name="T114" fmla="*/ 822 w 937"/>
                <a:gd name="T115" fmla="*/ 240 h 644"/>
                <a:gd name="T116" fmla="*/ 855 w 937"/>
                <a:gd name="T117" fmla="*/ 222 h 644"/>
                <a:gd name="T118" fmla="*/ 881 w 937"/>
                <a:gd name="T119" fmla="*/ 200 h 644"/>
                <a:gd name="T120" fmla="*/ 908 w 937"/>
                <a:gd name="T121" fmla="*/ 172 h 644"/>
                <a:gd name="T122" fmla="*/ 935 w 937"/>
                <a:gd name="T123" fmla="*/ 128 h 644"/>
                <a:gd name="T124" fmla="*/ 538 w 937"/>
                <a:gd name="T125" fmla="*/ 644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37" h="644">
                  <a:moveTo>
                    <a:pt x="934" y="115"/>
                  </a:moveTo>
                  <a:lnTo>
                    <a:pt x="934" y="115"/>
                  </a:lnTo>
                  <a:lnTo>
                    <a:pt x="934" y="112"/>
                  </a:lnTo>
                  <a:lnTo>
                    <a:pt x="933" y="110"/>
                  </a:lnTo>
                  <a:lnTo>
                    <a:pt x="930" y="110"/>
                  </a:lnTo>
                  <a:lnTo>
                    <a:pt x="926" y="110"/>
                  </a:lnTo>
                  <a:lnTo>
                    <a:pt x="921" y="111"/>
                  </a:lnTo>
                  <a:lnTo>
                    <a:pt x="921" y="111"/>
                  </a:lnTo>
                  <a:lnTo>
                    <a:pt x="919" y="112"/>
                  </a:lnTo>
                  <a:lnTo>
                    <a:pt x="915" y="112"/>
                  </a:lnTo>
                  <a:lnTo>
                    <a:pt x="909" y="114"/>
                  </a:lnTo>
                  <a:lnTo>
                    <a:pt x="906" y="117"/>
                  </a:lnTo>
                  <a:lnTo>
                    <a:pt x="906" y="117"/>
                  </a:lnTo>
                  <a:lnTo>
                    <a:pt x="903" y="119"/>
                  </a:lnTo>
                  <a:lnTo>
                    <a:pt x="901" y="121"/>
                  </a:lnTo>
                  <a:lnTo>
                    <a:pt x="892" y="121"/>
                  </a:lnTo>
                  <a:lnTo>
                    <a:pt x="892" y="121"/>
                  </a:lnTo>
                  <a:lnTo>
                    <a:pt x="887" y="121"/>
                  </a:lnTo>
                  <a:lnTo>
                    <a:pt x="883" y="119"/>
                  </a:lnTo>
                  <a:lnTo>
                    <a:pt x="878" y="117"/>
                  </a:lnTo>
                  <a:lnTo>
                    <a:pt x="877" y="114"/>
                  </a:lnTo>
                  <a:lnTo>
                    <a:pt x="877" y="114"/>
                  </a:lnTo>
                  <a:lnTo>
                    <a:pt x="877" y="111"/>
                  </a:lnTo>
                  <a:lnTo>
                    <a:pt x="876" y="108"/>
                  </a:lnTo>
                  <a:lnTo>
                    <a:pt x="874" y="104"/>
                  </a:lnTo>
                  <a:lnTo>
                    <a:pt x="874" y="101"/>
                  </a:lnTo>
                  <a:lnTo>
                    <a:pt x="874" y="101"/>
                  </a:lnTo>
                  <a:lnTo>
                    <a:pt x="873" y="99"/>
                  </a:lnTo>
                  <a:lnTo>
                    <a:pt x="870" y="97"/>
                  </a:lnTo>
                  <a:lnTo>
                    <a:pt x="867" y="96"/>
                  </a:lnTo>
                  <a:lnTo>
                    <a:pt x="863" y="93"/>
                  </a:lnTo>
                  <a:lnTo>
                    <a:pt x="863" y="93"/>
                  </a:lnTo>
                  <a:lnTo>
                    <a:pt x="859" y="90"/>
                  </a:lnTo>
                  <a:lnTo>
                    <a:pt x="853" y="87"/>
                  </a:lnTo>
                  <a:lnTo>
                    <a:pt x="849" y="86"/>
                  </a:lnTo>
                  <a:lnTo>
                    <a:pt x="848" y="86"/>
                  </a:lnTo>
                  <a:lnTo>
                    <a:pt x="848" y="86"/>
                  </a:lnTo>
                  <a:lnTo>
                    <a:pt x="845" y="86"/>
                  </a:lnTo>
                  <a:lnTo>
                    <a:pt x="842" y="85"/>
                  </a:lnTo>
                  <a:lnTo>
                    <a:pt x="837" y="82"/>
                  </a:lnTo>
                  <a:lnTo>
                    <a:pt x="833" y="81"/>
                  </a:lnTo>
                  <a:lnTo>
                    <a:pt x="833" y="81"/>
                  </a:lnTo>
                  <a:lnTo>
                    <a:pt x="827" y="79"/>
                  </a:lnTo>
                  <a:lnTo>
                    <a:pt x="826" y="78"/>
                  </a:lnTo>
                  <a:lnTo>
                    <a:pt x="826" y="75"/>
                  </a:lnTo>
                  <a:lnTo>
                    <a:pt x="826" y="72"/>
                  </a:lnTo>
                  <a:lnTo>
                    <a:pt x="826" y="72"/>
                  </a:lnTo>
                  <a:lnTo>
                    <a:pt x="826" y="68"/>
                  </a:lnTo>
                  <a:lnTo>
                    <a:pt x="823" y="64"/>
                  </a:lnTo>
                  <a:lnTo>
                    <a:pt x="819" y="53"/>
                  </a:lnTo>
                  <a:lnTo>
                    <a:pt x="819" y="53"/>
                  </a:lnTo>
                  <a:lnTo>
                    <a:pt x="816" y="50"/>
                  </a:lnTo>
                  <a:lnTo>
                    <a:pt x="813" y="46"/>
                  </a:lnTo>
                  <a:lnTo>
                    <a:pt x="810" y="42"/>
                  </a:lnTo>
                  <a:lnTo>
                    <a:pt x="809" y="35"/>
                  </a:lnTo>
                  <a:lnTo>
                    <a:pt x="809" y="35"/>
                  </a:lnTo>
                  <a:lnTo>
                    <a:pt x="806" y="28"/>
                  </a:lnTo>
                  <a:lnTo>
                    <a:pt x="803" y="25"/>
                  </a:lnTo>
                  <a:lnTo>
                    <a:pt x="802" y="24"/>
                  </a:lnTo>
                  <a:lnTo>
                    <a:pt x="802" y="21"/>
                  </a:lnTo>
                  <a:lnTo>
                    <a:pt x="802" y="21"/>
                  </a:lnTo>
                  <a:lnTo>
                    <a:pt x="802" y="18"/>
                  </a:lnTo>
                  <a:lnTo>
                    <a:pt x="801" y="17"/>
                  </a:lnTo>
                  <a:lnTo>
                    <a:pt x="798" y="14"/>
                  </a:lnTo>
                  <a:lnTo>
                    <a:pt x="794" y="11"/>
                  </a:lnTo>
                  <a:lnTo>
                    <a:pt x="791" y="8"/>
                  </a:lnTo>
                  <a:lnTo>
                    <a:pt x="791" y="8"/>
                  </a:lnTo>
                  <a:lnTo>
                    <a:pt x="788" y="7"/>
                  </a:lnTo>
                  <a:lnTo>
                    <a:pt x="784" y="6"/>
                  </a:lnTo>
                  <a:lnTo>
                    <a:pt x="778" y="6"/>
                  </a:lnTo>
                  <a:lnTo>
                    <a:pt x="773" y="3"/>
                  </a:lnTo>
                  <a:lnTo>
                    <a:pt x="773" y="3"/>
                  </a:lnTo>
                  <a:lnTo>
                    <a:pt x="767" y="1"/>
                  </a:lnTo>
                  <a:lnTo>
                    <a:pt x="763" y="1"/>
                  </a:lnTo>
                  <a:lnTo>
                    <a:pt x="759" y="1"/>
                  </a:lnTo>
                  <a:lnTo>
                    <a:pt x="755" y="0"/>
                  </a:lnTo>
                  <a:lnTo>
                    <a:pt x="755" y="0"/>
                  </a:lnTo>
                  <a:lnTo>
                    <a:pt x="748" y="0"/>
                  </a:lnTo>
                  <a:lnTo>
                    <a:pt x="741" y="0"/>
                  </a:lnTo>
                  <a:lnTo>
                    <a:pt x="731" y="3"/>
                  </a:lnTo>
                  <a:lnTo>
                    <a:pt x="731" y="3"/>
                  </a:lnTo>
                  <a:lnTo>
                    <a:pt x="723" y="3"/>
                  </a:lnTo>
                  <a:lnTo>
                    <a:pt x="717" y="4"/>
                  </a:lnTo>
                  <a:lnTo>
                    <a:pt x="715" y="6"/>
                  </a:lnTo>
                  <a:lnTo>
                    <a:pt x="712" y="8"/>
                  </a:lnTo>
                  <a:lnTo>
                    <a:pt x="712" y="8"/>
                  </a:lnTo>
                  <a:lnTo>
                    <a:pt x="709" y="14"/>
                  </a:lnTo>
                  <a:lnTo>
                    <a:pt x="709" y="17"/>
                  </a:lnTo>
                  <a:lnTo>
                    <a:pt x="710" y="17"/>
                  </a:lnTo>
                  <a:lnTo>
                    <a:pt x="713" y="17"/>
                  </a:lnTo>
                  <a:lnTo>
                    <a:pt x="713" y="17"/>
                  </a:lnTo>
                  <a:lnTo>
                    <a:pt x="715" y="18"/>
                  </a:lnTo>
                  <a:lnTo>
                    <a:pt x="716" y="21"/>
                  </a:lnTo>
                  <a:lnTo>
                    <a:pt x="717" y="28"/>
                  </a:lnTo>
                  <a:lnTo>
                    <a:pt x="717" y="28"/>
                  </a:lnTo>
                  <a:lnTo>
                    <a:pt x="717" y="31"/>
                  </a:lnTo>
                  <a:lnTo>
                    <a:pt x="715" y="33"/>
                  </a:lnTo>
                  <a:lnTo>
                    <a:pt x="710" y="36"/>
                  </a:lnTo>
                  <a:lnTo>
                    <a:pt x="710" y="36"/>
                  </a:lnTo>
                  <a:lnTo>
                    <a:pt x="709" y="37"/>
                  </a:lnTo>
                  <a:lnTo>
                    <a:pt x="705" y="42"/>
                  </a:lnTo>
                  <a:lnTo>
                    <a:pt x="701" y="51"/>
                  </a:lnTo>
                  <a:lnTo>
                    <a:pt x="701" y="51"/>
                  </a:lnTo>
                  <a:lnTo>
                    <a:pt x="697" y="60"/>
                  </a:lnTo>
                  <a:lnTo>
                    <a:pt x="694" y="64"/>
                  </a:lnTo>
                  <a:lnTo>
                    <a:pt x="694" y="67"/>
                  </a:lnTo>
                  <a:lnTo>
                    <a:pt x="694" y="67"/>
                  </a:lnTo>
                  <a:lnTo>
                    <a:pt x="694" y="69"/>
                  </a:lnTo>
                  <a:lnTo>
                    <a:pt x="692" y="71"/>
                  </a:lnTo>
                  <a:lnTo>
                    <a:pt x="687" y="74"/>
                  </a:lnTo>
                  <a:lnTo>
                    <a:pt x="687" y="74"/>
                  </a:lnTo>
                  <a:lnTo>
                    <a:pt x="679" y="78"/>
                  </a:lnTo>
                  <a:lnTo>
                    <a:pt x="672" y="82"/>
                  </a:lnTo>
                  <a:lnTo>
                    <a:pt x="672" y="82"/>
                  </a:lnTo>
                  <a:lnTo>
                    <a:pt x="663" y="82"/>
                  </a:lnTo>
                  <a:lnTo>
                    <a:pt x="659" y="79"/>
                  </a:lnTo>
                  <a:lnTo>
                    <a:pt x="656" y="78"/>
                  </a:lnTo>
                  <a:lnTo>
                    <a:pt x="656" y="78"/>
                  </a:lnTo>
                  <a:lnTo>
                    <a:pt x="655" y="76"/>
                  </a:lnTo>
                  <a:lnTo>
                    <a:pt x="654" y="75"/>
                  </a:lnTo>
                  <a:lnTo>
                    <a:pt x="641" y="100"/>
                  </a:lnTo>
                  <a:lnTo>
                    <a:pt x="640" y="108"/>
                  </a:lnTo>
                  <a:lnTo>
                    <a:pt x="640" y="108"/>
                  </a:lnTo>
                  <a:lnTo>
                    <a:pt x="637" y="110"/>
                  </a:lnTo>
                  <a:lnTo>
                    <a:pt x="635" y="112"/>
                  </a:lnTo>
                  <a:lnTo>
                    <a:pt x="638" y="117"/>
                  </a:lnTo>
                  <a:lnTo>
                    <a:pt x="638" y="117"/>
                  </a:lnTo>
                  <a:lnTo>
                    <a:pt x="641" y="119"/>
                  </a:lnTo>
                  <a:lnTo>
                    <a:pt x="644" y="119"/>
                  </a:lnTo>
                  <a:lnTo>
                    <a:pt x="648" y="118"/>
                  </a:lnTo>
                  <a:lnTo>
                    <a:pt x="654" y="117"/>
                  </a:lnTo>
                  <a:lnTo>
                    <a:pt x="654" y="117"/>
                  </a:lnTo>
                  <a:lnTo>
                    <a:pt x="659" y="118"/>
                  </a:lnTo>
                  <a:lnTo>
                    <a:pt x="663" y="119"/>
                  </a:lnTo>
                  <a:lnTo>
                    <a:pt x="667" y="121"/>
                  </a:lnTo>
                  <a:lnTo>
                    <a:pt x="667" y="121"/>
                  </a:lnTo>
                  <a:lnTo>
                    <a:pt x="669" y="119"/>
                  </a:lnTo>
                  <a:lnTo>
                    <a:pt x="669" y="119"/>
                  </a:lnTo>
                  <a:lnTo>
                    <a:pt x="672" y="115"/>
                  </a:lnTo>
                  <a:lnTo>
                    <a:pt x="676" y="114"/>
                  </a:lnTo>
                  <a:lnTo>
                    <a:pt x="680" y="114"/>
                  </a:lnTo>
                  <a:lnTo>
                    <a:pt x="684" y="117"/>
                  </a:lnTo>
                  <a:lnTo>
                    <a:pt x="684" y="117"/>
                  </a:lnTo>
                  <a:lnTo>
                    <a:pt x="690" y="122"/>
                  </a:lnTo>
                  <a:lnTo>
                    <a:pt x="697" y="128"/>
                  </a:lnTo>
                  <a:lnTo>
                    <a:pt x="702" y="133"/>
                  </a:lnTo>
                  <a:lnTo>
                    <a:pt x="704" y="136"/>
                  </a:lnTo>
                  <a:lnTo>
                    <a:pt x="704" y="139"/>
                  </a:lnTo>
                  <a:lnTo>
                    <a:pt x="704" y="139"/>
                  </a:lnTo>
                  <a:lnTo>
                    <a:pt x="704" y="140"/>
                  </a:lnTo>
                  <a:lnTo>
                    <a:pt x="702" y="142"/>
                  </a:lnTo>
                  <a:lnTo>
                    <a:pt x="698" y="142"/>
                  </a:lnTo>
                  <a:lnTo>
                    <a:pt x="692" y="142"/>
                  </a:lnTo>
                  <a:lnTo>
                    <a:pt x="688" y="140"/>
                  </a:lnTo>
                  <a:lnTo>
                    <a:pt x="688" y="140"/>
                  </a:lnTo>
                  <a:lnTo>
                    <a:pt x="683" y="140"/>
                  </a:lnTo>
                  <a:lnTo>
                    <a:pt x="679" y="142"/>
                  </a:lnTo>
                  <a:lnTo>
                    <a:pt x="673" y="143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3" y="144"/>
                  </a:lnTo>
                  <a:lnTo>
                    <a:pt x="658" y="146"/>
                  </a:lnTo>
                  <a:lnTo>
                    <a:pt x="654" y="149"/>
                  </a:lnTo>
                  <a:lnTo>
                    <a:pt x="648" y="153"/>
                  </a:lnTo>
                  <a:lnTo>
                    <a:pt x="648" y="153"/>
                  </a:lnTo>
                  <a:lnTo>
                    <a:pt x="645" y="157"/>
                  </a:lnTo>
                  <a:lnTo>
                    <a:pt x="642" y="161"/>
                  </a:lnTo>
                  <a:lnTo>
                    <a:pt x="640" y="164"/>
                  </a:lnTo>
                  <a:lnTo>
                    <a:pt x="634" y="165"/>
                  </a:lnTo>
                  <a:lnTo>
                    <a:pt x="634" y="165"/>
                  </a:lnTo>
                  <a:lnTo>
                    <a:pt x="623" y="167"/>
                  </a:lnTo>
                  <a:lnTo>
                    <a:pt x="617" y="168"/>
                  </a:lnTo>
                  <a:lnTo>
                    <a:pt x="612" y="172"/>
                  </a:lnTo>
                  <a:lnTo>
                    <a:pt x="612" y="172"/>
                  </a:lnTo>
                  <a:lnTo>
                    <a:pt x="604" y="176"/>
                  </a:lnTo>
                  <a:lnTo>
                    <a:pt x="597" y="178"/>
                  </a:lnTo>
                  <a:lnTo>
                    <a:pt x="591" y="176"/>
                  </a:lnTo>
                  <a:lnTo>
                    <a:pt x="586" y="175"/>
                  </a:lnTo>
                  <a:lnTo>
                    <a:pt x="586" y="175"/>
                  </a:lnTo>
                  <a:lnTo>
                    <a:pt x="583" y="174"/>
                  </a:lnTo>
                  <a:lnTo>
                    <a:pt x="579" y="174"/>
                  </a:lnTo>
                  <a:lnTo>
                    <a:pt x="574" y="175"/>
                  </a:lnTo>
                  <a:lnTo>
                    <a:pt x="572" y="179"/>
                  </a:lnTo>
                  <a:lnTo>
                    <a:pt x="572" y="179"/>
                  </a:lnTo>
                  <a:lnTo>
                    <a:pt x="570" y="180"/>
                  </a:lnTo>
                  <a:lnTo>
                    <a:pt x="570" y="183"/>
                  </a:lnTo>
                  <a:lnTo>
                    <a:pt x="572" y="187"/>
                  </a:lnTo>
                  <a:lnTo>
                    <a:pt x="574" y="192"/>
                  </a:lnTo>
                  <a:lnTo>
                    <a:pt x="574" y="197"/>
                  </a:lnTo>
                  <a:lnTo>
                    <a:pt x="574" y="197"/>
                  </a:lnTo>
                  <a:lnTo>
                    <a:pt x="574" y="200"/>
                  </a:lnTo>
                  <a:lnTo>
                    <a:pt x="573" y="201"/>
                  </a:lnTo>
                  <a:lnTo>
                    <a:pt x="567" y="204"/>
                  </a:lnTo>
                  <a:lnTo>
                    <a:pt x="562" y="207"/>
                  </a:lnTo>
                  <a:lnTo>
                    <a:pt x="556" y="212"/>
                  </a:lnTo>
                  <a:lnTo>
                    <a:pt x="556" y="212"/>
                  </a:lnTo>
                  <a:lnTo>
                    <a:pt x="549" y="218"/>
                  </a:lnTo>
                  <a:lnTo>
                    <a:pt x="541" y="222"/>
                  </a:lnTo>
                  <a:lnTo>
                    <a:pt x="534" y="224"/>
                  </a:lnTo>
                  <a:lnTo>
                    <a:pt x="527" y="224"/>
                  </a:lnTo>
                  <a:lnTo>
                    <a:pt x="527" y="224"/>
                  </a:lnTo>
                  <a:lnTo>
                    <a:pt x="512" y="222"/>
                  </a:lnTo>
                  <a:lnTo>
                    <a:pt x="502" y="222"/>
                  </a:lnTo>
                  <a:lnTo>
                    <a:pt x="498" y="224"/>
                  </a:lnTo>
                  <a:lnTo>
                    <a:pt x="492" y="225"/>
                  </a:lnTo>
                  <a:lnTo>
                    <a:pt x="492" y="225"/>
                  </a:lnTo>
                  <a:lnTo>
                    <a:pt x="483" y="230"/>
                  </a:lnTo>
                  <a:lnTo>
                    <a:pt x="476" y="235"/>
                  </a:lnTo>
                  <a:lnTo>
                    <a:pt x="470" y="239"/>
                  </a:lnTo>
                  <a:lnTo>
                    <a:pt x="465" y="239"/>
                  </a:lnTo>
                  <a:lnTo>
                    <a:pt x="465" y="239"/>
                  </a:lnTo>
                  <a:lnTo>
                    <a:pt x="462" y="237"/>
                  </a:lnTo>
                  <a:lnTo>
                    <a:pt x="461" y="236"/>
                  </a:lnTo>
                  <a:lnTo>
                    <a:pt x="458" y="233"/>
                  </a:lnTo>
                  <a:lnTo>
                    <a:pt x="454" y="233"/>
                  </a:lnTo>
                  <a:lnTo>
                    <a:pt x="454" y="233"/>
                  </a:lnTo>
                  <a:lnTo>
                    <a:pt x="448" y="233"/>
                  </a:lnTo>
                  <a:lnTo>
                    <a:pt x="444" y="233"/>
                  </a:lnTo>
                  <a:lnTo>
                    <a:pt x="437" y="229"/>
                  </a:lnTo>
                  <a:lnTo>
                    <a:pt x="437" y="229"/>
                  </a:lnTo>
                  <a:lnTo>
                    <a:pt x="433" y="228"/>
                  </a:lnTo>
                  <a:lnTo>
                    <a:pt x="430" y="228"/>
                  </a:lnTo>
                  <a:lnTo>
                    <a:pt x="426" y="228"/>
                  </a:lnTo>
                  <a:lnTo>
                    <a:pt x="420" y="225"/>
                  </a:lnTo>
                  <a:lnTo>
                    <a:pt x="420" y="225"/>
                  </a:lnTo>
                  <a:lnTo>
                    <a:pt x="413" y="222"/>
                  </a:lnTo>
                  <a:lnTo>
                    <a:pt x="405" y="221"/>
                  </a:lnTo>
                  <a:lnTo>
                    <a:pt x="391" y="219"/>
                  </a:lnTo>
                  <a:lnTo>
                    <a:pt x="391" y="219"/>
                  </a:lnTo>
                  <a:lnTo>
                    <a:pt x="373" y="218"/>
                  </a:lnTo>
                  <a:lnTo>
                    <a:pt x="354" y="218"/>
                  </a:lnTo>
                  <a:lnTo>
                    <a:pt x="354" y="218"/>
                  </a:lnTo>
                  <a:lnTo>
                    <a:pt x="341" y="218"/>
                  </a:lnTo>
                  <a:lnTo>
                    <a:pt x="337" y="218"/>
                  </a:lnTo>
                  <a:lnTo>
                    <a:pt x="336" y="217"/>
                  </a:lnTo>
                  <a:lnTo>
                    <a:pt x="334" y="217"/>
                  </a:lnTo>
                  <a:lnTo>
                    <a:pt x="334" y="217"/>
                  </a:lnTo>
                  <a:lnTo>
                    <a:pt x="333" y="212"/>
                  </a:lnTo>
                  <a:lnTo>
                    <a:pt x="330" y="210"/>
                  </a:lnTo>
                  <a:lnTo>
                    <a:pt x="327" y="205"/>
                  </a:lnTo>
                  <a:lnTo>
                    <a:pt x="324" y="200"/>
                  </a:lnTo>
                  <a:lnTo>
                    <a:pt x="324" y="200"/>
                  </a:lnTo>
                  <a:lnTo>
                    <a:pt x="323" y="194"/>
                  </a:lnTo>
                  <a:lnTo>
                    <a:pt x="320" y="190"/>
                  </a:lnTo>
                  <a:lnTo>
                    <a:pt x="316" y="187"/>
                  </a:lnTo>
                  <a:lnTo>
                    <a:pt x="313" y="186"/>
                  </a:lnTo>
                  <a:lnTo>
                    <a:pt x="313" y="186"/>
                  </a:lnTo>
                  <a:lnTo>
                    <a:pt x="309" y="185"/>
                  </a:lnTo>
                  <a:lnTo>
                    <a:pt x="308" y="183"/>
                  </a:lnTo>
                  <a:lnTo>
                    <a:pt x="305" y="180"/>
                  </a:lnTo>
                  <a:lnTo>
                    <a:pt x="302" y="179"/>
                  </a:lnTo>
                  <a:lnTo>
                    <a:pt x="302" y="179"/>
                  </a:lnTo>
                  <a:lnTo>
                    <a:pt x="301" y="179"/>
                  </a:lnTo>
                  <a:lnTo>
                    <a:pt x="300" y="176"/>
                  </a:lnTo>
                  <a:lnTo>
                    <a:pt x="295" y="174"/>
                  </a:lnTo>
                  <a:lnTo>
                    <a:pt x="291" y="172"/>
                  </a:lnTo>
                  <a:lnTo>
                    <a:pt x="291" y="172"/>
                  </a:lnTo>
                  <a:lnTo>
                    <a:pt x="283" y="172"/>
                  </a:lnTo>
                  <a:lnTo>
                    <a:pt x="272" y="171"/>
                  </a:lnTo>
                  <a:lnTo>
                    <a:pt x="262" y="168"/>
                  </a:lnTo>
                  <a:lnTo>
                    <a:pt x="258" y="167"/>
                  </a:lnTo>
                  <a:lnTo>
                    <a:pt x="256" y="164"/>
                  </a:lnTo>
                  <a:lnTo>
                    <a:pt x="256" y="164"/>
                  </a:lnTo>
                  <a:lnTo>
                    <a:pt x="255" y="160"/>
                  </a:lnTo>
                  <a:lnTo>
                    <a:pt x="256" y="157"/>
                  </a:lnTo>
                  <a:lnTo>
                    <a:pt x="258" y="154"/>
                  </a:lnTo>
                  <a:lnTo>
                    <a:pt x="259" y="151"/>
                  </a:lnTo>
                  <a:lnTo>
                    <a:pt x="259" y="151"/>
                  </a:lnTo>
                  <a:lnTo>
                    <a:pt x="261" y="142"/>
                  </a:lnTo>
                  <a:lnTo>
                    <a:pt x="262" y="137"/>
                  </a:lnTo>
                  <a:lnTo>
                    <a:pt x="261" y="136"/>
                  </a:lnTo>
                  <a:lnTo>
                    <a:pt x="261" y="136"/>
                  </a:lnTo>
                  <a:lnTo>
                    <a:pt x="255" y="131"/>
                  </a:lnTo>
                  <a:lnTo>
                    <a:pt x="254" y="126"/>
                  </a:lnTo>
                  <a:lnTo>
                    <a:pt x="252" y="124"/>
                  </a:lnTo>
                  <a:lnTo>
                    <a:pt x="252" y="124"/>
                  </a:lnTo>
                  <a:lnTo>
                    <a:pt x="251" y="119"/>
                  </a:lnTo>
                  <a:lnTo>
                    <a:pt x="247" y="117"/>
                  </a:lnTo>
                  <a:lnTo>
                    <a:pt x="243" y="114"/>
                  </a:lnTo>
                  <a:lnTo>
                    <a:pt x="238" y="112"/>
                  </a:lnTo>
                  <a:lnTo>
                    <a:pt x="238" y="112"/>
                  </a:lnTo>
                  <a:lnTo>
                    <a:pt x="234" y="112"/>
                  </a:lnTo>
                  <a:lnTo>
                    <a:pt x="231" y="110"/>
                  </a:lnTo>
                  <a:lnTo>
                    <a:pt x="225" y="106"/>
                  </a:lnTo>
                  <a:lnTo>
                    <a:pt x="225" y="106"/>
                  </a:lnTo>
                  <a:lnTo>
                    <a:pt x="218" y="100"/>
                  </a:lnTo>
                  <a:lnTo>
                    <a:pt x="215" y="97"/>
                  </a:lnTo>
                  <a:lnTo>
                    <a:pt x="213" y="90"/>
                  </a:lnTo>
                  <a:lnTo>
                    <a:pt x="213" y="90"/>
                  </a:lnTo>
                  <a:lnTo>
                    <a:pt x="213" y="89"/>
                  </a:lnTo>
                  <a:lnTo>
                    <a:pt x="213" y="89"/>
                  </a:lnTo>
                  <a:lnTo>
                    <a:pt x="206" y="87"/>
                  </a:lnTo>
                  <a:lnTo>
                    <a:pt x="206" y="87"/>
                  </a:lnTo>
                  <a:lnTo>
                    <a:pt x="205" y="87"/>
                  </a:lnTo>
                  <a:lnTo>
                    <a:pt x="202" y="85"/>
                  </a:lnTo>
                  <a:lnTo>
                    <a:pt x="202" y="85"/>
                  </a:lnTo>
                  <a:lnTo>
                    <a:pt x="201" y="89"/>
                  </a:lnTo>
                  <a:lnTo>
                    <a:pt x="200" y="90"/>
                  </a:lnTo>
                  <a:lnTo>
                    <a:pt x="198" y="93"/>
                  </a:lnTo>
                  <a:lnTo>
                    <a:pt x="197" y="96"/>
                  </a:lnTo>
                  <a:lnTo>
                    <a:pt x="197" y="96"/>
                  </a:lnTo>
                  <a:lnTo>
                    <a:pt x="197" y="99"/>
                  </a:lnTo>
                  <a:lnTo>
                    <a:pt x="195" y="101"/>
                  </a:lnTo>
                  <a:lnTo>
                    <a:pt x="194" y="103"/>
                  </a:lnTo>
                  <a:lnTo>
                    <a:pt x="191" y="104"/>
                  </a:lnTo>
                  <a:lnTo>
                    <a:pt x="191" y="104"/>
                  </a:lnTo>
                  <a:lnTo>
                    <a:pt x="187" y="104"/>
                  </a:lnTo>
                  <a:lnTo>
                    <a:pt x="184" y="107"/>
                  </a:lnTo>
                  <a:lnTo>
                    <a:pt x="182" y="111"/>
                  </a:lnTo>
                  <a:lnTo>
                    <a:pt x="180" y="115"/>
                  </a:lnTo>
                  <a:lnTo>
                    <a:pt x="180" y="115"/>
                  </a:lnTo>
                  <a:lnTo>
                    <a:pt x="182" y="121"/>
                  </a:lnTo>
                  <a:lnTo>
                    <a:pt x="182" y="124"/>
                  </a:lnTo>
                  <a:lnTo>
                    <a:pt x="183" y="126"/>
                  </a:lnTo>
                  <a:lnTo>
                    <a:pt x="183" y="128"/>
                  </a:lnTo>
                  <a:lnTo>
                    <a:pt x="183" y="128"/>
                  </a:lnTo>
                  <a:lnTo>
                    <a:pt x="180" y="131"/>
                  </a:lnTo>
                  <a:lnTo>
                    <a:pt x="176" y="133"/>
                  </a:lnTo>
                  <a:lnTo>
                    <a:pt x="172" y="135"/>
                  </a:lnTo>
                  <a:lnTo>
                    <a:pt x="168" y="133"/>
                  </a:lnTo>
                  <a:lnTo>
                    <a:pt x="168" y="133"/>
                  </a:lnTo>
                  <a:lnTo>
                    <a:pt x="161" y="133"/>
                  </a:lnTo>
                  <a:lnTo>
                    <a:pt x="154" y="132"/>
                  </a:lnTo>
                  <a:lnTo>
                    <a:pt x="154" y="132"/>
                  </a:lnTo>
                  <a:lnTo>
                    <a:pt x="150" y="132"/>
                  </a:lnTo>
                  <a:lnTo>
                    <a:pt x="147" y="129"/>
                  </a:lnTo>
                  <a:lnTo>
                    <a:pt x="144" y="129"/>
                  </a:lnTo>
                  <a:lnTo>
                    <a:pt x="143" y="132"/>
                  </a:lnTo>
                  <a:lnTo>
                    <a:pt x="143" y="132"/>
                  </a:lnTo>
                  <a:lnTo>
                    <a:pt x="137" y="150"/>
                  </a:lnTo>
                  <a:lnTo>
                    <a:pt x="133" y="158"/>
                  </a:lnTo>
                  <a:lnTo>
                    <a:pt x="133" y="161"/>
                  </a:lnTo>
                  <a:lnTo>
                    <a:pt x="133" y="162"/>
                  </a:lnTo>
                  <a:lnTo>
                    <a:pt x="133" y="162"/>
                  </a:lnTo>
                  <a:lnTo>
                    <a:pt x="134" y="165"/>
                  </a:lnTo>
                  <a:lnTo>
                    <a:pt x="136" y="167"/>
                  </a:lnTo>
                  <a:lnTo>
                    <a:pt x="136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27" y="169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19" y="167"/>
                  </a:lnTo>
                  <a:lnTo>
                    <a:pt x="116" y="168"/>
                  </a:lnTo>
                  <a:lnTo>
                    <a:pt x="112" y="169"/>
                  </a:lnTo>
                  <a:lnTo>
                    <a:pt x="108" y="169"/>
                  </a:lnTo>
                  <a:lnTo>
                    <a:pt x="108" y="169"/>
                  </a:lnTo>
                  <a:lnTo>
                    <a:pt x="101" y="172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98" y="176"/>
                  </a:lnTo>
                  <a:lnTo>
                    <a:pt x="98" y="176"/>
                  </a:lnTo>
                  <a:lnTo>
                    <a:pt x="100" y="179"/>
                  </a:lnTo>
                  <a:lnTo>
                    <a:pt x="101" y="182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3"/>
                  </a:lnTo>
                  <a:lnTo>
                    <a:pt x="105" y="199"/>
                  </a:lnTo>
                  <a:lnTo>
                    <a:pt x="108" y="203"/>
                  </a:lnTo>
                  <a:lnTo>
                    <a:pt x="108" y="207"/>
                  </a:lnTo>
                  <a:lnTo>
                    <a:pt x="108" y="207"/>
                  </a:lnTo>
                  <a:lnTo>
                    <a:pt x="107" y="210"/>
                  </a:lnTo>
                  <a:lnTo>
                    <a:pt x="104" y="212"/>
                  </a:lnTo>
                  <a:lnTo>
                    <a:pt x="101" y="215"/>
                  </a:lnTo>
                  <a:lnTo>
                    <a:pt x="100" y="219"/>
                  </a:lnTo>
                  <a:lnTo>
                    <a:pt x="100" y="219"/>
                  </a:lnTo>
                  <a:lnTo>
                    <a:pt x="100" y="225"/>
                  </a:lnTo>
                  <a:lnTo>
                    <a:pt x="100" y="228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3" y="232"/>
                  </a:lnTo>
                  <a:lnTo>
                    <a:pt x="84" y="236"/>
                  </a:lnTo>
                  <a:lnTo>
                    <a:pt x="84" y="236"/>
                  </a:lnTo>
                  <a:lnTo>
                    <a:pt x="77" y="239"/>
                  </a:lnTo>
                  <a:lnTo>
                    <a:pt x="75" y="240"/>
                  </a:lnTo>
                  <a:lnTo>
                    <a:pt x="73" y="243"/>
                  </a:lnTo>
                  <a:lnTo>
                    <a:pt x="73" y="243"/>
                  </a:lnTo>
                  <a:lnTo>
                    <a:pt x="70" y="246"/>
                  </a:lnTo>
                  <a:lnTo>
                    <a:pt x="68" y="247"/>
                  </a:lnTo>
                  <a:lnTo>
                    <a:pt x="65" y="250"/>
                  </a:lnTo>
                  <a:lnTo>
                    <a:pt x="61" y="250"/>
                  </a:lnTo>
                  <a:lnTo>
                    <a:pt x="61" y="250"/>
                  </a:lnTo>
                  <a:lnTo>
                    <a:pt x="52" y="248"/>
                  </a:lnTo>
                  <a:lnTo>
                    <a:pt x="50" y="250"/>
                  </a:lnTo>
                  <a:lnTo>
                    <a:pt x="45" y="254"/>
                  </a:lnTo>
                  <a:lnTo>
                    <a:pt x="45" y="254"/>
                  </a:lnTo>
                  <a:lnTo>
                    <a:pt x="43" y="257"/>
                  </a:lnTo>
                  <a:lnTo>
                    <a:pt x="41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34" y="261"/>
                  </a:lnTo>
                  <a:lnTo>
                    <a:pt x="32" y="260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5" y="257"/>
                  </a:lnTo>
                  <a:lnTo>
                    <a:pt x="22" y="258"/>
                  </a:lnTo>
                  <a:lnTo>
                    <a:pt x="18" y="260"/>
                  </a:lnTo>
                  <a:lnTo>
                    <a:pt x="18" y="260"/>
                  </a:lnTo>
                  <a:lnTo>
                    <a:pt x="15" y="261"/>
                  </a:lnTo>
                  <a:lnTo>
                    <a:pt x="14" y="262"/>
                  </a:lnTo>
                  <a:lnTo>
                    <a:pt x="11" y="264"/>
                  </a:lnTo>
                  <a:lnTo>
                    <a:pt x="9" y="265"/>
                  </a:lnTo>
                  <a:lnTo>
                    <a:pt x="9" y="265"/>
                  </a:lnTo>
                  <a:lnTo>
                    <a:pt x="4" y="267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2" y="269"/>
                  </a:lnTo>
                  <a:lnTo>
                    <a:pt x="1" y="273"/>
                  </a:lnTo>
                  <a:lnTo>
                    <a:pt x="0" y="278"/>
                  </a:lnTo>
                  <a:lnTo>
                    <a:pt x="0" y="278"/>
                  </a:lnTo>
                  <a:lnTo>
                    <a:pt x="1" y="292"/>
                  </a:lnTo>
                  <a:lnTo>
                    <a:pt x="1" y="292"/>
                  </a:lnTo>
                  <a:lnTo>
                    <a:pt x="9" y="294"/>
                  </a:lnTo>
                  <a:lnTo>
                    <a:pt x="15" y="297"/>
                  </a:lnTo>
                  <a:lnTo>
                    <a:pt x="16" y="298"/>
                  </a:lnTo>
                  <a:lnTo>
                    <a:pt x="18" y="301"/>
                  </a:lnTo>
                  <a:lnTo>
                    <a:pt x="18" y="301"/>
                  </a:lnTo>
                  <a:lnTo>
                    <a:pt x="20" y="322"/>
                  </a:lnTo>
                  <a:lnTo>
                    <a:pt x="20" y="322"/>
                  </a:lnTo>
                  <a:lnTo>
                    <a:pt x="20" y="322"/>
                  </a:lnTo>
                  <a:lnTo>
                    <a:pt x="20" y="322"/>
                  </a:lnTo>
                  <a:lnTo>
                    <a:pt x="29" y="329"/>
                  </a:lnTo>
                  <a:lnTo>
                    <a:pt x="33" y="332"/>
                  </a:lnTo>
                  <a:lnTo>
                    <a:pt x="34" y="333"/>
                  </a:lnTo>
                  <a:lnTo>
                    <a:pt x="34" y="333"/>
                  </a:lnTo>
                  <a:lnTo>
                    <a:pt x="36" y="339"/>
                  </a:lnTo>
                  <a:lnTo>
                    <a:pt x="37" y="341"/>
                  </a:lnTo>
                  <a:lnTo>
                    <a:pt x="43" y="346"/>
                  </a:lnTo>
                  <a:lnTo>
                    <a:pt x="43" y="346"/>
                  </a:lnTo>
                  <a:lnTo>
                    <a:pt x="54" y="351"/>
                  </a:lnTo>
                  <a:lnTo>
                    <a:pt x="54" y="351"/>
                  </a:lnTo>
                  <a:lnTo>
                    <a:pt x="55" y="350"/>
                  </a:lnTo>
                  <a:lnTo>
                    <a:pt x="61" y="350"/>
                  </a:lnTo>
                  <a:lnTo>
                    <a:pt x="61" y="350"/>
                  </a:lnTo>
                  <a:lnTo>
                    <a:pt x="65" y="353"/>
                  </a:lnTo>
                  <a:lnTo>
                    <a:pt x="65" y="353"/>
                  </a:lnTo>
                  <a:lnTo>
                    <a:pt x="68" y="348"/>
                  </a:lnTo>
                  <a:lnTo>
                    <a:pt x="72" y="346"/>
                  </a:lnTo>
                  <a:lnTo>
                    <a:pt x="77" y="343"/>
                  </a:lnTo>
                  <a:lnTo>
                    <a:pt x="83" y="343"/>
                  </a:lnTo>
                  <a:lnTo>
                    <a:pt x="83" y="343"/>
                  </a:lnTo>
                  <a:lnTo>
                    <a:pt x="88" y="344"/>
                  </a:lnTo>
                  <a:lnTo>
                    <a:pt x="94" y="348"/>
                  </a:lnTo>
                  <a:lnTo>
                    <a:pt x="100" y="354"/>
                  </a:lnTo>
                  <a:lnTo>
                    <a:pt x="100" y="355"/>
                  </a:lnTo>
                  <a:lnTo>
                    <a:pt x="101" y="357"/>
                  </a:lnTo>
                  <a:lnTo>
                    <a:pt x="101" y="357"/>
                  </a:lnTo>
                  <a:lnTo>
                    <a:pt x="94" y="368"/>
                  </a:lnTo>
                  <a:lnTo>
                    <a:pt x="88" y="373"/>
                  </a:lnTo>
                  <a:lnTo>
                    <a:pt x="84" y="376"/>
                  </a:lnTo>
                  <a:lnTo>
                    <a:pt x="84" y="376"/>
                  </a:lnTo>
                  <a:lnTo>
                    <a:pt x="77" y="376"/>
                  </a:lnTo>
                  <a:lnTo>
                    <a:pt x="77" y="376"/>
                  </a:lnTo>
                  <a:lnTo>
                    <a:pt x="77" y="382"/>
                  </a:lnTo>
                  <a:lnTo>
                    <a:pt x="77" y="382"/>
                  </a:lnTo>
                  <a:lnTo>
                    <a:pt x="77" y="385"/>
                  </a:lnTo>
                  <a:lnTo>
                    <a:pt x="80" y="389"/>
                  </a:lnTo>
                  <a:lnTo>
                    <a:pt x="86" y="396"/>
                  </a:lnTo>
                  <a:lnTo>
                    <a:pt x="86" y="396"/>
                  </a:lnTo>
                  <a:lnTo>
                    <a:pt x="87" y="398"/>
                  </a:lnTo>
                  <a:lnTo>
                    <a:pt x="86" y="400"/>
                  </a:lnTo>
                  <a:lnTo>
                    <a:pt x="84" y="403"/>
                  </a:lnTo>
                  <a:lnTo>
                    <a:pt x="80" y="403"/>
                  </a:lnTo>
                  <a:lnTo>
                    <a:pt x="76" y="401"/>
                  </a:lnTo>
                  <a:lnTo>
                    <a:pt x="76" y="401"/>
                  </a:lnTo>
                  <a:lnTo>
                    <a:pt x="73" y="401"/>
                  </a:lnTo>
                  <a:lnTo>
                    <a:pt x="72" y="403"/>
                  </a:lnTo>
                  <a:lnTo>
                    <a:pt x="72" y="405"/>
                  </a:lnTo>
                  <a:lnTo>
                    <a:pt x="73" y="408"/>
                  </a:lnTo>
                  <a:lnTo>
                    <a:pt x="73" y="408"/>
                  </a:lnTo>
                  <a:lnTo>
                    <a:pt x="75" y="411"/>
                  </a:lnTo>
                  <a:lnTo>
                    <a:pt x="75" y="415"/>
                  </a:lnTo>
                  <a:lnTo>
                    <a:pt x="76" y="419"/>
                  </a:lnTo>
                  <a:lnTo>
                    <a:pt x="79" y="421"/>
                  </a:lnTo>
                  <a:lnTo>
                    <a:pt x="79" y="421"/>
                  </a:lnTo>
                  <a:lnTo>
                    <a:pt x="82" y="422"/>
                  </a:lnTo>
                  <a:lnTo>
                    <a:pt x="84" y="425"/>
                  </a:lnTo>
                  <a:lnTo>
                    <a:pt x="88" y="429"/>
                  </a:lnTo>
                  <a:lnTo>
                    <a:pt x="91" y="430"/>
                  </a:lnTo>
                  <a:lnTo>
                    <a:pt x="91" y="430"/>
                  </a:lnTo>
                  <a:lnTo>
                    <a:pt x="95" y="432"/>
                  </a:lnTo>
                  <a:lnTo>
                    <a:pt x="98" y="434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4" y="440"/>
                  </a:lnTo>
                  <a:lnTo>
                    <a:pt x="107" y="443"/>
                  </a:lnTo>
                  <a:lnTo>
                    <a:pt x="108" y="444"/>
                  </a:lnTo>
                  <a:lnTo>
                    <a:pt x="108" y="444"/>
                  </a:lnTo>
                  <a:lnTo>
                    <a:pt x="107" y="446"/>
                  </a:lnTo>
                  <a:lnTo>
                    <a:pt x="107" y="446"/>
                  </a:lnTo>
                  <a:lnTo>
                    <a:pt x="113" y="444"/>
                  </a:lnTo>
                  <a:lnTo>
                    <a:pt x="116" y="444"/>
                  </a:lnTo>
                  <a:lnTo>
                    <a:pt x="116" y="443"/>
                  </a:lnTo>
                  <a:lnTo>
                    <a:pt x="116" y="443"/>
                  </a:lnTo>
                  <a:lnTo>
                    <a:pt x="118" y="441"/>
                  </a:lnTo>
                  <a:lnTo>
                    <a:pt x="122" y="441"/>
                  </a:lnTo>
                  <a:lnTo>
                    <a:pt x="125" y="443"/>
                  </a:lnTo>
                  <a:lnTo>
                    <a:pt x="129" y="446"/>
                  </a:lnTo>
                  <a:lnTo>
                    <a:pt x="129" y="446"/>
                  </a:lnTo>
                  <a:lnTo>
                    <a:pt x="144" y="457"/>
                  </a:lnTo>
                  <a:lnTo>
                    <a:pt x="161" y="468"/>
                  </a:lnTo>
                  <a:lnTo>
                    <a:pt x="161" y="468"/>
                  </a:lnTo>
                  <a:lnTo>
                    <a:pt x="168" y="473"/>
                  </a:lnTo>
                  <a:lnTo>
                    <a:pt x="177" y="476"/>
                  </a:lnTo>
                  <a:lnTo>
                    <a:pt x="186" y="479"/>
                  </a:lnTo>
                  <a:lnTo>
                    <a:pt x="191" y="480"/>
                  </a:lnTo>
                  <a:lnTo>
                    <a:pt x="191" y="480"/>
                  </a:lnTo>
                  <a:lnTo>
                    <a:pt x="195" y="480"/>
                  </a:lnTo>
                  <a:lnTo>
                    <a:pt x="201" y="483"/>
                  </a:lnTo>
                  <a:lnTo>
                    <a:pt x="205" y="484"/>
                  </a:lnTo>
                  <a:lnTo>
                    <a:pt x="212" y="484"/>
                  </a:lnTo>
                  <a:lnTo>
                    <a:pt x="212" y="484"/>
                  </a:lnTo>
                  <a:lnTo>
                    <a:pt x="215" y="484"/>
                  </a:lnTo>
                  <a:lnTo>
                    <a:pt x="215" y="484"/>
                  </a:lnTo>
                  <a:lnTo>
                    <a:pt x="218" y="483"/>
                  </a:lnTo>
                  <a:lnTo>
                    <a:pt x="220" y="480"/>
                  </a:lnTo>
                  <a:lnTo>
                    <a:pt x="220" y="480"/>
                  </a:lnTo>
                  <a:lnTo>
                    <a:pt x="222" y="479"/>
                  </a:lnTo>
                  <a:lnTo>
                    <a:pt x="225" y="482"/>
                  </a:lnTo>
                  <a:lnTo>
                    <a:pt x="226" y="484"/>
                  </a:lnTo>
                  <a:lnTo>
                    <a:pt x="226" y="489"/>
                  </a:lnTo>
                  <a:lnTo>
                    <a:pt x="226" y="489"/>
                  </a:lnTo>
                  <a:lnTo>
                    <a:pt x="226" y="491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30" y="489"/>
                  </a:lnTo>
                  <a:lnTo>
                    <a:pt x="230" y="489"/>
                  </a:lnTo>
                  <a:lnTo>
                    <a:pt x="233" y="484"/>
                  </a:lnTo>
                  <a:lnTo>
                    <a:pt x="236" y="482"/>
                  </a:lnTo>
                  <a:lnTo>
                    <a:pt x="241" y="479"/>
                  </a:lnTo>
                  <a:lnTo>
                    <a:pt x="241" y="479"/>
                  </a:lnTo>
                  <a:lnTo>
                    <a:pt x="244" y="478"/>
                  </a:lnTo>
                  <a:lnTo>
                    <a:pt x="245" y="478"/>
                  </a:lnTo>
                  <a:lnTo>
                    <a:pt x="254" y="482"/>
                  </a:lnTo>
                  <a:lnTo>
                    <a:pt x="254" y="482"/>
                  </a:lnTo>
                  <a:lnTo>
                    <a:pt x="258" y="482"/>
                  </a:lnTo>
                  <a:lnTo>
                    <a:pt x="262" y="482"/>
                  </a:lnTo>
                  <a:lnTo>
                    <a:pt x="266" y="482"/>
                  </a:lnTo>
                  <a:lnTo>
                    <a:pt x="272" y="486"/>
                  </a:lnTo>
                  <a:lnTo>
                    <a:pt x="272" y="486"/>
                  </a:lnTo>
                  <a:lnTo>
                    <a:pt x="277" y="484"/>
                  </a:lnTo>
                  <a:lnTo>
                    <a:pt x="277" y="484"/>
                  </a:lnTo>
                  <a:lnTo>
                    <a:pt x="280" y="482"/>
                  </a:lnTo>
                  <a:lnTo>
                    <a:pt x="284" y="478"/>
                  </a:lnTo>
                  <a:lnTo>
                    <a:pt x="284" y="478"/>
                  </a:lnTo>
                  <a:lnTo>
                    <a:pt x="287" y="473"/>
                  </a:lnTo>
                  <a:lnTo>
                    <a:pt x="288" y="472"/>
                  </a:lnTo>
                  <a:lnTo>
                    <a:pt x="291" y="471"/>
                  </a:lnTo>
                  <a:lnTo>
                    <a:pt x="291" y="471"/>
                  </a:lnTo>
                  <a:lnTo>
                    <a:pt x="294" y="471"/>
                  </a:lnTo>
                  <a:lnTo>
                    <a:pt x="297" y="469"/>
                  </a:lnTo>
                  <a:lnTo>
                    <a:pt x="300" y="466"/>
                  </a:lnTo>
                  <a:lnTo>
                    <a:pt x="305" y="462"/>
                  </a:lnTo>
                  <a:lnTo>
                    <a:pt x="305" y="462"/>
                  </a:lnTo>
                  <a:lnTo>
                    <a:pt x="311" y="461"/>
                  </a:lnTo>
                  <a:lnTo>
                    <a:pt x="315" y="462"/>
                  </a:lnTo>
                  <a:lnTo>
                    <a:pt x="320" y="462"/>
                  </a:lnTo>
                  <a:lnTo>
                    <a:pt x="323" y="462"/>
                  </a:lnTo>
                  <a:lnTo>
                    <a:pt x="323" y="462"/>
                  </a:lnTo>
                  <a:lnTo>
                    <a:pt x="329" y="459"/>
                  </a:lnTo>
                  <a:lnTo>
                    <a:pt x="330" y="459"/>
                  </a:lnTo>
                  <a:lnTo>
                    <a:pt x="331" y="461"/>
                  </a:lnTo>
                  <a:lnTo>
                    <a:pt x="331" y="461"/>
                  </a:lnTo>
                  <a:lnTo>
                    <a:pt x="331" y="464"/>
                  </a:lnTo>
                  <a:lnTo>
                    <a:pt x="334" y="466"/>
                  </a:lnTo>
                  <a:lnTo>
                    <a:pt x="337" y="471"/>
                  </a:lnTo>
                  <a:lnTo>
                    <a:pt x="337" y="471"/>
                  </a:lnTo>
                  <a:lnTo>
                    <a:pt x="338" y="473"/>
                  </a:lnTo>
                  <a:lnTo>
                    <a:pt x="341" y="475"/>
                  </a:lnTo>
                  <a:lnTo>
                    <a:pt x="347" y="476"/>
                  </a:lnTo>
                  <a:lnTo>
                    <a:pt x="347" y="476"/>
                  </a:lnTo>
                  <a:lnTo>
                    <a:pt x="349" y="475"/>
                  </a:lnTo>
                  <a:lnTo>
                    <a:pt x="349" y="475"/>
                  </a:lnTo>
                  <a:lnTo>
                    <a:pt x="352" y="473"/>
                  </a:lnTo>
                  <a:lnTo>
                    <a:pt x="355" y="475"/>
                  </a:lnTo>
                  <a:lnTo>
                    <a:pt x="358" y="476"/>
                  </a:lnTo>
                  <a:lnTo>
                    <a:pt x="359" y="479"/>
                  </a:lnTo>
                  <a:lnTo>
                    <a:pt x="359" y="479"/>
                  </a:lnTo>
                  <a:lnTo>
                    <a:pt x="359" y="484"/>
                  </a:lnTo>
                  <a:lnTo>
                    <a:pt x="361" y="487"/>
                  </a:lnTo>
                  <a:lnTo>
                    <a:pt x="363" y="487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8" y="489"/>
                  </a:lnTo>
                  <a:lnTo>
                    <a:pt x="369" y="491"/>
                  </a:lnTo>
                  <a:lnTo>
                    <a:pt x="369" y="496"/>
                  </a:lnTo>
                  <a:lnTo>
                    <a:pt x="369" y="496"/>
                  </a:lnTo>
                  <a:lnTo>
                    <a:pt x="369" y="507"/>
                  </a:lnTo>
                  <a:lnTo>
                    <a:pt x="369" y="514"/>
                  </a:lnTo>
                  <a:lnTo>
                    <a:pt x="365" y="518"/>
                  </a:lnTo>
                  <a:lnTo>
                    <a:pt x="365" y="518"/>
                  </a:lnTo>
                  <a:lnTo>
                    <a:pt x="361" y="523"/>
                  </a:lnTo>
                  <a:lnTo>
                    <a:pt x="356" y="530"/>
                  </a:lnTo>
                  <a:lnTo>
                    <a:pt x="352" y="536"/>
                  </a:lnTo>
                  <a:lnTo>
                    <a:pt x="352" y="540"/>
                  </a:lnTo>
                  <a:lnTo>
                    <a:pt x="352" y="540"/>
                  </a:lnTo>
                  <a:lnTo>
                    <a:pt x="352" y="543"/>
                  </a:lnTo>
                  <a:lnTo>
                    <a:pt x="352" y="546"/>
                  </a:lnTo>
                  <a:lnTo>
                    <a:pt x="352" y="548"/>
                  </a:lnTo>
                  <a:lnTo>
                    <a:pt x="355" y="548"/>
                  </a:lnTo>
                  <a:lnTo>
                    <a:pt x="355" y="548"/>
                  </a:lnTo>
                  <a:lnTo>
                    <a:pt x="359" y="547"/>
                  </a:lnTo>
                  <a:lnTo>
                    <a:pt x="365" y="547"/>
                  </a:lnTo>
                  <a:lnTo>
                    <a:pt x="369" y="548"/>
                  </a:lnTo>
                  <a:lnTo>
                    <a:pt x="369" y="550"/>
                  </a:lnTo>
                  <a:lnTo>
                    <a:pt x="369" y="551"/>
                  </a:lnTo>
                  <a:lnTo>
                    <a:pt x="369" y="551"/>
                  </a:lnTo>
                  <a:lnTo>
                    <a:pt x="369" y="554"/>
                  </a:lnTo>
                  <a:lnTo>
                    <a:pt x="369" y="558"/>
                  </a:lnTo>
                  <a:lnTo>
                    <a:pt x="372" y="562"/>
                  </a:lnTo>
                  <a:lnTo>
                    <a:pt x="374" y="564"/>
                  </a:lnTo>
                  <a:lnTo>
                    <a:pt x="374" y="564"/>
                  </a:lnTo>
                  <a:lnTo>
                    <a:pt x="377" y="564"/>
                  </a:lnTo>
                  <a:lnTo>
                    <a:pt x="380" y="565"/>
                  </a:lnTo>
                  <a:lnTo>
                    <a:pt x="380" y="568"/>
                  </a:lnTo>
                  <a:lnTo>
                    <a:pt x="380" y="571"/>
                  </a:lnTo>
                  <a:lnTo>
                    <a:pt x="380" y="571"/>
                  </a:lnTo>
                  <a:lnTo>
                    <a:pt x="379" y="577"/>
                  </a:lnTo>
                  <a:lnTo>
                    <a:pt x="379" y="580"/>
                  </a:lnTo>
                  <a:lnTo>
                    <a:pt x="380" y="580"/>
                  </a:lnTo>
                  <a:lnTo>
                    <a:pt x="380" y="580"/>
                  </a:lnTo>
                  <a:lnTo>
                    <a:pt x="386" y="582"/>
                  </a:lnTo>
                  <a:lnTo>
                    <a:pt x="388" y="583"/>
                  </a:lnTo>
                  <a:lnTo>
                    <a:pt x="388" y="584"/>
                  </a:lnTo>
                  <a:lnTo>
                    <a:pt x="388" y="584"/>
                  </a:lnTo>
                  <a:lnTo>
                    <a:pt x="388" y="589"/>
                  </a:lnTo>
                  <a:lnTo>
                    <a:pt x="391" y="590"/>
                  </a:lnTo>
                  <a:lnTo>
                    <a:pt x="394" y="591"/>
                  </a:lnTo>
                  <a:lnTo>
                    <a:pt x="398" y="590"/>
                  </a:lnTo>
                  <a:lnTo>
                    <a:pt x="398" y="590"/>
                  </a:lnTo>
                  <a:lnTo>
                    <a:pt x="404" y="589"/>
                  </a:lnTo>
                  <a:lnTo>
                    <a:pt x="405" y="589"/>
                  </a:lnTo>
                  <a:lnTo>
                    <a:pt x="405" y="589"/>
                  </a:lnTo>
                  <a:lnTo>
                    <a:pt x="405" y="589"/>
                  </a:lnTo>
                  <a:lnTo>
                    <a:pt x="408" y="590"/>
                  </a:lnTo>
                  <a:lnTo>
                    <a:pt x="409" y="591"/>
                  </a:lnTo>
                  <a:lnTo>
                    <a:pt x="411" y="594"/>
                  </a:lnTo>
                  <a:lnTo>
                    <a:pt x="413" y="596"/>
                  </a:lnTo>
                  <a:lnTo>
                    <a:pt x="413" y="596"/>
                  </a:lnTo>
                  <a:lnTo>
                    <a:pt x="415" y="596"/>
                  </a:lnTo>
                  <a:lnTo>
                    <a:pt x="416" y="596"/>
                  </a:lnTo>
                  <a:lnTo>
                    <a:pt x="416" y="591"/>
                  </a:lnTo>
                  <a:lnTo>
                    <a:pt x="415" y="587"/>
                  </a:lnTo>
                  <a:lnTo>
                    <a:pt x="413" y="583"/>
                  </a:lnTo>
                  <a:lnTo>
                    <a:pt x="413" y="583"/>
                  </a:lnTo>
                  <a:lnTo>
                    <a:pt x="413" y="582"/>
                  </a:lnTo>
                  <a:lnTo>
                    <a:pt x="413" y="579"/>
                  </a:lnTo>
                  <a:lnTo>
                    <a:pt x="415" y="576"/>
                  </a:lnTo>
                  <a:lnTo>
                    <a:pt x="416" y="576"/>
                  </a:lnTo>
                  <a:lnTo>
                    <a:pt x="416" y="576"/>
                  </a:lnTo>
                  <a:lnTo>
                    <a:pt x="419" y="576"/>
                  </a:lnTo>
                  <a:lnTo>
                    <a:pt x="422" y="576"/>
                  </a:lnTo>
                  <a:lnTo>
                    <a:pt x="424" y="575"/>
                  </a:lnTo>
                  <a:lnTo>
                    <a:pt x="427" y="572"/>
                  </a:lnTo>
                  <a:lnTo>
                    <a:pt x="427" y="572"/>
                  </a:lnTo>
                  <a:lnTo>
                    <a:pt x="429" y="571"/>
                  </a:lnTo>
                  <a:lnTo>
                    <a:pt x="430" y="571"/>
                  </a:lnTo>
                  <a:lnTo>
                    <a:pt x="433" y="572"/>
                  </a:lnTo>
                  <a:lnTo>
                    <a:pt x="436" y="572"/>
                  </a:lnTo>
                  <a:lnTo>
                    <a:pt x="437" y="572"/>
                  </a:lnTo>
                  <a:lnTo>
                    <a:pt x="438" y="571"/>
                  </a:lnTo>
                  <a:lnTo>
                    <a:pt x="438" y="571"/>
                  </a:lnTo>
                  <a:lnTo>
                    <a:pt x="440" y="569"/>
                  </a:lnTo>
                  <a:lnTo>
                    <a:pt x="441" y="569"/>
                  </a:lnTo>
                  <a:lnTo>
                    <a:pt x="444" y="571"/>
                  </a:lnTo>
                  <a:lnTo>
                    <a:pt x="448" y="572"/>
                  </a:lnTo>
                  <a:lnTo>
                    <a:pt x="452" y="571"/>
                  </a:lnTo>
                  <a:lnTo>
                    <a:pt x="452" y="571"/>
                  </a:lnTo>
                  <a:lnTo>
                    <a:pt x="456" y="569"/>
                  </a:lnTo>
                  <a:lnTo>
                    <a:pt x="459" y="571"/>
                  </a:lnTo>
                  <a:lnTo>
                    <a:pt x="461" y="571"/>
                  </a:lnTo>
                  <a:lnTo>
                    <a:pt x="463" y="569"/>
                  </a:lnTo>
                  <a:lnTo>
                    <a:pt x="463" y="569"/>
                  </a:lnTo>
                  <a:lnTo>
                    <a:pt x="465" y="565"/>
                  </a:lnTo>
                  <a:lnTo>
                    <a:pt x="469" y="562"/>
                  </a:lnTo>
                  <a:lnTo>
                    <a:pt x="473" y="561"/>
                  </a:lnTo>
                  <a:lnTo>
                    <a:pt x="474" y="561"/>
                  </a:lnTo>
                  <a:lnTo>
                    <a:pt x="474" y="561"/>
                  </a:lnTo>
                  <a:lnTo>
                    <a:pt x="479" y="565"/>
                  </a:lnTo>
                  <a:lnTo>
                    <a:pt x="483" y="566"/>
                  </a:lnTo>
                  <a:lnTo>
                    <a:pt x="488" y="568"/>
                  </a:lnTo>
                  <a:lnTo>
                    <a:pt x="488" y="568"/>
                  </a:lnTo>
                  <a:lnTo>
                    <a:pt x="492" y="569"/>
                  </a:lnTo>
                  <a:lnTo>
                    <a:pt x="494" y="572"/>
                  </a:lnTo>
                  <a:lnTo>
                    <a:pt x="492" y="577"/>
                  </a:lnTo>
                  <a:lnTo>
                    <a:pt x="492" y="577"/>
                  </a:lnTo>
                  <a:lnTo>
                    <a:pt x="494" y="580"/>
                  </a:lnTo>
                  <a:lnTo>
                    <a:pt x="498" y="583"/>
                  </a:lnTo>
                  <a:lnTo>
                    <a:pt x="504" y="587"/>
                  </a:lnTo>
                  <a:lnTo>
                    <a:pt x="508" y="589"/>
                  </a:lnTo>
                  <a:lnTo>
                    <a:pt x="508" y="589"/>
                  </a:lnTo>
                  <a:lnTo>
                    <a:pt x="511" y="591"/>
                  </a:lnTo>
                  <a:lnTo>
                    <a:pt x="511" y="591"/>
                  </a:lnTo>
                  <a:lnTo>
                    <a:pt x="513" y="591"/>
                  </a:lnTo>
                  <a:lnTo>
                    <a:pt x="516" y="591"/>
                  </a:lnTo>
                  <a:lnTo>
                    <a:pt x="519" y="590"/>
                  </a:lnTo>
                  <a:lnTo>
                    <a:pt x="520" y="589"/>
                  </a:lnTo>
                  <a:lnTo>
                    <a:pt x="520" y="589"/>
                  </a:lnTo>
                  <a:lnTo>
                    <a:pt x="522" y="586"/>
                  </a:lnTo>
                  <a:lnTo>
                    <a:pt x="524" y="586"/>
                  </a:lnTo>
                  <a:lnTo>
                    <a:pt x="527" y="587"/>
                  </a:lnTo>
                  <a:lnTo>
                    <a:pt x="529" y="589"/>
                  </a:lnTo>
                  <a:lnTo>
                    <a:pt x="529" y="589"/>
                  </a:lnTo>
                  <a:lnTo>
                    <a:pt x="531" y="591"/>
                  </a:lnTo>
                  <a:lnTo>
                    <a:pt x="533" y="591"/>
                  </a:lnTo>
                  <a:lnTo>
                    <a:pt x="536" y="591"/>
                  </a:lnTo>
                  <a:lnTo>
                    <a:pt x="538" y="589"/>
                  </a:lnTo>
                  <a:lnTo>
                    <a:pt x="538" y="589"/>
                  </a:lnTo>
                  <a:lnTo>
                    <a:pt x="540" y="589"/>
                  </a:lnTo>
                  <a:lnTo>
                    <a:pt x="541" y="589"/>
                  </a:lnTo>
                  <a:lnTo>
                    <a:pt x="542" y="590"/>
                  </a:lnTo>
                  <a:lnTo>
                    <a:pt x="544" y="593"/>
                  </a:lnTo>
                  <a:lnTo>
                    <a:pt x="542" y="596"/>
                  </a:lnTo>
                  <a:lnTo>
                    <a:pt x="542" y="596"/>
                  </a:lnTo>
                  <a:lnTo>
                    <a:pt x="541" y="598"/>
                  </a:lnTo>
                  <a:lnTo>
                    <a:pt x="541" y="601"/>
                  </a:lnTo>
                  <a:lnTo>
                    <a:pt x="542" y="605"/>
                  </a:lnTo>
                  <a:lnTo>
                    <a:pt x="545" y="609"/>
                  </a:lnTo>
                  <a:lnTo>
                    <a:pt x="545" y="609"/>
                  </a:lnTo>
                  <a:lnTo>
                    <a:pt x="548" y="611"/>
                  </a:lnTo>
                  <a:lnTo>
                    <a:pt x="549" y="609"/>
                  </a:lnTo>
                  <a:lnTo>
                    <a:pt x="551" y="605"/>
                  </a:lnTo>
                  <a:lnTo>
                    <a:pt x="549" y="602"/>
                  </a:lnTo>
                  <a:lnTo>
                    <a:pt x="549" y="602"/>
                  </a:lnTo>
                  <a:lnTo>
                    <a:pt x="551" y="600"/>
                  </a:lnTo>
                  <a:lnTo>
                    <a:pt x="555" y="596"/>
                  </a:lnTo>
                  <a:lnTo>
                    <a:pt x="562" y="593"/>
                  </a:lnTo>
                  <a:lnTo>
                    <a:pt x="572" y="590"/>
                  </a:lnTo>
                  <a:lnTo>
                    <a:pt x="572" y="590"/>
                  </a:lnTo>
                  <a:lnTo>
                    <a:pt x="583" y="584"/>
                  </a:lnTo>
                  <a:lnTo>
                    <a:pt x="592" y="579"/>
                  </a:lnTo>
                  <a:lnTo>
                    <a:pt x="599" y="575"/>
                  </a:lnTo>
                  <a:lnTo>
                    <a:pt x="602" y="572"/>
                  </a:lnTo>
                  <a:lnTo>
                    <a:pt x="602" y="572"/>
                  </a:lnTo>
                  <a:lnTo>
                    <a:pt x="605" y="571"/>
                  </a:lnTo>
                  <a:lnTo>
                    <a:pt x="608" y="572"/>
                  </a:lnTo>
                  <a:lnTo>
                    <a:pt x="613" y="573"/>
                  </a:lnTo>
                  <a:lnTo>
                    <a:pt x="616" y="573"/>
                  </a:lnTo>
                  <a:lnTo>
                    <a:pt x="617" y="572"/>
                  </a:lnTo>
                  <a:lnTo>
                    <a:pt x="617" y="572"/>
                  </a:lnTo>
                  <a:lnTo>
                    <a:pt x="623" y="569"/>
                  </a:lnTo>
                  <a:lnTo>
                    <a:pt x="631" y="569"/>
                  </a:lnTo>
                  <a:lnTo>
                    <a:pt x="645" y="568"/>
                  </a:lnTo>
                  <a:lnTo>
                    <a:pt x="645" y="568"/>
                  </a:lnTo>
                  <a:lnTo>
                    <a:pt x="648" y="566"/>
                  </a:lnTo>
                  <a:lnTo>
                    <a:pt x="649" y="565"/>
                  </a:lnTo>
                  <a:lnTo>
                    <a:pt x="654" y="559"/>
                  </a:lnTo>
                  <a:lnTo>
                    <a:pt x="654" y="559"/>
                  </a:lnTo>
                  <a:lnTo>
                    <a:pt x="659" y="555"/>
                  </a:lnTo>
                  <a:lnTo>
                    <a:pt x="660" y="554"/>
                  </a:lnTo>
                  <a:lnTo>
                    <a:pt x="663" y="552"/>
                  </a:lnTo>
                  <a:lnTo>
                    <a:pt x="663" y="552"/>
                  </a:lnTo>
                  <a:lnTo>
                    <a:pt x="667" y="550"/>
                  </a:lnTo>
                  <a:lnTo>
                    <a:pt x="670" y="548"/>
                  </a:lnTo>
                  <a:lnTo>
                    <a:pt x="672" y="546"/>
                  </a:lnTo>
                  <a:lnTo>
                    <a:pt x="673" y="543"/>
                  </a:lnTo>
                  <a:lnTo>
                    <a:pt x="673" y="543"/>
                  </a:lnTo>
                  <a:lnTo>
                    <a:pt x="674" y="541"/>
                  </a:lnTo>
                  <a:lnTo>
                    <a:pt x="677" y="540"/>
                  </a:lnTo>
                  <a:lnTo>
                    <a:pt x="681" y="537"/>
                  </a:lnTo>
                  <a:lnTo>
                    <a:pt x="683" y="536"/>
                  </a:lnTo>
                  <a:lnTo>
                    <a:pt x="683" y="536"/>
                  </a:lnTo>
                  <a:lnTo>
                    <a:pt x="684" y="534"/>
                  </a:lnTo>
                  <a:lnTo>
                    <a:pt x="687" y="532"/>
                  </a:lnTo>
                  <a:lnTo>
                    <a:pt x="690" y="530"/>
                  </a:lnTo>
                  <a:lnTo>
                    <a:pt x="691" y="529"/>
                  </a:lnTo>
                  <a:lnTo>
                    <a:pt x="691" y="529"/>
                  </a:lnTo>
                  <a:lnTo>
                    <a:pt x="691" y="526"/>
                  </a:lnTo>
                  <a:lnTo>
                    <a:pt x="694" y="525"/>
                  </a:lnTo>
                  <a:lnTo>
                    <a:pt x="695" y="525"/>
                  </a:lnTo>
                  <a:lnTo>
                    <a:pt x="698" y="522"/>
                  </a:lnTo>
                  <a:lnTo>
                    <a:pt x="698" y="522"/>
                  </a:lnTo>
                  <a:lnTo>
                    <a:pt x="698" y="519"/>
                  </a:lnTo>
                  <a:lnTo>
                    <a:pt x="698" y="516"/>
                  </a:lnTo>
                  <a:lnTo>
                    <a:pt x="698" y="512"/>
                  </a:lnTo>
                  <a:lnTo>
                    <a:pt x="699" y="511"/>
                  </a:lnTo>
                  <a:lnTo>
                    <a:pt x="699" y="511"/>
                  </a:lnTo>
                  <a:lnTo>
                    <a:pt x="701" y="509"/>
                  </a:lnTo>
                  <a:lnTo>
                    <a:pt x="701" y="507"/>
                  </a:lnTo>
                  <a:lnTo>
                    <a:pt x="698" y="503"/>
                  </a:lnTo>
                  <a:lnTo>
                    <a:pt x="698" y="503"/>
                  </a:lnTo>
                  <a:lnTo>
                    <a:pt x="698" y="501"/>
                  </a:lnTo>
                  <a:lnTo>
                    <a:pt x="701" y="501"/>
                  </a:lnTo>
                  <a:lnTo>
                    <a:pt x="709" y="498"/>
                  </a:lnTo>
                  <a:lnTo>
                    <a:pt x="709" y="498"/>
                  </a:lnTo>
                  <a:lnTo>
                    <a:pt x="713" y="493"/>
                  </a:lnTo>
                  <a:lnTo>
                    <a:pt x="716" y="487"/>
                  </a:lnTo>
                  <a:lnTo>
                    <a:pt x="716" y="487"/>
                  </a:lnTo>
                  <a:lnTo>
                    <a:pt x="717" y="483"/>
                  </a:lnTo>
                  <a:lnTo>
                    <a:pt x="720" y="480"/>
                  </a:lnTo>
                  <a:lnTo>
                    <a:pt x="726" y="478"/>
                  </a:lnTo>
                  <a:lnTo>
                    <a:pt x="726" y="478"/>
                  </a:lnTo>
                  <a:lnTo>
                    <a:pt x="727" y="476"/>
                  </a:lnTo>
                  <a:lnTo>
                    <a:pt x="729" y="472"/>
                  </a:lnTo>
                  <a:lnTo>
                    <a:pt x="729" y="465"/>
                  </a:lnTo>
                  <a:lnTo>
                    <a:pt x="729" y="465"/>
                  </a:lnTo>
                  <a:lnTo>
                    <a:pt x="730" y="462"/>
                  </a:lnTo>
                  <a:lnTo>
                    <a:pt x="731" y="461"/>
                  </a:lnTo>
                  <a:lnTo>
                    <a:pt x="733" y="459"/>
                  </a:lnTo>
                  <a:lnTo>
                    <a:pt x="731" y="458"/>
                  </a:lnTo>
                  <a:lnTo>
                    <a:pt x="731" y="458"/>
                  </a:lnTo>
                  <a:lnTo>
                    <a:pt x="731" y="457"/>
                  </a:lnTo>
                  <a:lnTo>
                    <a:pt x="731" y="454"/>
                  </a:lnTo>
                  <a:lnTo>
                    <a:pt x="734" y="451"/>
                  </a:lnTo>
                  <a:lnTo>
                    <a:pt x="738" y="450"/>
                  </a:lnTo>
                  <a:lnTo>
                    <a:pt x="738" y="450"/>
                  </a:lnTo>
                  <a:lnTo>
                    <a:pt x="740" y="448"/>
                  </a:lnTo>
                  <a:lnTo>
                    <a:pt x="738" y="447"/>
                  </a:lnTo>
                  <a:lnTo>
                    <a:pt x="735" y="447"/>
                  </a:lnTo>
                  <a:lnTo>
                    <a:pt x="731" y="447"/>
                  </a:lnTo>
                  <a:lnTo>
                    <a:pt x="731" y="447"/>
                  </a:lnTo>
                  <a:lnTo>
                    <a:pt x="731" y="447"/>
                  </a:lnTo>
                  <a:lnTo>
                    <a:pt x="730" y="447"/>
                  </a:lnTo>
                  <a:lnTo>
                    <a:pt x="727" y="446"/>
                  </a:lnTo>
                  <a:lnTo>
                    <a:pt x="724" y="443"/>
                  </a:lnTo>
                  <a:lnTo>
                    <a:pt x="724" y="443"/>
                  </a:lnTo>
                  <a:lnTo>
                    <a:pt x="723" y="444"/>
                  </a:lnTo>
                  <a:lnTo>
                    <a:pt x="723" y="444"/>
                  </a:lnTo>
                  <a:lnTo>
                    <a:pt x="720" y="446"/>
                  </a:lnTo>
                  <a:lnTo>
                    <a:pt x="717" y="444"/>
                  </a:lnTo>
                  <a:lnTo>
                    <a:pt x="716" y="443"/>
                  </a:lnTo>
                  <a:lnTo>
                    <a:pt x="716" y="441"/>
                  </a:lnTo>
                  <a:lnTo>
                    <a:pt x="717" y="441"/>
                  </a:lnTo>
                  <a:lnTo>
                    <a:pt x="717" y="441"/>
                  </a:lnTo>
                  <a:lnTo>
                    <a:pt x="726" y="437"/>
                  </a:lnTo>
                  <a:lnTo>
                    <a:pt x="734" y="433"/>
                  </a:lnTo>
                  <a:lnTo>
                    <a:pt x="734" y="433"/>
                  </a:lnTo>
                  <a:lnTo>
                    <a:pt x="734" y="432"/>
                  </a:lnTo>
                  <a:lnTo>
                    <a:pt x="734" y="430"/>
                  </a:lnTo>
                  <a:lnTo>
                    <a:pt x="731" y="428"/>
                  </a:lnTo>
                  <a:lnTo>
                    <a:pt x="729" y="425"/>
                  </a:lnTo>
                  <a:lnTo>
                    <a:pt x="724" y="425"/>
                  </a:lnTo>
                  <a:lnTo>
                    <a:pt x="724" y="425"/>
                  </a:lnTo>
                  <a:lnTo>
                    <a:pt x="720" y="422"/>
                  </a:lnTo>
                  <a:lnTo>
                    <a:pt x="717" y="419"/>
                  </a:lnTo>
                  <a:lnTo>
                    <a:pt x="713" y="415"/>
                  </a:lnTo>
                  <a:lnTo>
                    <a:pt x="710" y="414"/>
                  </a:lnTo>
                  <a:lnTo>
                    <a:pt x="710" y="414"/>
                  </a:lnTo>
                  <a:lnTo>
                    <a:pt x="709" y="414"/>
                  </a:lnTo>
                  <a:lnTo>
                    <a:pt x="710" y="412"/>
                  </a:lnTo>
                  <a:lnTo>
                    <a:pt x="715" y="412"/>
                  </a:lnTo>
                  <a:lnTo>
                    <a:pt x="719" y="414"/>
                  </a:lnTo>
                  <a:lnTo>
                    <a:pt x="719" y="414"/>
                  </a:lnTo>
                  <a:lnTo>
                    <a:pt x="727" y="416"/>
                  </a:lnTo>
                  <a:lnTo>
                    <a:pt x="730" y="418"/>
                  </a:lnTo>
                  <a:lnTo>
                    <a:pt x="733" y="416"/>
                  </a:lnTo>
                  <a:lnTo>
                    <a:pt x="733" y="416"/>
                  </a:lnTo>
                  <a:lnTo>
                    <a:pt x="733" y="415"/>
                  </a:lnTo>
                  <a:lnTo>
                    <a:pt x="733" y="414"/>
                  </a:lnTo>
                  <a:lnTo>
                    <a:pt x="729" y="410"/>
                  </a:lnTo>
                  <a:lnTo>
                    <a:pt x="720" y="401"/>
                  </a:lnTo>
                  <a:lnTo>
                    <a:pt x="720" y="401"/>
                  </a:lnTo>
                  <a:lnTo>
                    <a:pt x="717" y="398"/>
                  </a:lnTo>
                  <a:lnTo>
                    <a:pt x="717" y="396"/>
                  </a:lnTo>
                  <a:lnTo>
                    <a:pt x="717" y="394"/>
                  </a:lnTo>
                  <a:lnTo>
                    <a:pt x="717" y="391"/>
                  </a:lnTo>
                  <a:lnTo>
                    <a:pt x="717" y="391"/>
                  </a:lnTo>
                  <a:lnTo>
                    <a:pt x="715" y="389"/>
                  </a:lnTo>
                  <a:lnTo>
                    <a:pt x="712" y="383"/>
                  </a:lnTo>
                  <a:lnTo>
                    <a:pt x="708" y="373"/>
                  </a:lnTo>
                  <a:lnTo>
                    <a:pt x="708" y="373"/>
                  </a:lnTo>
                  <a:lnTo>
                    <a:pt x="705" y="369"/>
                  </a:lnTo>
                  <a:lnTo>
                    <a:pt x="701" y="368"/>
                  </a:lnTo>
                  <a:lnTo>
                    <a:pt x="697" y="365"/>
                  </a:lnTo>
                  <a:lnTo>
                    <a:pt x="694" y="364"/>
                  </a:lnTo>
                  <a:lnTo>
                    <a:pt x="694" y="364"/>
                  </a:lnTo>
                  <a:lnTo>
                    <a:pt x="692" y="360"/>
                  </a:lnTo>
                  <a:lnTo>
                    <a:pt x="694" y="355"/>
                  </a:lnTo>
                  <a:lnTo>
                    <a:pt x="697" y="351"/>
                  </a:lnTo>
                  <a:lnTo>
                    <a:pt x="701" y="348"/>
                  </a:lnTo>
                  <a:lnTo>
                    <a:pt x="701" y="348"/>
                  </a:lnTo>
                  <a:lnTo>
                    <a:pt x="705" y="346"/>
                  </a:lnTo>
                  <a:lnTo>
                    <a:pt x="706" y="343"/>
                  </a:lnTo>
                  <a:lnTo>
                    <a:pt x="706" y="341"/>
                  </a:lnTo>
                  <a:lnTo>
                    <a:pt x="708" y="340"/>
                  </a:lnTo>
                  <a:lnTo>
                    <a:pt x="708" y="340"/>
                  </a:lnTo>
                  <a:lnTo>
                    <a:pt x="710" y="340"/>
                  </a:lnTo>
                  <a:lnTo>
                    <a:pt x="712" y="340"/>
                  </a:lnTo>
                  <a:lnTo>
                    <a:pt x="715" y="337"/>
                  </a:lnTo>
                  <a:lnTo>
                    <a:pt x="716" y="335"/>
                  </a:lnTo>
                  <a:lnTo>
                    <a:pt x="716" y="335"/>
                  </a:lnTo>
                  <a:lnTo>
                    <a:pt x="719" y="332"/>
                  </a:lnTo>
                  <a:lnTo>
                    <a:pt x="722" y="330"/>
                  </a:lnTo>
                  <a:lnTo>
                    <a:pt x="724" y="330"/>
                  </a:lnTo>
                  <a:lnTo>
                    <a:pt x="726" y="329"/>
                  </a:lnTo>
                  <a:lnTo>
                    <a:pt x="726" y="329"/>
                  </a:lnTo>
                  <a:lnTo>
                    <a:pt x="730" y="328"/>
                  </a:lnTo>
                  <a:lnTo>
                    <a:pt x="734" y="326"/>
                  </a:lnTo>
                  <a:lnTo>
                    <a:pt x="740" y="326"/>
                  </a:lnTo>
                  <a:lnTo>
                    <a:pt x="744" y="325"/>
                  </a:lnTo>
                  <a:lnTo>
                    <a:pt x="744" y="325"/>
                  </a:lnTo>
                  <a:lnTo>
                    <a:pt x="745" y="323"/>
                  </a:lnTo>
                  <a:lnTo>
                    <a:pt x="745" y="321"/>
                  </a:lnTo>
                  <a:lnTo>
                    <a:pt x="742" y="318"/>
                  </a:lnTo>
                  <a:lnTo>
                    <a:pt x="740" y="315"/>
                  </a:lnTo>
                  <a:lnTo>
                    <a:pt x="735" y="314"/>
                  </a:lnTo>
                  <a:lnTo>
                    <a:pt x="735" y="314"/>
                  </a:lnTo>
                  <a:lnTo>
                    <a:pt x="731" y="315"/>
                  </a:lnTo>
                  <a:lnTo>
                    <a:pt x="727" y="314"/>
                  </a:lnTo>
                  <a:lnTo>
                    <a:pt x="723" y="311"/>
                  </a:lnTo>
                  <a:lnTo>
                    <a:pt x="720" y="308"/>
                  </a:lnTo>
                  <a:lnTo>
                    <a:pt x="720" y="308"/>
                  </a:lnTo>
                  <a:lnTo>
                    <a:pt x="717" y="307"/>
                  </a:lnTo>
                  <a:lnTo>
                    <a:pt x="716" y="307"/>
                  </a:lnTo>
                  <a:lnTo>
                    <a:pt x="710" y="311"/>
                  </a:lnTo>
                  <a:lnTo>
                    <a:pt x="705" y="318"/>
                  </a:lnTo>
                  <a:lnTo>
                    <a:pt x="699" y="322"/>
                  </a:lnTo>
                  <a:lnTo>
                    <a:pt x="699" y="322"/>
                  </a:lnTo>
                  <a:lnTo>
                    <a:pt x="697" y="322"/>
                  </a:lnTo>
                  <a:lnTo>
                    <a:pt x="694" y="322"/>
                  </a:lnTo>
                  <a:lnTo>
                    <a:pt x="690" y="319"/>
                  </a:lnTo>
                  <a:lnTo>
                    <a:pt x="688" y="314"/>
                  </a:lnTo>
                  <a:lnTo>
                    <a:pt x="690" y="310"/>
                  </a:lnTo>
                  <a:lnTo>
                    <a:pt x="690" y="310"/>
                  </a:lnTo>
                  <a:lnTo>
                    <a:pt x="690" y="307"/>
                  </a:lnTo>
                  <a:lnTo>
                    <a:pt x="690" y="305"/>
                  </a:lnTo>
                  <a:lnTo>
                    <a:pt x="685" y="304"/>
                  </a:lnTo>
                  <a:lnTo>
                    <a:pt x="680" y="304"/>
                  </a:lnTo>
                  <a:lnTo>
                    <a:pt x="673" y="304"/>
                  </a:lnTo>
                  <a:lnTo>
                    <a:pt x="673" y="304"/>
                  </a:lnTo>
                  <a:lnTo>
                    <a:pt x="670" y="303"/>
                  </a:lnTo>
                  <a:lnTo>
                    <a:pt x="667" y="301"/>
                  </a:lnTo>
                  <a:lnTo>
                    <a:pt x="666" y="298"/>
                  </a:lnTo>
                  <a:lnTo>
                    <a:pt x="666" y="294"/>
                  </a:lnTo>
                  <a:lnTo>
                    <a:pt x="669" y="287"/>
                  </a:lnTo>
                  <a:lnTo>
                    <a:pt x="670" y="286"/>
                  </a:lnTo>
                  <a:lnTo>
                    <a:pt x="673" y="285"/>
                  </a:lnTo>
                  <a:lnTo>
                    <a:pt x="673" y="285"/>
                  </a:lnTo>
                  <a:lnTo>
                    <a:pt x="677" y="285"/>
                  </a:lnTo>
                  <a:lnTo>
                    <a:pt x="683" y="286"/>
                  </a:lnTo>
                  <a:lnTo>
                    <a:pt x="685" y="285"/>
                  </a:lnTo>
                  <a:lnTo>
                    <a:pt x="688" y="285"/>
                  </a:lnTo>
                  <a:lnTo>
                    <a:pt x="690" y="282"/>
                  </a:lnTo>
                  <a:lnTo>
                    <a:pt x="692" y="279"/>
                  </a:lnTo>
                  <a:lnTo>
                    <a:pt x="692" y="279"/>
                  </a:lnTo>
                  <a:lnTo>
                    <a:pt x="694" y="275"/>
                  </a:lnTo>
                  <a:lnTo>
                    <a:pt x="695" y="273"/>
                  </a:lnTo>
                  <a:lnTo>
                    <a:pt x="699" y="272"/>
                  </a:lnTo>
                  <a:lnTo>
                    <a:pt x="705" y="271"/>
                  </a:lnTo>
                  <a:lnTo>
                    <a:pt x="708" y="269"/>
                  </a:lnTo>
                  <a:lnTo>
                    <a:pt x="710" y="265"/>
                  </a:lnTo>
                  <a:lnTo>
                    <a:pt x="710" y="265"/>
                  </a:lnTo>
                  <a:lnTo>
                    <a:pt x="717" y="260"/>
                  </a:lnTo>
                  <a:lnTo>
                    <a:pt x="724" y="254"/>
                  </a:lnTo>
                  <a:lnTo>
                    <a:pt x="727" y="253"/>
                  </a:lnTo>
                  <a:lnTo>
                    <a:pt x="731" y="253"/>
                  </a:lnTo>
                  <a:lnTo>
                    <a:pt x="734" y="254"/>
                  </a:lnTo>
                  <a:lnTo>
                    <a:pt x="737" y="255"/>
                  </a:lnTo>
                  <a:lnTo>
                    <a:pt x="737" y="255"/>
                  </a:lnTo>
                  <a:lnTo>
                    <a:pt x="738" y="258"/>
                  </a:lnTo>
                  <a:lnTo>
                    <a:pt x="738" y="261"/>
                  </a:lnTo>
                  <a:lnTo>
                    <a:pt x="738" y="264"/>
                  </a:lnTo>
                  <a:lnTo>
                    <a:pt x="735" y="267"/>
                  </a:lnTo>
                  <a:lnTo>
                    <a:pt x="730" y="272"/>
                  </a:lnTo>
                  <a:lnTo>
                    <a:pt x="726" y="276"/>
                  </a:lnTo>
                  <a:lnTo>
                    <a:pt x="726" y="276"/>
                  </a:lnTo>
                  <a:lnTo>
                    <a:pt x="726" y="280"/>
                  </a:lnTo>
                  <a:lnTo>
                    <a:pt x="726" y="283"/>
                  </a:lnTo>
                  <a:lnTo>
                    <a:pt x="726" y="286"/>
                  </a:lnTo>
                  <a:lnTo>
                    <a:pt x="724" y="289"/>
                  </a:lnTo>
                  <a:lnTo>
                    <a:pt x="724" y="289"/>
                  </a:lnTo>
                  <a:lnTo>
                    <a:pt x="723" y="292"/>
                  </a:lnTo>
                  <a:lnTo>
                    <a:pt x="724" y="293"/>
                  </a:lnTo>
                  <a:lnTo>
                    <a:pt x="729" y="292"/>
                  </a:lnTo>
                  <a:lnTo>
                    <a:pt x="735" y="289"/>
                  </a:lnTo>
                  <a:lnTo>
                    <a:pt x="735" y="289"/>
                  </a:lnTo>
                  <a:lnTo>
                    <a:pt x="749" y="279"/>
                  </a:lnTo>
                  <a:lnTo>
                    <a:pt x="763" y="272"/>
                  </a:lnTo>
                  <a:lnTo>
                    <a:pt x="763" y="272"/>
                  </a:lnTo>
                  <a:lnTo>
                    <a:pt x="767" y="271"/>
                  </a:lnTo>
                  <a:lnTo>
                    <a:pt x="772" y="271"/>
                  </a:lnTo>
                  <a:lnTo>
                    <a:pt x="772" y="271"/>
                  </a:lnTo>
                  <a:lnTo>
                    <a:pt x="773" y="267"/>
                  </a:lnTo>
                  <a:lnTo>
                    <a:pt x="776" y="264"/>
                  </a:lnTo>
                  <a:lnTo>
                    <a:pt x="776" y="264"/>
                  </a:lnTo>
                  <a:lnTo>
                    <a:pt x="791" y="257"/>
                  </a:lnTo>
                  <a:lnTo>
                    <a:pt x="799" y="253"/>
                  </a:lnTo>
                  <a:lnTo>
                    <a:pt x="805" y="248"/>
                  </a:lnTo>
                  <a:lnTo>
                    <a:pt x="805" y="248"/>
                  </a:lnTo>
                  <a:lnTo>
                    <a:pt x="809" y="242"/>
                  </a:lnTo>
                  <a:lnTo>
                    <a:pt x="812" y="239"/>
                  </a:lnTo>
                  <a:lnTo>
                    <a:pt x="815" y="237"/>
                  </a:lnTo>
                  <a:lnTo>
                    <a:pt x="815" y="237"/>
                  </a:lnTo>
                  <a:lnTo>
                    <a:pt x="817" y="237"/>
                  </a:lnTo>
                  <a:lnTo>
                    <a:pt x="819" y="239"/>
                  </a:lnTo>
                  <a:lnTo>
                    <a:pt x="822" y="240"/>
                  </a:lnTo>
                  <a:lnTo>
                    <a:pt x="826" y="242"/>
                  </a:lnTo>
                  <a:lnTo>
                    <a:pt x="826" y="242"/>
                  </a:lnTo>
                  <a:lnTo>
                    <a:pt x="834" y="242"/>
                  </a:lnTo>
                  <a:lnTo>
                    <a:pt x="835" y="240"/>
                  </a:lnTo>
                  <a:lnTo>
                    <a:pt x="835" y="239"/>
                  </a:lnTo>
                  <a:lnTo>
                    <a:pt x="835" y="239"/>
                  </a:lnTo>
                  <a:lnTo>
                    <a:pt x="834" y="235"/>
                  </a:lnTo>
                  <a:lnTo>
                    <a:pt x="834" y="233"/>
                  </a:lnTo>
                  <a:lnTo>
                    <a:pt x="841" y="232"/>
                  </a:lnTo>
                  <a:lnTo>
                    <a:pt x="841" y="232"/>
                  </a:lnTo>
                  <a:lnTo>
                    <a:pt x="845" y="230"/>
                  </a:lnTo>
                  <a:lnTo>
                    <a:pt x="848" y="228"/>
                  </a:lnTo>
                  <a:lnTo>
                    <a:pt x="849" y="225"/>
                  </a:lnTo>
                  <a:lnTo>
                    <a:pt x="852" y="224"/>
                  </a:lnTo>
                  <a:lnTo>
                    <a:pt x="852" y="224"/>
                  </a:lnTo>
                  <a:lnTo>
                    <a:pt x="853" y="224"/>
                  </a:lnTo>
                  <a:lnTo>
                    <a:pt x="855" y="222"/>
                  </a:lnTo>
                  <a:lnTo>
                    <a:pt x="856" y="218"/>
                  </a:lnTo>
                  <a:lnTo>
                    <a:pt x="859" y="214"/>
                  </a:lnTo>
                  <a:lnTo>
                    <a:pt x="860" y="212"/>
                  </a:lnTo>
                  <a:lnTo>
                    <a:pt x="862" y="212"/>
                  </a:lnTo>
                  <a:lnTo>
                    <a:pt x="862" y="212"/>
                  </a:lnTo>
                  <a:lnTo>
                    <a:pt x="865" y="212"/>
                  </a:lnTo>
                  <a:lnTo>
                    <a:pt x="867" y="215"/>
                  </a:lnTo>
                  <a:lnTo>
                    <a:pt x="870" y="217"/>
                  </a:lnTo>
                  <a:lnTo>
                    <a:pt x="874" y="217"/>
                  </a:lnTo>
                  <a:lnTo>
                    <a:pt x="874" y="217"/>
                  </a:lnTo>
                  <a:lnTo>
                    <a:pt x="878" y="218"/>
                  </a:lnTo>
                  <a:lnTo>
                    <a:pt x="878" y="218"/>
                  </a:lnTo>
                  <a:lnTo>
                    <a:pt x="883" y="215"/>
                  </a:lnTo>
                  <a:lnTo>
                    <a:pt x="883" y="215"/>
                  </a:lnTo>
                  <a:lnTo>
                    <a:pt x="883" y="205"/>
                  </a:lnTo>
                  <a:lnTo>
                    <a:pt x="881" y="200"/>
                  </a:lnTo>
                  <a:lnTo>
                    <a:pt x="881" y="200"/>
                  </a:lnTo>
                  <a:lnTo>
                    <a:pt x="881" y="196"/>
                  </a:lnTo>
                  <a:lnTo>
                    <a:pt x="881" y="193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80" y="180"/>
                  </a:lnTo>
                  <a:lnTo>
                    <a:pt x="881" y="176"/>
                  </a:lnTo>
                  <a:lnTo>
                    <a:pt x="883" y="176"/>
                  </a:lnTo>
                  <a:lnTo>
                    <a:pt x="883" y="176"/>
                  </a:lnTo>
                  <a:lnTo>
                    <a:pt x="885" y="175"/>
                  </a:lnTo>
                  <a:lnTo>
                    <a:pt x="890" y="172"/>
                  </a:lnTo>
                  <a:lnTo>
                    <a:pt x="892" y="169"/>
                  </a:lnTo>
                  <a:lnTo>
                    <a:pt x="894" y="169"/>
                  </a:lnTo>
                  <a:lnTo>
                    <a:pt x="896" y="169"/>
                  </a:lnTo>
                  <a:lnTo>
                    <a:pt x="896" y="169"/>
                  </a:lnTo>
                  <a:lnTo>
                    <a:pt x="901" y="172"/>
                  </a:lnTo>
                  <a:lnTo>
                    <a:pt x="905" y="172"/>
                  </a:lnTo>
                  <a:lnTo>
                    <a:pt x="908" y="172"/>
                  </a:lnTo>
                  <a:lnTo>
                    <a:pt x="909" y="171"/>
                  </a:lnTo>
                  <a:lnTo>
                    <a:pt x="910" y="169"/>
                  </a:lnTo>
                  <a:lnTo>
                    <a:pt x="910" y="169"/>
                  </a:lnTo>
                  <a:lnTo>
                    <a:pt x="910" y="167"/>
                  </a:lnTo>
                  <a:lnTo>
                    <a:pt x="913" y="165"/>
                  </a:lnTo>
                  <a:lnTo>
                    <a:pt x="916" y="162"/>
                  </a:lnTo>
                  <a:lnTo>
                    <a:pt x="917" y="160"/>
                  </a:lnTo>
                  <a:lnTo>
                    <a:pt x="917" y="160"/>
                  </a:lnTo>
                  <a:lnTo>
                    <a:pt x="919" y="155"/>
                  </a:lnTo>
                  <a:lnTo>
                    <a:pt x="921" y="153"/>
                  </a:lnTo>
                  <a:lnTo>
                    <a:pt x="924" y="151"/>
                  </a:lnTo>
                  <a:lnTo>
                    <a:pt x="927" y="147"/>
                  </a:lnTo>
                  <a:lnTo>
                    <a:pt x="927" y="147"/>
                  </a:lnTo>
                  <a:lnTo>
                    <a:pt x="930" y="136"/>
                  </a:lnTo>
                  <a:lnTo>
                    <a:pt x="931" y="131"/>
                  </a:lnTo>
                  <a:lnTo>
                    <a:pt x="935" y="128"/>
                  </a:lnTo>
                  <a:lnTo>
                    <a:pt x="935" y="128"/>
                  </a:lnTo>
                  <a:lnTo>
                    <a:pt x="937" y="125"/>
                  </a:lnTo>
                  <a:lnTo>
                    <a:pt x="937" y="124"/>
                  </a:lnTo>
                  <a:lnTo>
                    <a:pt x="935" y="119"/>
                  </a:lnTo>
                  <a:lnTo>
                    <a:pt x="934" y="115"/>
                  </a:lnTo>
                  <a:lnTo>
                    <a:pt x="934" y="115"/>
                  </a:lnTo>
                  <a:close/>
                  <a:moveTo>
                    <a:pt x="542" y="616"/>
                  </a:moveTo>
                  <a:lnTo>
                    <a:pt x="542" y="616"/>
                  </a:lnTo>
                  <a:lnTo>
                    <a:pt x="537" y="618"/>
                  </a:lnTo>
                  <a:lnTo>
                    <a:pt x="530" y="622"/>
                  </a:lnTo>
                  <a:lnTo>
                    <a:pt x="527" y="625"/>
                  </a:lnTo>
                  <a:lnTo>
                    <a:pt x="526" y="629"/>
                  </a:lnTo>
                  <a:lnTo>
                    <a:pt x="526" y="633"/>
                  </a:lnTo>
                  <a:lnTo>
                    <a:pt x="527" y="637"/>
                  </a:lnTo>
                  <a:lnTo>
                    <a:pt x="527" y="637"/>
                  </a:lnTo>
                  <a:lnTo>
                    <a:pt x="530" y="641"/>
                  </a:lnTo>
                  <a:lnTo>
                    <a:pt x="534" y="643"/>
                  </a:lnTo>
                  <a:lnTo>
                    <a:pt x="538" y="644"/>
                  </a:lnTo>
                  <a:lnTo>
                    <a:pt x="542" y="643"/>
                  </a:lnTo>
                  <a:lnTo>
                    <a:pt x="549" y="640"/>
                  </a:lnTo>
                  <a:lnTo>
                    <a:pt x="552" y="637"/>
                  </a:lnTo>
                  <a:lnTo>
                    <a:pt x="554" y="636"/>
                  </a:lnTo>
                  <a:lnTo>
                    <a:pt x="554" y="636"/>
                  </a:lnTo>
                  <a:lnTo>
                    <a:pt x="555" y="632"/>
                  </a:lnTo>
                  <a:lnTo>
                    <a:pt x="558" y="626"/>
                  </a:lnTo>
                  <a:lnTo>
                    <a:pt x="561" y="621"/>
                  </a:lnTo>
                  <a:lnTo>
                    <a:pt x="562" y="618"/>
                  </a:lnTo>
                  <a:lnTo>
                    <a:pt x="562" y="618"/>
                  </a:lnTo>
                  <a:lnTo>
                    <a:pt x="561" y="616"/>
                  </a:lnTo>
                  <a:lnTo>
                    <a:pt x="559" y="615"/>
                  </a:lnTo>
                  <a:lnTo>
                    <a:pt x="554" y="615"/>
                  </a:lnTo>
                  <a:lnTo>
                    <a:pt x="542" y="616"/>
                  </a:lnTo>
                  <a:lnTo>
                    <a:pt x="542" y="616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Freeform 149"/>
            <p:cNvSpPr>
              <a:spLocks/>
            </p:cNvSpPr>
            <p:nvPr/>
          </p:nvSpPr>
          <p:spPr bwMode="auto">
            <a:xfrm>
              <a:off x="6569076" y="3751263"/>
              <a:ext cx="53975" cy="95250"/>
            </a:xfrm>
            <a:custGeom>
              <a:avLst/>
              <a:gdLst>
                <a:gd name="T0" fmla="*/ 9 w 34"/>
                <a:gd name="T1" fmla="*/ 0 h 60"/>
                <a:gd name="T2" fmla="*/ 9 w 34"/>
                <a:gd name="T3" fmla="*/ 0 h 60"/>
                <a:gd name="T4" fmla="*/ 6 w 34"/>
                <a:gd name="T5" fmla="*/ 1 h 60"/>
                <a:gd name="T6" fmla="*/ 5 w 34"/>
                <a:gd name="T7" fmla="*/ 4 h 60"/>
                <a:gd name="T8" fmla="*/ 3 w 34"/>
                <a:gd name="T9" fmla="*/ 14 h 60"/>
                <a:gd name="T10" fmla="*/ 3 w 34"/>
                <a:gd name="T11" fmla="*/ 14 h 60"/>
                <a:gd name="T12" fmla="*/ 2 w 34"/>
                <a:gd name="T13" fmla="*/ 18 h 60"/>
                <a:gd name="T14" fmla="*/ 0 w 34"/>
                <a:gd name="T15" fmla="*/ 24 h 60"/>
                <a:gd name="T16" fmla="*/ 2 w 34"/>
                <a:gd name="T17" fmla="*/ 35 h 60"/>
                <a:gd name="T18" fmla="*/ 2 w 34"/>
                <a:gd name="T19" fmla="*/ 35 h 60"/>
                <a:gd name="T20" fmla="*/ 3 w 34"/>
                <a:gd name="T21" fmla="*/ 48 h 60"/>
                <a:gd name="T22" fmla="*/ 5 w 34"/>
                <a:gd name="T23" fmla="*/ 54 h 60"/>
                <a:gd name="T24" fmla="*/ 10 w 34"/>
                <a:gd name="T25" fmla="*/ 58 h 60"/>
                <a:gd name="T26" fmla="*/ 10 w 34"/>
                <a:gd name="T27" fmla="*/ 58 h 60"/>
                <a:gd name="T28" fmla="*/ 13 w 34"/>
                <a:gd name="T29" fmla="*/ 60 h 60"/>
                <a:gd name="T30" fmla="*/ 17 w 34"/>
                <a:gd name="T31" fmla="*/ 58 h 60"/>
                <a:gd name="T32" fmla="*/ 21 w 34"/>
                <a:gd name="T33" fmla="*/ 57 h 60"/>
                <a:gd name="T34" fmla="*/ 25 w 34"/>
                <a:gd name="T35" fmla="*/ 54 h 60"/>
                <a:gd name="T36" fmla="*/ 28 w 34"/>
                <a:gd name="T37" fmla="*/ 50 h 60"/>
                <a:gd name="T38" fmla="*/ 31 w 34"/>
                <a:gd name="T39" fmla="*/ 46 h 60"/>
                <a:gd name="T40" fmla="*/ 32 w 34"/>
                <a:gd name="T41" fmla="*/ 40 h 60"/>
                <a:gd name="T42" fmla="*/ 34 w 34"/>
                <a:gd name="T43" fmla="*/ 36 h 60"/>
                <a:gd name="T44" fmla="*/ 34 w 34"/>
                <a:gd name="T45" fmla="*/ 36 h 60"/>
                <a:gd name="T46" fmla="*/ 32 w 34"/>
                <a:gd name="T47" fmla="*/ 30 h 60"/>
                <a:gd name="T48" fmla="*/ 31 w 34"/>
                <a:gd name="T49" fmla="*/ 25 h 60"/>
                <a:gd name="T50" fmla="*/ 23 w 34"/>
                <a:gd name="T51" fmla="*/ 12 h 60"/>
                <a:gd name="T52" fmla="*/ 14 w 34"/>
                <a:gd name="T53" fmla="*/ 3 h 60"/>
                <a:gd name="T54" fmla="*/ 10 w 34"/>
                <a:gd name="T55" fmla="*/ 0 h 60"/>
                <a:gd name="T56" fmla="*/ 9 w 34"/>
                <a:gd name="T57" fmla="*/ 0 h 60"/>
                <a:gd name="T58" fmla="*/ 9 w 34"/>
                <a:gd name="T5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" h="60">
                  <a:moveTo>
                    <a:pt x="9" y="0"/>
                  </a:moveTo>
                  <a:lnTo>
                    <a:pt x="9" y="0"/>
                  </a:lnTo>
                  <a:lnTo>
                    <a:pt x="6" y="1"/>
                  </a:lnTo>
                  <a:lnTo>
                    <a:pt x="5" y="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8"/>
                  </a:lnTo>
                  <a:lnTo>
                    <a:pt x="0" y="2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48"/>
                  </a:lnTo>
                  <a:lnTo>
                    <a:pt x="5" y="54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3" y="60"/>
                  </a:lnTo>
                  <a:lnTo>
                    <a:pt x="17" y="58"/>
                  </a:lnTo>
                  <a:lnTo>
                    <a:pt x="21" y="57"/>
                  </a:lnTo>
                  <a:lnTo>
                    <a:pt x="25" y="54"/>
                  </a:lnTo>
                  <a:lnTo>
                    <a:pt x="28" y="50"/>
                  </a:lnTo>
                  <a:lnTo>
                    <a:pt x="31" y="46"/>
                  </a:lnTo>
                  <a:lnTo>
                    <a:pt x="32" y="40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0"/>
                  </a:lnTo>
                  <a:lnTo>
                    <a:pt x="31" y="25"/>
                  </a:lnTo>
                  <a:lnTo>
                    <a:pt x="23" y="12"/>
                  </a:lnTo>
                  <a:lnTo>
                    <a:pt x="14" y="3"/>
                  </a:lnTo>
                  <a:lnTo>
                    <a:pt x="10" y="0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160"/>
            <p:cNvSpPr>
              <a:spLocks noEditPoints="1"/>
            </p:cNvSpPr>
            <p:nvPr/>
          </p:nvSpPr>
          <p:spPr bwMode="auto">
            <a:xfrm>
              <a:off x="5740401" y="2441575"/>
              <a:ext cx="1009650" cy="469900"/>
            </a:xfrm>
            <a:custGeom>
              <a:avLst/>
              <a:gdLst>
                <a:gd name="T0" fmla="*/ 610 w 636"/>
                <a:gd name="T1" fmla="*/ 121 h 296"/>
                <a:gd name="T2" fmla="*/ 595 w 636"/>
                <a:gd name="T3" fmla="*/ 103 h 296"/>
                <a:gd name="T4" fmla="*/ 561 w 636"/>
                <a:gd name="T5" fmla="*/ 99 h 296"/>
                <a:gd name="T6" fmla="*/ 532 w 636"/>
                <a:gd name="T7" fmla="*/ 98 h 296"/>
                <a:gd name="T8" fmla="*/ 488 w 636"/>
                <a:gd name="T9" fmla="*/ 36 h 296"/>
                <a:gd name="T10" fmla="*/ 473 w 636"/>
                <a:gd name="T11" fmla="*/ 23 h 296"/>
                <a:gd name="T12" fmla="*/ 438 w 636"/>
                <a:gd name="T13" fmla="*/ 38 h 296"/>
                <a:gd name="T14" fmla="*/ 435 w 636"/>
                <a:gd name="T15" fmla="*/ 31 h 296"/>
                <a:gd name="T16" fmla="*/ 417 w 636"/>
                <a:gd name="T17" fmla="*/ 31 h 296"/>
                <a:gd name="T18" fmla="*/ 398 w 636"/>
                <a:gd name="T19" fmla="*/ 27 h 296"/>
                <a:gd name="T20" fmla="*/ 393 w 636"/>
                <a:gd name="T21" fmla="*/ 9 h 296"/>
                <a:gd name="T22" fmla="*/ 360 w 636"/>
                <a:gd name="T23" fmla="*/ 0 h 296"/>
                <a:gd name="T24" fmla="*/ 307 w 636"/>
                <a:gd name="T25" fmla="*/ 17 h 296"/>
                <a:gd name="T26" fmla="*/ 252 w 636"/>
                <a:gd name="T27" fmla="*/ 28 h 296"/>
                <a:gd name="T28" fmla="*/ 236 w 636"/>
                <a:gd name="T29" fmla="*/ 42 h 296"/>
                <a:gd name="T30" fmla="*/ 230 w 636"/>
                <a:gd name="T31" fmla="*/ 53 h 296"/>
                <a:gd name="T32" fmla="*/ 221 w 636"/>
                <a:gd name="T33" fmla="*/ 79 h 296"/>
                <a:gd name="T34" fmla="*/ 239 w 636"/>
                <a:gd name="T35" fmla="*/ 98 h 296"/>
                <a:gd name="T36" fmla="*/ 214 w 636"/>
                <a:gd name="T37" fmla="*/ 102 h 296"/>
                <a:gd name="T38" fmla="*/ 195 w 636"/>
                <a:gd name="T39" fmla="*/ 93 h 296"/>
                <a:gd name="T40" fmla="*/ 162 w 636"/>
                <a:gd name="T41" fmla="*/ 92 h 296"/>
                <a:gd name="T42" fmla="*/ 132 w 636"/>
                <a:gd name="T43" fmla="*/ 98 h 296"/>
                <a:gd name="T44" fmla="*/ 110 w 636"/>
                <a:gd name="T45" fmla="*/ 84 h 296"/>
                <a:gd name="T46" fmla="*/ 81 w 636"/>
                <a:gd name="T47" fmla="*/ 82 h 296"/>
                <a:gd name="T48" fmla="*/ 46 w 636"/>
                <a:gd name="T49" fmla="*/ 92 h 296"/>
                <a:gd name="T50" fmla="*/ 35 w 636"/>
                <a:gd name="T51" fmla="*/ 116 h 296"/>
                <a:gd name="T52" fmla="*/ 13 w 636"/>
                <a:gd name="T53" fmla="*/ 111 h 296"/>
                <a:gd name="T54" fmla="*/ 10 w 636"/>
                <a:gd name="T55" fmla="*/ 128 h 296"/>
                <a:gd name="T56" fmla="*/ 9 w 636"/>
                <a:gd name="T57" fmla="*/ 146 h 296"/>
                <a:gd name="T58" fmla="*/ 27 w 636"/>
                <a:gd name="T59" fmla="*/ 160 h 296"/>
                <a:gd name="T60" fmla="*/ 39 w 636"/>
                <a:gd name="T61" fmla="*/ 185 h 296"/>
                <a:gd name="T62" fmla="*/ 93 w 636"/>
                <a:gd name="T63" fmla="*/ 177 h 296"/>
                <a:gd name="T64" fmla="*/ 106 w 636"/>
                <a:gd name="T65" fmla="*/ 204 h 296"/>
                <a:gd name="T66" fmla="*/ 71 w 636"/>
                <a:gd name="T67" fmla="*/ 214 h 296"/>
                <a:gd name="T68" fmla="*/ 59 w 636"/>
                <a:gd name="T69" fmla="*/ 228 h 296"/>
                <a:gd name="T70" fmla="*/ 78 w 636"/>
                <a:gd name="T71" fmla="*/ 250 h 296"/>
                <a:gd name="T72" fmla="*/ 96 w 636"/>
                <a:gd name="T73" fmla="*/ 264 h 296"/>
                <a:gd name="T74" fmla="*/ 103 w 636"/>
                <a:gd name="T75" fmla="*/ 270 h 296"/>
                <a:gd name="T76" fmla="*/ 138 w 636"/>
                <a:gd name="T77" fmla="*/ 279 h 296"/>
                <a:gd name="T78" fmla="*/ 196 w 636"/>
                <a:gd name="T79" fmla="*/ 196 h 296"/>
                <a:gd name="T80" fmla="*/ 213 w 636"/>
                <a:gd name="T81" fmla="*/ 192 h 296"/>
                <a:gd name="T82" fmla="*/ 225 w 636"/>
                <a:gd name="T83" fmla="*/ 222 h 296"/>
                <a:gd name="T84" fmla="*/ 280 w 636"/>
                <a:gd name="T85" fmla="*/ 242 h 296"/>
                <a:gd name="T86" fmla="*/ 311 w 636"/>
                <a:gd name="T87" fmla="*/ 266 h 296"/>
                <a:gd name="T88" fmla="*/ 342 w 636"/>
                <a:gd name="T89" fmla="*/ 289 h 296"/>
                <a:gd name="T90" fmla="*/ 364 w 636"/>
                <a:gd name="T91" fmla="*/ 282 h 296"/>
                <a:gd name="T92" fmla="*/ 393 w 636"/>
                <a:gd name="T93" fmla="*/ 259 h 296"/>
                <a:gd name="T94" fmla="*/ 429 w 636"/>
                <a:gd name="T95" fmla="*/ 256 h 296"/>
                <a:gd name="T96" fmla="*/ 466 w 636"/>
                <a:gd name="T97" fmla="*/ 256 h 296"/>
                <a:gd name="T98" fmla="*/ 527 w 636"/>
                <a:gd name="T99" fmla="*/ 266 h 296"/>
                <a:gd name="T100" fmla="*/ 542 w 636"/>
                <a:gd name="T101" fmla="*/ 245 h 296"/>
                <a:gd name="T102" fmla="*/ 535 w 636"/>
                <a:gd name="T103" fmla="*/ 214 h 296"/>
                <a:gd name="T104" fmla="*/ 570 w 636"/>
                <a:gd name="T105" fmla="*/ 211 h 296"/>
                <a:gd name="T106" fmla="*/ 581 w 636"/>
                <a:gd name="T107" fmla="*/ 171 h 296"/>
                <a:gd name="T108" fmla="*/ 617 w 636"/>
                <a:gd name="T109" fmla="*/ 170 h 296"/>
                <a:gd name="T110" fmla="*/ 628 w 636"/>
                <a:gd name="T111" fmla="*/ 145 h 296"/>
                <a:gd name="T112" fmla="*/ 634 w 636"/>
                <a:gd name="T113" fmla="*/ 121 h 296"/>
                <a:gd name="T114" fmla="*/ 227 w 636"/>
                <a:gd name="T115" fmla="*/ 182 h 296"/>
                <a:gd name="T116" fmla="*/ 452 w 636"/>
                <a:gd name="T117" fmla="*/ 189 h 296"/>
                <a:gd name="T118" fmla="*/ 435 w 636"/>
                <a:gd name="T119" fmla="*/ 211 h 296"/>
                <a:gd name="T120" fmla="*/ 477 w 636"/>
                <a:gd name="T121" fmla="*/ 182 h 296"/>
                <a:gd name="T122" fmla="*/ 500 w 636"/>
                <a:gd name="T123" fmla="*/ 188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6" h="296">
                  <a:moveTo>
                    <a:pt x="634" y="121"/>
                  </a:moveTo>
                  <a:lnTo>
                    <a:pt x="634" y="121"/>
                  </a:lnTo>
                  <a:lnTo>
                    <a:pt x="632" y="120"/>
                  </a:lnTo>
                  <a:lnTo>
                    <a:pt x="631" y="120"/>
                  </a:lnTo>
                  <a:lnTo>
                    <a:pt x="628" y="121"/>
                  </a:lnTo>
                  <a:lnTo>
                    <a:pt x="628" y="121"/>
                  </a:lnTo>
                  <a:lnTo>
                    <a:pt x="622" y="123"/>
                  </a:lnTo>
                  <a:lnTo>
                    <a:pt x="616" y="124"/>
                  </a:lnTo>
                  <a:lnTo>
                    <a:pt x="616" y="124"/>
                  </a:lnTo>
                  <a:lnTo>
                    <a:pt x="613" y="123"/>
                  </a:lnTo>
                  <a:lnTo>
                    <a:pt x="610" y="121"/>
                  </a:lnTo>
                  <a:lnTo>
                    <a:pt x="609" y="118"/>
                  </a:lnTo>
                  <a:lnTo>
                    <a:pt x="607" y="117"/>
                  </a:lnTo>
                  <a:lnTo>
                    <a:pt x="607" y="117"/>
                  </a:lnTo>
                  <a:lnTo>
                    <a:pt x="607" y="113"/>
                  </a:lnTo>
                  <a:lnTo>
                    <a:pt x="606" y="111"/>
                  </a:lnTo>
                  <a:lnTo>
                    <a:pt x="604" y="111"/>
                  </a:lnTo>
                  <a:lnTo>
                    <a:pt x="604" y="111"/>
                  </a:lnTo>
                  <a:lnTo>
                    <a:pt x="602" y="110"/>
                  </a:lnTo>
                  <a:lnTo>
                    <a:pt x="599" y="110"/>
                  </a:lnTo>
                  <a:lnTo>
                    <a:pt x="596" y="107"/>
                  </a:lnTo>
                  <a:lnTo>
                    <a:pt x="595" y="103"/>
                  </a:lnTo>
                  <a:lnTo>
                    <a:pt x="595" y="103"/>
                  </a:lnTo>
                  <a:lnTo>
                    <a:pt x="592" y="99"/>
                  </a:lnTo>
                  <a:lnTo>
                    <a:pt x="589" y="98"/>
                  </a:lnTo>
                  <a:lnTo>
                    <a:pt x="585" y="95"/>
                  </a:lnTo>
                  <a:lnTo>
                    <a:pt x="585" y="95"/>
                  </a:lnTo>
                  <a:lnTo>
                    <a:pt x="581" y="95"/>
                  </a:lnTo>
                  <a:lnTo>
                    <a:pt x="577" y="96"/>
                  </a:lnTo>
                  <a:lnTo>
                    <a:pt x="568" y="99"/>
                  </a:lnTo>
                  <a:lnTo>
                    <a:pt x="568" y="99"/>
                  </a:lnTo>
                  <a:lnTo>
                    <a:pt x="566" y="99"/>
                  </a:lnTo>
                  <a:lnTo>
                    <a:pt x="561" y="99"/>
                  </a:lnTo>
                  <a:lnTo>
                    <a:pt x="553" y="96"/>
                  </a:lnTo>
                  <a:lnTo>
                    <a:pt x="553" y="96"/>
                  </a:lnTo>
                  <a:lnTo>
                    <a:pt x="550" y="95"/>
                  </a:lnTo>
                  <a:lnTo>
                    <a:pt x="547" y="92"/>
                  </a:lnTo>
                  <a:lnTo>
                    <a:pt x="545" y="89"/>
                  </a:lnTo>
                  <a:lnTo>
                    <a:pt x="542" y="88"/>
                  </a:lnTo>
                  <a:lnTo>
                    <a:pt x="542" y="88"/>
                  </a:lnTo>
                  <a:lnTo>
                    <a:pt x="539" y="91"/>
                  </a:lnTo>
                  <a:lnTo>
                    <a:pt x="536" y="93"/>
                  </a:lnTo>
                  <a:lnTo>
                    <a:pt x="535" y="96"/>
                  </a:lnTo>
                  <a:lnTo>
                    <a:pt x="532" y="98"/>
                  </a:lnTo>
                  <a:lnTo>
                    <a:pt x="532" y="98"/>
                  </a:lnTo>
                  <a:lnTo>
                    <a:pt x="531" y="98"/>
                  </a:lnTo>
                  <a:lnTo>
                    <a:pt x="529" y="95"/>
                  </a:lnTo>
                  <a:lnTo>
                    <a:pt x="525" y="88"/>
                  </a:lnTo>
                  <a:lnTo>
                    <a:pt x="521" y="78"/>
                  </a:lnTo>
                  <a:lnTo>
                    <a:pt x="516" y="70"/>
                  </a:lnTo>
                  <a:lnTo>
                    <a:pt x="516" y="70"/>
                  </a:lnTo>
                  <a:lnTo>
                    <a:pt x="503" y="50"/>
                  </a:lnTo>
                  <a:lnTo>
                    <a:pt x="495" y="42"/>
                  </a:lnTo>
                  <a:lnTo>
                    <a:pt x="491" y="38"/>
                  </a:lnTo>
                  <a:lnTo>
                    <a:pt x="488" y="36"/>
                  </a:lnTo>
                  <a:lnTo>
                    <a:pt x="488" y="36"/>
                  </a:lnTo>
                  <a:lnTo>
                    <a:pt x="482" y="32"/>
                  </a:lnTo>
                  <a:lnTo>
                    <a:pt x="479" y="30"/>
                  </a:lnTo>
                  <a:lnTo>
                    <a:pt x="481" y="27"/>
                  </a:lnTo>
                  <a:lnTo>
                    <a:pt x="482" y="24"/>
                  </a:lnTo>
                  <a:lnTo>
                    <a:pt x="482" y="24"/>
                  </a:lnTo>
                  <a:lnTo>
                    <a:pt x="484" y="23"/>
                  </a:lnTo>
                  <a:lnTo>
                    <a:pt x="482" y="23"/>
                  </a:lnTo>
                  <a:lnTo>
                    <a:pt x="479" y="21"/>
                  </a:lnTo>
                  <a:lnTo>
                    <a:pt x="477" y="21"/>
                  </a:lnTo>
                  <a:lnTo>
                    <a:pt x="473" y="23"/>
                  </a:lnTo>
                  <a:lnTo>
                    <a:pt x="473" y="23"/>
                  </a:lnTo>
                  <a:lnTo>
                    <a:pt x="466" y="28"/>
                  </a:lnTo>
                  <a:lnTo>
                    <a:pt x="461" y="30"/>
                  </a:lnTo>
                  <a:lnTo>
                    <a:pt x="459" y="31"/>
                  </a:lnTo>
                  <a:lnTo>
                    <a:pt x="459" y="31"/>
                  </a:lnTo>
                  <a:lnTo>
                    <a:pt x="454" y="32"/>
                  </a:lnTo>
                  <a:lnTo>
                    <a:pt x="450" y="35"/>
                  </a:lnTo>
                  <a:lnTo>
                    <a:pt x="445" y="38"/>
                  </a:lnTo>
                  <a:lnTo>
                    <a:pt x="441" y="38"/>
                  </a:lnTo>
                  <a:lnTo>
                    <a:pt x="441" y="38"/>
                  </a:lnTo>
                  <a:lnTo>
                    <a:pt x="438" y="38"/>
                  </a:lnTo>
                  <a:lnTo>
                    <a:pt x="435" y="41"/>
                  </a:lnTo>
                  <a:lnTo>
                    <a:pt x="432" y="42"/>
                  </a:lnTo>
                  <a:lnTo>
                    <a:pt x="431" y="42"/>
                  </a:lnTo>
                  <a:lnTo>
                    <a:pt x="429" y="41"/>
                  </a:lnTo>
                  <a:lnTo>
                    <a:pt x="429" y="41"/>
                  </a:lnTo>
                  <a:lnTo>
                    <a:pt x="428" y="39"/>
                  </a:lnTo>
                  <a:lnTo>
                    <a:pt x="428" y="38"/>
                  </a:lnTo>
                  <a:lnTo>
                    <a:pt x="431" y="35"/>
                  </a:lnTo>
                  <a:lnTo>
                    <a:pt x="434" y="34"/>
                  </a:lnTo>
                  <a:lnTo>
                    <a:pt x="435" y="31"/>
                  </a:lnTo>
                  <a:lnTo>
                    <a:pt x="435" y="31"/>
                  </a:lnTo>
                  <a:lnTo>
                    <a:pt x="434" y="30"/>
                  </a:lnTo>
                  <a:lnTo>
                    <a:pt x="431" y="30"/>
                  </a:lnTo>
                  <a:lnTo>
                    <a:pt x="428" y="31"/>
                  </a:lnTo>
                  <a:lnTo>
                    <a:pt x="427" y="30"/>
                  </a:lnTo>
                  <a:lnTo>
                    <a:pt x="427" y="30"/>
                  </a:lnTo>
                  <a:lnTo>
                    <a:pt x="423" y="27"/>
                  </a:lnTo>
                  <a:lnTo>
                    <a:pt x="420" y="27"/>
                  </a:lnTo>
                  <a:lnTo>
                    <a:pt x="420" y="28"/>
                  </a:lnTo>
                  <a:lnTo>
                    <a:pt x="420" y="28"/>
                  </a:lnTo>
                  <a:lnTo>
                    <a:pt x="418" y="30"/>
                  </a:lnTo>
                  <a:lnTo>
                    <a:pt x="417" y="31"/>
                  </a:lnTo>
                  <a:lnTo>
                    <a:pt x="416" y="30"/>
                  </a:lnTo>
                  <a:lnTo>
                    <a:pt x="414" y="28"/>
                  </a:lnTo>
                  <a:lnTo>
                    <a:pt x="414" y="28"/>
                  </a:lnTo>
                  <a:lnTo>
                    <a:pt x="414" y="25"/>
                  </a:lnTo>
                  <a:lnTo>
                    <a:pt x="413" y="24"/>
                  </a:lnTo>
                  <a:lnTo>
                    <a:pt x="411" y="23"/>
                  </a:lnTo>
                  <a:lnTo>
                    <a:pt x="409" y="24"/>
                  </a:lnTo>
                  <a:lnTo>
                    <a:pt x="409" y="24"/>
                  </a:lnTo>
                  <a:lnTo>
                    <a:pt x="406" y="25"/>
                  </a:lnTo>
                  <a:lnTo>
                    <a:pt x="402" y="27"/>
                  </a:lnTo>
                  <a:lnTo>
                    <a:pt x="398" y="27"/>
                  </a:lnTo>
                  <a:lnTo>
                    <a:pt x="395" y="27"/>
                  </a:lnTo>
                  <a:lnTo>
                    <a:pt x="395" y="27"/>
                  </a:lnTo>
                  <a:lnTo>
                    <a:pt x="393" y="24"/>
                  </a:lnTo>
                  <a:lnTo>
                    <a:pt x="395" y="23"/>
                  </a:lnTo>
                  <a:lnTo>
                    <a:pt x="396" y="20"/>
                  </a:lnTo>
                  <a:lnTo>
                    <a:pt x="396" y="20"/>
                  </a:lnTo>
                  <a:lnTo>
                    <a:pt x="396" y="17"/>
                  </a:lnTo>
                  <a:lnTo>
                    <a:pt x="395" y="14"/>
                  </a:lnTo>
                  <a:lnTo>
                    <a:pt x="393" y="11"/>
                  </a:lnTo>
                  <a:lnTo>
                    <a:pt x="393" y="9"/>
                  </a:lnTo>
                  <a:lnTo>
                    <a:pt x="393" y="9"/>
                  </a:lnTo>
                  <a:lnTo>
                    <a:pt x="392" y="6"/>
                  </a:lnTo>
                  <a:lnTo>
                    <a:pt x="391" y="3"/>
                  </a:lnTo>
                  <a:lnTo>
                    <a:pt x="386" y="2"/>
                  </a:lnTo>
                  <a:lnTo>
                    <a:pt x="384" y="2"/>
                  </a:lnTo>
                  <a:lnTo>
                    <a:pt x="384" y="2"/>
                  </a:lnTo>
                  <a:lnTo>
                    <a:pt x="381" y="3"/>
                  </a:lnTo>
                  <a:lnTo>
                    <a:pt x="378" y="3"/>
                  </a:lnTo>
                  <a:lnTo>
                    <a:pt x="371" y="0"/>
                  </a:lnTo>
                  <a:lnTo>
                    <a:pt x="371" y="0"/>
                  </a:lnTo>
                  <a:lnTo>
                    <a:pt x="367" y="0"/>
                  </a:lnTo>
                  <a:lnTo>
                    <a:pt x="360" y="0"/>
                  </a:lnTo>
                  <a:lnTo>
                    <a:pt x="354" y="3"/>
                  </a:lnTo>
                  <a:lnTo>
                    <a:pt x="352" y="5"/>
                  </a:lnTo>
                  <a:lnTo>
                    <a:pt x="352" y="5"/>
                  </a:lnTo>
                  <a:lnTo>
                    <a:pt x="350" y="6"/>
                  </a:lnTo>
                  <a:lnTo>
                    <a:pt x="349" y="7"/>
                  </a:lnTo>
                  <a:lnTo>
                    <a:pt x="342" y="10"/>
                  </a:lnTo>
                  <a:lnTo>
                    <a:pt x="330" y="13"/>
                  </a:lnTo>
                  <a:lnTo>
                    <a:pt x="330" y="13"/>
                  </a:lnTo>
                  <a:lnTo>
                    <a:pt x="318" y="16"/>
                  </a:lnTo>
                  <a:lnTo>
                    <a:pt x="307" y="17"/>
                  </a:lnTo>
                  <a:lnTo>
                    <a:pt x="307" y="17"/>
                  </a:lnTo>
                  <a:lnTo>
                    <a:pt x="299" y="20"/>
                  </a:lnTo>
                  <a:lnTo>
                    <a:pt x="295" y="21"/>
                  </a:lnTo>
                  <a:lnTo>
                    <a:pt x="291" y="21"/>
                  </a:lnTo>
                  <a:lnTo>
                    <a:pt x="291" y="21"/>
                  </a:lnTo>
                  <a:lnTo>
                    <a:pt x="278" y="23"/>
                  </a:lnTo>
                  <a:lnTo>
                    <a:pt x="273" y="24"/>
                  </a:lnTo>
                  <a:lnTo>
                    <a:pt x="267" y="27"/>
                  </a:lnTo>
                  <a:lnTo>
                    <a:pt x="267" y="27"/>
                  </a:lnTo>
                  <a:lnTo>
                    <a:pt x="263" y="28"/>
                  </a:lnTo>
                  <a:lnTo>
                    <a:pt x="257" y="28"/>
                  </a:lnTo>
                  <a:lnTo>
                    <a:pt x="252" y="28"/>
                  </a:lnTo>
                  <a:lnTo>
                    <a:pt x="249" y="28"/>
                  </a:lnTo>
                  <a:lnTo>
                    <a:pt x="249" y="28"/>
                  </a:lnTo>
                  <a:lnTo>
                    <a:pt x="245" y="30"/>
                  </a:lnTo>
                  <a:lnTo>
                    <a:pt x="241" y="30"/>
                  </a:lnTo>
                  <a:lnTo>
                    <a:pt x="238" y="30"/>
                  </a:lnTo>
                  <a:lnTo>
                    <a:pt x="235" y="30"/>
                  </a:lnTo>
                  <a:lnTo>
                    <a:pt x="235" y="30"/>
                  </a:lnTo>
                  <a:lnTo>
                    <a:pt x="234" y="31"/>
                  </a:lnTo>
                  <a:lnTo>
                    <a:pt x="234" y="35"/>
                  </a:lnTo>
                  <a:lnTo>
                    <a:pt x="235" y="39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9" y="45"/>
                  </a:lnTo>
                  <a:lnTo>
                    <a:pt x="243" y="46"/>
                  </a:lnTo>
                  <a:lnTo>
                    <a:pt x="248" y="48"/>
                  </a:lnTo>
                  <a:lnTo>
                    <a:pt x="250" y="49"/>
                  </a:lnTo>
                  <a:lnTo>
                    <a:pt x="250" y="49"/>
                  </a:lnTo>
                  <a:lnTo>
                    <a:pt x="248" y="50"/>
                  </a:lnTo>
                  <a:lnTo>
                    <a:pt x="243" y="52"/>
                  </a:lnTo>
                  <a:lnTo>
                    <a:pt x="234" y="52"/>
                  </a:lnTo>
                  <a:lnTo>
                    <a:pt x="234" y="52"/>
                  </a:lnTo>
                  <a:lnTo>
                    <a:pt x="230" y="53"/>
                  </a:lnTo>
                  <a:lnTo>
                    <a:pt x="230" y="57"/>
                  </a:lnTo>
                  <a:lnTo>
                    <a:pt x="230" y="60"/>
                  </a:lnTo>
                  <a:lnTo>
                    <a:pt x="231" y="63"/>
                  </a:lnTo>
                  <a:lnTo>
                    <a:pt x="231" y="63"/>
                  </a:lnTo>
                  <a:lnTo>
                    <a:pt x="230" y="66"/>
                  </a:lnTo>
                  <a:lnTo>
                    <a:pt x="228" y="68"/>
                  </a:lnTo>
                  <a:lnTo>
                    <a:pt x="221" y="71"/>
                  </a:lnTo>
                  <a:lnTo>
                    <a:pt x="221" y="71"/>
                  </a:lnTo>
                  <a:lnTo>
                    <a:pt x="218" y="74"/>
                  </a:lnTo>
                  <a:lnTo>
                    <a:pt x="220" y="77"/>
                  </a:lnTo>
                  <a:lnTo>
                    <a:pt x="221" y="79"/>
                  </a:lnTo>
                  <a:lnTo>
                    <a:pt x="225" y="79"/>
                  </a:lnTo>
                  <a:lnTo>
                    <a:pt x="225" y="79"/>
                  </a:lnTo>
                  <a:lnTo>
                    <a:pt x="228" y="81"/>
                  </a:lnTo>
                  <a:lnTo>
                    <a:pt x="231" y="82"/>
                  </a:lnTo>
                  <a:lnTo>
                    <a:pt x="236" y="84"/>
                  </a:lnTo>
                  <a:lnTo>
                    <a:pt x="236" y="84"/>
                  </a:lnTo>
                  <a:lnTo>
                    <a:pt x="238" y="85"/>
                  </a:lnTo>
                  <a:lnTo>
                    <a:pt x="239" y="88"/>
                  </a:lnTo>
                  <a:lnTo>
                    <a:pt x="241" y="95"/>
                  </a:lnTo>
                  <a:lnTo>
                    <a:pt x="241" y="95"/>
                  </a:lnTo>
                  <a:lnTo>
                    <a:pt x="239" y="98"/>
                  </a:lnTo>
                  <a:lnTo>
                    <a:pt x="238" y="99"/>
                  </a:lnTo>
                  <a:lnTo>
                    <a:pt x="234" y="100"/>
                  </a:lnTo>
                  <a:lnTo>
                    <a:pt x="231" y="100"/>
                  </a:lnTo>
                  <a:lnTo>
                    <a:pt x="231" y="100"/>
                  </a:lnTo>
                  <a:lnTo>
                    <a:pt x="227" y="99"/>
                  </a:lnTo>
                  <a:lnTo>
                    <a:pt x="224" y="98"/>
                  </a:lnTo>
                  <a:lnTo>
                    <a:pt x="218" y="95"/>
                  </a:lnTo>
                  <a:lnTo>
                    <a:pt x="218" y="95"/>
                  </a:lnTo>
                  <a:lnTo>
                    <a:pt x="217" y="96"/>
                  </a:lnTo>
                  <a:lnTo>
                    <a:pt x="216" y="99"/>
                  </a:lnTo>
                  <a:lnTo>
                    <a:pt x="214" y="102"/>
                  </a:lnTo>
                  <a:lnTo>
                    <a:pt x="213" y="103"/>
                  </a:lnTo>
                  <a:lnTo>
                    <a:pt x="213" y="103"/>
                  </a:lnTo>
                  <a:lnTo>
                    <a:pt x="211" y="103"/>
                  </a:lnTo>
                  <a:lnTo>
                    <a:pt x="210" y="102"/>
                  </a:lnTo>
                  <a:lnTo>
                    <a:pt x="207" y="99"/>
                  </a:lnTo>
                  <a:lnTo>
                    <a:pt x="206" y="98"/>
                  </a:lnTo>
                  <a:lnTo>
                    <a:pt x="206" y="98"/>
                  </a:lnTo>
                  <a:lnTo>
                    <a:pt x="199" y="98"/>
                  </a:lnTo>
                  <a:lnTo>
                    <a:pt x="196" y="96"/>
                  </a:lnTo>
                  <a:lnTo>
                    <a:pt x="195" y="93"/>
                  </a:lnTo>
                  <a:lnTo>
                    <a:pt x="195" y="93"/>
                  </a:lnTo>
                  <a:lnTo>
                    <a:pt x="192" y="91"/>
                  </a:lnTo>
                  <a:lnTo>
                    <a:pt x="188" y="89"/>
                  </a:lnTo>
                  <a:lnTo>
                    <a:pt x="184" y="91"/>
                  </a:lnTo>
                  <a:lnTo>
                    <a:pt x="180" y="92"/>
                  </a:lnTo>
                  <a:lnTo>
                    <a:pt x="180" y="92"/>
                  </a:lnTo>
                  <a:lnTo>
                    <a:pt x="177" y="95"/>
                  </a:lnTo>
                  <a:lnTo>
                    <a:pt x="175" y="95"/>
                  </a:lnTo>
                  <a:lnTo>
                    <a:pt x="171" y="92"/>
                  </a:lnTo>
                  <a:lnTo>
                    <a:pt x="171" y="92"/>
                  </a:lnTo>
                  <a:lnTo>
                    <a:pt x="167" y="91"/>
                  </a:lnTo>
                  <a:lnTo>
                    <a:pt x="162" y="92"/>
                  </a:lnTo>
                  <a:lnTo>
                    <a:pt x="157" y="93"/>
                  </a:lnTo>
                  <a:lnTo>
                    <a:pt x="156" y="96"/>
                  </a:lnTo>
                  <a:lnTo>
                    <a:pt x="156" y="96"/>
                  </a:lnTo>
                  <a:lnTo>
                    <a:pt x="153" y="99"/>
                  </a:lnTo>
                  <a:lnTo>
                    <a:pt x="149" y="100"/>
                  </a:lnTo>
                  <a:lnTo>
                    <a:pt x="145" y="100"/>
                  </a:lnTo>
                  <a:lnTo>
                    <a:pt x="141" y="98"/>
                  </a:lnTo>
                  <a:lnTo>
                    <a:pt x="141" y="98"/>
                  </a:lnTo>
                  <a:lnTo>
                    <a:pt x="134" y="95"/>
                  </a:lnTo>
                  <a:lnTo>
                    <a:pt x="132" y="96"/>
                  </a:lnTo>
                  <a:lnTo>
                    <a:pt x="132" y="98"/>
                  </a:lnTo>
                  <a:lnTo>
                    <a:pt x="132" y="98"/>
                  </a:lnTo>
                  <a:lnTo>
                    <a:pt x="131" y="100"/>
                  </a:lnTo>
                  <a:lnTo>
                    <a:pt x="130" y="100"/>
                  </a:lnTo>
                  <a:lnTo>
                    <a:pt x="128" y="98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5" y="93"/>
                  </a:lnTo>
                  <a:lnTo>
                    <a:pt x="123" y="91"/>
                  </a:lnTo>
                  <a:lnTo>
                    <a:pt x="114" y="85"/>
                  </a:lnTo>
                  <a:lnTo>
                    <a:pt x="114" y="85"/>
                  </a:lnTo>
                  <a:lnTo>
                    <a:pt x="110" y="84"/>
                  </a:lnTo>
                  <a:lnTo>
                    <a:pt x="105" y="82"/>
                  </a:lnTo>
                  <a:lnTo>
                    <a:pt x="99" y="81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5" y="78"/>
                  </a:lnTo>
                  <a:lnTo>
                    <a:pt x="91" y="77"/>
                  </a:lnTo>
                  <a:lnTo>
                    <a:pt x="88" y="77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4" y="81"/>
                  </a:lnTo>
                  <a:lnTo>
                    <a:pt x="81" y="82"/>
                  </a:lnTo>
                  <a:lnTo>
                    <a:pt x="77" y="79"/>
                  </a:lnTo>
                  <a:lnTo>
                    <a:pt x="77" y="79"/>
                  </a:lnTo>
                  <a:lnTo>
                    <a:pt x="74" y="79"/>
                  </a:lnTo>
                  <a:lnTo>
                    <a:pt x="71" y="79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57" y="88"/>
                  </a:lnTo>
                  <a:lnTo>
                    <a:pt x="53" y="89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46" y="92"/>
                  </a:lnTo>
                  <a:lnTo>
                    <a:pt x="45" y="93"/>
                  </a:lnTo>
                  <a:lnTo>
                    <a:pt x="44" y="96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37" y="99"/>
                  </a:lnTo>
                  <a:lnTo>
                    <a:pt x="35" y="102"/>
                  </a:lnTo>
                  <a:lnTo>
                    <a:pt x="37" y="106"/>
                  </a:lnTo>
                  <a:lnTo>
                    <a:pt x="37" y="106"/>
                  </a:lnTo>
                  <a:lnTo>
                    <a:pt x="38" y="111"/>
                  </a:lnTo>
                  <a:lnTo>
                    <a:pt x="37" y="114"/>
                  </a:lnTo>
                  <a:lnTo>
                    <a:pt x="35" y="116"/>
                  </a:lnTo>
                  <a:lnTo>
                    <a:pt x="35" y="116"/>
                  </a:lnTo>
                  <a:lnTo>
                    <a:pt x="32" y="117"/>
                  </a:lnTo>
                  <a:lnTo>
                    <a:pt x="31" y="116"/>
                  </a:lnTo>
                  <a:lnTo>
                    <a:pt x="28" y="113"/>
                  </a:lnTo>
                  <a:lnTo>
                    <a:pt x="25" y="109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19" y="104"/>
                  </a:lnTo>
                  <a:lnTo>
                    <a:pt x="16" y="106"/>
                  </a:lnTo>
                  <a:lnTo>
                    <a:pt x="14" y="107"/>
                  </a:lnTo>
                  <a:lnTo>
                    <a:pt x="13" y="111"/>
                  </a:lnTo>
                  <a:lnTo>
                    <a:pt x="13" y="111"/>
                  </a:lnTo>
                  <a:lnTo>
                    <a:pt x="12" y="114"/>
                  </a:lnTo>
                  <a:lnTo>
                    <a:pt x="10" y="116"/>
                  </a:lnTo>
                  <a:lnTo>
                    <a:pt x="7" y="118"/>
                  </a:lnTo>
                  <a:lnTo>
                    <a:pt x="5" y="121"/>
                  </a:lnTo>
                  <a:lnTo>
                    <a:pt x="5" y="121"/>
                  </a:lnTo>
                  <a:lnTo>
                    <a:pt x="5" y="124"/>
                  </a:lnTo>
                  <a:lnTo>
                    <a:pt x="6" y="125"/>
                  </a:lnTo>
                  <a:lnTo>
                    <a:pt x="9" y="127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9" y="129"/>
                  </a:lnTo>
                  <a:lnTo>
                    <a:pt x="7" y="132"/>
                  </a:lnTo>
                  <a:lnTo>
                    <a:pt x="5" y="134"/>
                  </a:lnTo>
                  <a:lnTo>
                    <a:pt x="5" y="134"/>
                  </a:lnTo>
                  <a:lnTo>
                    <a:pt x="2" y="138"/>
                  </a:lnTo>
                  <a:lnTo>
                    <a:pt x="0" y="141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3" y="145"/>
                  </a:lnTo>
                  <a:lnTo>
                    <a:pt x="6" y="145"/>
                  </a:lnTo>
                  <a:lnTo>
                    <a:pt x="9" y="146"/>
                  </a:lnTo>
                  <a:lnTo>
                    <a:pt x="10" y="149"/>
                  </a:lnTo>
                  <a:lnTo>
                    <a:pt x="10" y="149"/>
                  </a:lnTo>
                  <a:lnTo>
                    <a:pt x="9" y="156"/>
                  </a:lnTo>
                  <a:lnTo>
                    <a:pt x="10" y="157"/>
                  </a:lnTo>
                  <a:lnTo>
                    <a:pt x="13" y="157"/>
                  </a:lnTo>
                  <a:lnTo>
                    <a:pt x="13" y="157"/>
                  </a:lnTo>
                  <a:lnTo>
                    <a:pt x="19" y="157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25" y="159"/>
                  </a:lnTo>
                  <a:lnTo>
                    <a:pt x="27" y="160"/>
                  </a:lnTo>
                  <a:lnTo>
                    <a:pt x="34" y="168"/>
                  </a:lnTo>
                  <a:lnTo>
                    <a:pt x="34" y="168"/>
                  </a:lnTo>
                  <a:lnTo>
                    <a:pt x="38" y="175"/>
                  </a:lnTo>
                  <a:lnTo>
                    <a:pt x="38" y="177"/>
                  </a:lnTo>
                  <a:lnTo>
                    <a:pt x="35" y="178"/>
                  </a:lnTo>
                  <a:lnTo>
                    <a:pt x="35" y="178"/>
                  </a:lnTo>
                  <a:lnTo>
                    <a:pt x="32" y="179"/>
                  </a:lnTo>
                  <a:lnTo>
                    <a:pt x="32" y="181"/>
                  </a:lnTo>
                  <a:lnTo>
                    <a:pt x="35" y="182"/>
                  </a:lnTo>
                  <a:lnTo>
                    <a:pt x="39" y="185"/>
                  </a:lnTo>
                  <a:lnTo>
                    <a:pt x="39" y="185"/>
                  </a:lnTo>
                  <a:lnTo>
                    <a:pt x="44" y="188"/>
                  </a:lnTo>
                  <a:lnTo>
                    <a:pt x="44" y="188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53" y="181"/>
                  </a:lnTo>
                  <a:lnTo>
                    <a:pt x="62" y="177"/>
                  </a:lnTo>
                  <a:lnTo>
                    <a:pt x="71" y="175"/>
                  </a:lnTo>
                  <a:lnTo>
                    <a:pt x="80" y="175"/>
                  </a:lnTo>
                  <a:lnTo>
                    <a:pt x="80" y="175"/>
                  </a:lnTo>
                  <a:lnTo>
                    <a:pt x="87" y="177"/>
                  </a:lnTo>
                  <a:lnTo>
                    <a:pt x="93" y="177"/>
                  </a:lnTo>
                  <a:lnTo>
                    <a:pt x="99" y="177"/>
                  </a:lnTo>
                  <a:lnTo>
                    <a:pt x="102" y="178"/>
                  </a:lnTo>
                  <a:lnTo>
                    <a:pt x="103" y="179"/>
                  </a:lnTo>
                  <a:lnTo>
                    <a:pt x="103" y="179"/>
                  </a:lnTo>
                  <a:lnTo>
                    <a:pt x="105" y="182"/>
                  </a:lnTo>
                  <a:lnTo>
                    <a:pt x="106" y="185"/>
                  </a:lnTo>
                  <a:lnTo>
                    <a:pt x="106" y="192"/>
                  </a:lnTo>
                  <a:lnTo>
                    <a:pt x="105" y="199"/>
                  </a:lnTo>
                  <a:lnTo>
                    <a:pt x="106" y="203"/>
                  </a:lnTo>
                  <a:lnTo>
                    <a:pt x="106" y="203"/>
                  </a:lnTo>
                  <a:lnTo>
                    <a:pt x="106" y="204"/>
                  </a:lnTo>
                  <a:lnTo>
                    <a:pt x="105" y="206"/>
                  </a:lnTo>
                  <a:lnTo>
                    <a:pt x="100" y="207"/>
                  </a:lnTo>
                  <a:lnTo>
                    <a:pt x="96" y="207"/>
                  </a:lnTo>
                  <a:lnTo>
                    <a:pt x="91" y="207"/>
                  </a:lnTo>
                  <a:lnTo>
                    <a:pt x="91" y="207"/>
                  </a:lnTo>
                  <a:lnTo>
                    <a:pt x="84" y="207"/>
                  </a:lnTo>
                  <a:lnTo>
                    <a:pt x="77" y="209"/>
                  </a:lnTo>
                  <a:lnTo>
                    <a:pt x="71" y="211"/>
                  </a:lnTo>
                  <a:lnTo>
                    <a:pt x="71" y="213"/>
                  </a:lnTo>
                  <a:lnTo>
                    <a:pt x="71" y="214"/>
                  </a:lnTo>
                  <a:lnTo>
                    <a:pt x="71" y="214"/>
                  </a:lnTo>
                  <a:lnTo>
                    <a:pt x="74" y="222"/>
                  </a:lnTo>
                  <a:lnTo>
                    <a:pt x="74" y="224"/>
                  </a:lnTo>
                  <a:lnTo>
                    <a:pt x="73" y="224"/>
                  </a:lnTo>
                  <a:lnTo>
                    <a:pt x="69" y="222"/>
                  </a:lnTo>
                  <a:lnTo>
                    <a:pt x="69" y="222"/>
                  </a:lnTo>
                  <a:lnTo>
                    <a:pt x="66" y="221"/>
                  </a:lnTo>
                  <a:lnTo>
                    <a:pt x="63" y="221"/>
                  </a:lnTo>
                  <a:lnTo>
                    <a:pt x="60" y="222"/>
                  </a:lnTo>
                  <a:lnTo>
                    <a:pt x="59" y="224"/>
                  </a:lnTo>
                  <a:lnTo>
                    <a:pt x="59" y="227"/>
                  </a:lnTo>
                  <a:lnTo>
                    <a:pt x="59" y="228"/>
                  </a:lnTo>
                  <a:lnTo>
                    <a:pt x="60" y="228"/>
                  </a:lnTo>
                  <a:lnTo>
                    <a:pt x="60" y="228"/>
                  </a:lnTo>
                  <a:lnTo>
                    <a:pt x="64" y="229"/>
                  </a:lnTo>
                  <a:lnTo>
                    <a:pt x="69" y="231"/>
                  </a:lnTo>
                  <a:lnTo>
                    <a:pt x="71" y="235"/>
                  </a:lnTo>
                  <a:lnTo>
                    <a:pt x="73" y="238"/>
                  </a:lnTo>
                  <a:lnTo>
                    <a:pt x="73" y="238"/>
                  </a:lnTo>
                  <a:lnTo>
                    <a:pt x="73" y="246"/>
                  </a:lnTo>
                  <a:lnTo>
                    <a:pt x="75" y="249"/>
                  </a:lnTo>
                  <a:lnTo>
                    <a:pt x="75" y="250"/>
                  </a:lnTo>
                  <a:lnTo>
                    <a:pt x="78" y="250"/>
                  </a:lnTo>
                  <a:lnTo>
                    <a:pt x="78" y="250"/>
                  </a:lnTo>
                  <a:lnTo>
                    <a:pt x="81" y="250"/>
                  </a:lnTo>
                  <a:lnTo>
                    <a:pt x="82" y="253"/>
                  </a:lnTo>
                  <a:lnTo>
                    <a:pt x="85" y="256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93" y="257"/>
                  </a:lnTo>
                  <a:lnTo>
                    <a:pt x="96" y="259"/>
                  </a:lnTo>
                  <a:lnTo>
                    <a:pt x="98" y="260"/>
                  </a:lnTo>
                  <a:lnTo>
                    <a:pt x="96" y="264"/>
                  </a:lnTo>
                  <a:lnTo>
                    <a:pt x="96" y="264"/>
                  </a:lnTo>
                  <a:lnTo>
                    <a:pt x="95" y="267"/>
                  </a:lnTo>
                  <a:lnTo>
                    <a:pt x="95" y="271"/>
                  </a:lnTo>
                  <a:lnTo>
                    <a:pt x="96" y="278"/>
                  </a:lnTo>
                  <a:lnTo>
                    <a:pt x="99" y="282"/>
                  </a:lnTo>
                  <a:lnTo>
                    <a:pt x="100" y="284"/>
                  </a:lnTo>
                  <a:lnTo>
                    <a:pt x="102" y="284"/>
                  </a:lnTo>
                  <a:lnTo>
                    <a:pt x="102" y="284"/>
                  </a:lnTo>
                  <a:lnTo>
                    <a:pt x="102" y="278"/>
                  </a:lnTo>
                  <a:lnTo>
                    <a:pt x="103" y="272"/>
                  </a:lnTo>
                  <a:lnTo>
                    <a:pt x="103" y="272"/>
                  </a:lnTo>
                  <a:lnTo>
                    <a:pt x="103" y="270"/>
                  </a:lnTo>
                  <a:lnTo>
                    <a:pt x="103" y="268"/>
                  </a:lnTo>
                  <a:lnTo>
                    <a:pt x="106" y="267"/>
                  </a:lnTo>
                  <a:lnTo>
                    <a:pt x="109" y="266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0" y="264"/>
                  </a:lnTo>
                  <a:lnTo>
                    <a:pt x="124" y="266"/>
                  </a:lnTo>
                  <a:lnTo>
                    <a:pt x="128" y="268"/>
                  </a:lnTo>
                  <a:lnTo>
                    <a:pt x="134" y="274"/>
                  </a:lnTo>
                  <a:lnTo>
                    <a:pt x="138" y="279"/>
                  </a:lnTo>
                  <a:lnTo>
                    <a:pt x="138" y="279"/>
                  </a:lnTo>
                  <a:lnTo>
                    <a:pt x="142" y="282"/>
                  </a:lnTo>
                  <a:lnTo>
                    <a:pt x="146" y="284"/>
                  </a:lnTo>
                  <a:lnTo>
                    <a:pt x="149" y="282"/>
                  </a:lnTo>
                  <a:lnTo>
                    <a:pt x="149" y="282"/>
                  </a:lnTo>
                  <a:lnTo>
                    <a:pt x="152" y="213"/>
                  </a:lnTo>
                  <a:lnTo>
                    <a:pt x="191" y="202"/>
                  </a:lnTo>
                  <a:lnTo>
                    <a:pt x="191" y="202"/>
                  </a:lnTo>
                  <a:lnTo>
                    <a:pt x="192" y="199"/>
                  </a:lnTo>
                  <a:lnTo>
                    <a:pt x="192" y="199"/>
                  </a:lnTo>
                  <a:lnTo>
                    <a:pt x="195" y="197"/>
                  </a:lnTo>
                  <a:lnTo>
                    <a:pt x="196" y="196"/>
                  </a:lnTo>
                  <a:lnTo>
                    <a:pt x="200" y="196"/>
                  </a:lnTo>
                  <a:lnTo>
                    <a:pt x="205" y="197"/>
                  </a:lnTo>
                  <a:lnTo>
                    <a:pt x="207" y="200"/>
                  </a:lnTo>
                  <a:lnTo>
                    <a:pt x="207" y="200"/>
                  </a:lnTo>
                  <a:lnTo>
                    <a:pt x="207" y="200"/>
                  </a:lnTo>
                  <a:lnTo>
                    <a:pt x="207" y="199"/>
                  </a:lnTo>
                  <a:lnTo>
                    <a:pt x="209" y="196"/>
                  </a:lnTo>
                  <a:lnTo>
                    <a:pt x="210" y="193"/>
                  </a:lnTo>
                  <a:lnTo>
                    <a:pt x="211" y="192"/>
                  </a:lnTo>
                  <a:lnTo>
                    <a:pt x="213" y="192"/>
                  </a:lnTo>
                  <a:lnTo>
                    <a:pt x="213" y="192"/>
                  </a:lnTo>
                  <a:lnTo>
                    <a:pt x="214" y="193"/>
                  </a:lnTo>
                  <a:lnTo>
                    <a:pt x="216" y="193"/>
                  </a:lnTo>
                  <a:lnTo>
                    <a:pt x="216" y="197"/>
                  </a:lnTo>
                  <a:lnTo>
                    <a:pt x="216" y="200"/>
                  </a:lnTo>
                  <a:lnTo>
                    <a:pt x="216" y="202"/>
                  </a:lnTo>
                  <a:lnTo>
                    <a:pt x="217" y="202"/>
                  </a:lnTo>
                  <a:lnTo>
                    <a:pt x="217" y="202"/>
                  </a:lnTo>
                  <a:lnTo>
                    <a:pt x="220" y="203"/>
                  </a:lnTo>
                  <a:lnTo>
                    <a:pt x="223" y="209"/>
                  </a:lnTo>
                  <a:lnTo>
                    <a:pt x="225" y="216"/>
                  </a:lnTo>
                  <a:lnTo>
                    <a:pt x="225" y="222"/>
                  </a:lnTo>
                  <a:lnTo>
                    <a:pt x="225" y="222"/>
                  </a:lnTo>
                  <a:lnTo>
                    <a:pt x="236" y="232"/>
                  </a:lnTo>
                  <a:lnTo>
                    <a:pt x="243" y="242"/>
                  </a:lnTo>
                  <a:lnTo>
                    <a:pt x="243" y="242"/>
                  </a:lnTo>
                  <a:lnTo>
                    <a:pt x="245" y="243"/>
                  </a:lnTo>
                  <a:lnTo>
                    <a:pt x="246" y="243"/>
                  </a:lnTo>
                  <a:lnTo>
                    <a:pt x="253" y="242"/>
                  </a:lnTo>
                  <a:lnTo>
                    <a:pt x="260" y="241"/>
                  </a:lnTo>
                  <a:lnTo>
                    <a:pt x="264" y="241"/>
                  </a:lnTo>
                  <a:lnTo>
                    <a:pt x="264" y="241"/>
                  </a:lnTo>
                  <a:lnTo>
                    <a:pt x="280" y="242"/>
                  </a:lnTo>
                  <a:lnTo>
                    <a:pt x="295" y="242"/>
                  </a:lnTo>
                  <a:lnTo>
                    <a:pt x="295" y="242"/>
                  </a:lnTo>
                  <a:lnTo>
                    <a:pt x="299" y="243"/>
                  </a:lnTo>
                  <a:lnTo>
                    <a:pt x="302" y="246"/>
                  </a:lnTo>
                  <a:lnTo>
                    <a:pt x="305" y="249"/>
                  </a:lnTo>
                  <a:lnTo>
                    <a:pt x="307" y="252"/>
                  </a:lnTo>
                  <a:lnTo>
                    <a:pt x="307" y="252"/>
                  </a:lnTo>
                  <a:lnTo>
                    <a:pt x="310" y="253"/>
                  </a:lnTo>
                  <a:lnTo>
                    <a:pt x="311" y="257"/>
                  </a:lnTo>
                  <a:lnTo>
                    <a:pt x="311" y="266"/>
                  </a:lnTo>
                  <a:lnTo>
                    <a:pt x="311" y="266"/>
                  </a:lnTo>
                  <a:lnTo>
                    <a:pt x="313" y="270"/>
                  </a:lnTo>
                  <a:lnTo>
                    <a:pt x="316" y="274"/>
                  </a:lnTo>
                  <a:lnTo>
                    <a:pt x="318" y="278"/>
                  </a:lnTo>
                  <a:lnTo>
                    <a:pt x="320" y="282"/>
                  </a:lnTo>
                  <a:lnTo>
                    <a:pt x="320" y="282"/>
                  </a:lnTo>
                  <a:lnTo>
                    <a:pt x="321" y="284"/>
                  </a:lnTo>
                  <a:lnTo>
                    <a:pt x="321" y="285"/>
                  </a:lnTo>
                  <a:lnTo>
                    <a:pt x="325" y="285"/>
                  </a:lnTo>
                  <a:lnTo>
                    <a:pt x="334" y="286"/>
                  </a:lnTo>
                  <a:lnTo>
                    <a:pt x="334" y="286"/>
                  </a:lnTo>
                  <a:lnTo>
                    <a:pt x="342" y="289"/>
                  </a:lnTo>
                  <a:lnTo>
                    <a:pt x="345" y="290"/>
                  </a:lnTo>
                  <a:lnTo>
                    <a:pt x="346" y="293"/>
                  </a:lnTo>
                  <a:lnTo>
                    <a:pt x="346" y="293"/>
                  </a:lnTo>
                  <a:lnTo>
                    <a:pt x="348" y="296"/>
                  </a:lnTo>
                  <a:lnTo>
                    <a:pt x="350" y="296"/>
                  </a:lnTo>
                  <a:lnTo>
                    <a:pt x="353" y="295"/>
                  </a:lnTo>
                  <a:lnTo>
                    <a:pt x="354" y="292"/>
                  </a:lnTo>
                  <a:lnTo>
                    <a:pt x="354" y="292"/>
                  </a:lnTo>
                  <a:lnTo>
                    <a:pt x="356" y="289"/>
                  </a:lnTo>
                  <a:lnTo>
                    <a:pt x="359" y="285"/>
                  </a:lnTo>
                  <a:lnTo>
                    <a:pt x="364" y="282"/>
                  </a:lnTo>
                  <a:lnTo>
                    <a:pt x="370" y="279"/>
                  </a:lnTo>
                  <a:lnTo>
                    <a:pt x="370" y="279"/>
                  </a:lnTo>
                  <a:lnTo>
                    <a:pt x="375" y="278"/>
                  </a:lnTo>
                  <a:lnTo>
                    <a:pt x="379" y="278"/>
                  </a:lnTo>
                  <a:lnTo>
                    <a:pt x="379" y="278"/>
                  </a:lnTo>
                  <a:lnTo>
                    <a:pt x="382" y="272"/>
                  </a:lnTo>
                  <a:lnTo>
                    <a:pt x="384" y="270"/>
                  </a:lnTo>
                  <a:lnTo>
                    <a:pt x="384" y="270"/>
                  </a:lnTo>
                  <a:lnTo>
                    <a:pt x="389" y="266"/>
                  </a:lnTo>
                  <a:lnTo>
                    <a:pt x="392" y="263"/>
                  </a:lnTo>
                  <a:lnTo>
                    <a:pt x="393" y="259"/>
                  </a:lnTo>
                  <a:lnTo>
                    <a:pt x="393" y="259"/>
                  </a:lnTo>
                  <a:lnTo>
                    <a:pt x="395" y="257"/>
                  </a:lnTo>
                  <a:lnTo>
                    <a:pt x="396" y="256"/>
                  </a:lnTo>
                  <a:lnTo>
                    <a:pt x="402" y="256"/>
                  </a:lnTo>
                  <a:lnTo>
                    <a:pt x="409" y="256"/>
                  </a:lnTo>
                  <a:lnTo>
                    <a:pt x="416" y="259"/>
                  </a:lnTo>
                  <a:lnTo>
                    <a:pt x="416" y="259"/>
                  </a:lnTo>
                  <a:lnTo>
                    <a:pt x="421" y="261"/>
                  </a:lnTo>
                  <a:lnTo>
                    <a:pt x="425" y="261"/>
                  </a:lnTo>
                  <a:lnTo>
                    <a:pt x="428" y="260"/>
                  </a:lnTo>
                  <a:lnTo>
                    <a:pt x="429" y="256"/>
                  </a:lnTo>
                  <a:lnTo>
                    <a:pt x="429" y="256"/>
                  </a:lnTo>
                  <a:lnTo>
                    <a:pt x="429" y="254"/>
                  </a:lnTo>
                  <a:lnTo>
                    <a:pt x="431" y="252"/>
                  </a:lnTo>
                  <a:lnTo>
                    <a:pt x="436" y="250"/>
                  </a:lnTo>
                  <a:lnTo>
                    <a:pt x="441" y="249"/>
                  </a:lnTo>
                  <a:lnTo>
                    <a:pt x="445" y="250"/>
                  </a:lnTo>
                  <a:lnTo>
                    <a:pt x="445" y="250"/>
                  </a:lnTo>
                  <a:lnTo>
                    <a:pt x="454" y="254"/>
                  </a:lnTo>
                  <a:lnTo>
                    <a:pt x="461" y="256"/>
                  </a:lnTo>
                  <a:lnTo>
                    <a:pt x="466" y="256"/>
                  </a:lnTo>
                  <a:lnTo>
                    <a:pt x="466" y="256"/>
                  </a:lnTo>
                  <a:lnTo>
                    <a:pt x="474" y="254"/>
                  </a:lnTo>
                  <a:lnTo>
                    <a:pt x="485" y="256"/>
                  </a:lnTo>
                  <a:lnTo>
                    <a:pt x="506" y="259"/>
                  </a:lnTo>
                  <a:lnTo>
                    <a:pt x="506" y="259"/>
                  </a:lnTo>
                  <a:lnTo>
                    <a:pt x="510" y="259"/>
                  </a:lnTo>
                  <a:lnTo>
                    <a:pt x="514" y="259"/>
                  </a:lnTo>
                  <a:lnTo>
                    <a:pt x="517" y="259"/>
                  </a:lnTo>
                  <a:lnTo>
                    <a:pt x="521" y="263"/>
                  </a:lnTo>
                  <a:lnTo>
                    <a:pt x="521" y="263"/>
                  </a:lnTo>
                  <a:lnTo>
                    <a:pt x="524" y="264"/>
                  </a:lnTo>
                  <a:lnTo>
                    <a:pt x="527" y="266"/>
                  </a:lnTo>
                  <a:lnTo>
                    <a:pt x="531" y="266"/>
                  </a:lnTo>
                  <a:lnTo>
                    <a:pt x="534" y="267"/>
                  </a:lnTo>
                  <a:lnTo>
                    <a:pt x="534" y="267"/>
                  </a:lnTo>
                  <a:lnTo>
                    <a:pt x="534" y="261"/>
                  </a:lnTo>
                  <a:lnTo>
                    <a:pt x="534" y="261"/>
                  </a:lnTo>
                  <a:lnTo>
                    <a:pt x="535" y="257"/>
                  </a:lnTo>
                  <a:lnTo>
                    <a:pt x="538" y="254"/>
                  </a:lnTo>
                  <a:lnTo>
                    <a:pt x="541" y="252"/>
                  </a:lnTo>
                  <a:lnTo>
                    <a:pt x="542" y="249"/>
                  </a:lnTo>
                  <a:lnTo>
                    <a:pt x="542" y="249"/>
                  </a:lnTo>
                  <a:lnTo>
                    <a:pt x="542" y="245"/>
                  </a:lnTo>
                  <a:lnTo>
                    <a:pt x="539" y="241"/>
                  </a:lnTo>
                  <a:lnTo>
                    <a:pt x="536" y="235"/>
                  </a:lnTo>
                  <a:lnTo>
                    <a:pt x="536" y="232"/>
                  </a:lnTo>
                  <a:lnTo>
                    <a:pt x="536" y="232"/>
                  </a:lnTo>
                  <a:lnTo>
                    <a:pt x="535" y="224"/>
                  </a:lnTo>
                  <a:lnTo>
                    <a:pt x="534" y="221"/>
                  </a:lnTo>
                  <a:lnTo>
                    <a:pt x="532" y="218"/>
                  </a:lnTo>
                  <a:lnTo>
                    <a:pt x="532" y="218"/>
                  </a:lnTo>
                  <a:lnTo>
                    <a:pt x="532" y="217"/>
                  </a:lnTo>
                  <a:lnTo>
                    <a:pt x="532" y="217"/>
                  </a:lnTo>
                  <a:lnTo>
                    <a:pt x="535" y="214"/>
                  </a:lnTo>
                  <a:lnTo>
                    <a:pt x="542" y="211"/>
                  </a:lnTo>
                  <a:lnTo>
                    <a:pt x="542" y="211"/>
                  </a:lnTo>
                  <a:lnTo>
                    <a:pt x="546" y="211"/>
                  </a:lnTo>
                  <a:lnTo>
                    <a:pt x="550" y="210"/>
                  </a:lnTo>
                  <a:lnTo>
                    <a:pt x="553" y="209"/>
                  </a:lnTo>
                  <a:lnTo>
                    <a:pt x="556" y="209"/>
                  </a:lnTo>
                  <a:lnTo>
                    <a:pt x="556" y="209"/>
                  </a:lnTo>
                  <a:lnTo>
                    <a:pt x="561" y="211"/>
                  </a:lnTo>
                  <a:lnTo>
                    <a:pt x="567" y="211"/>
                  </a:lnTo>
                  <a:lnTo>
                    <a:pt x="567" y="211"/>
                  </a:lnTo>
                  <a:lnTo>
                    <a:pt x="570" y="211"/>
                  </a:lnTo>
                  <a:lnTo>
                    <a:pt x="570" y="209"/>
                  </a:lnTo>
                  <a:lnTo>
                    <a:pt x="568" y="207"/>
                  </a:lnTo>
                  <a:lnTo>
                    <a:pt x="567" y="204"/>
                  </a:lnTo>
                  <a:lnTo>
                    <a:pt x="567" y="204"/>
                  </a:lnTo>
                  <a:lnTo>
                    <a:pt x="567" y="203"/>
                  </a:lnTo>
                  <a:lnTo>
                    <a:pt x="567" y="200"/>
                  </a:lnTo>
                  <a:lnTo>
                    <a:pt x="571" y="192"/>
                  </a:lnTo>
                  <a:lnTo>
                    <a:pt x="577" y="174"/>
                  </a:lnTo>
                  <a:lnTo>
                    <a:pt x="577" y="174"/>
                  </a:lnTo>
                  <a:lnTo>
                    <a:pt x="578" y="171"/>
                  </a:lnTo>
                  <a:lnTo>
                    <a:pt x="581" y="171"/>
                  </a:lnTo>
                  <a:lnTo>
                    <a:pt x="584" y="174"/>
                  </a:lnTo>
                  <a:lnTo>
                    <a:pt x="588" y="174"/>
                  </a:lnTo>
                  <a:lnTo>
                    <a:pt x="588" y="174"/>
                  </a:lnTo>
                  <a:lnTo>
                    <a:pt x="595" y="175"/>
                  </a:lnTo>
                  <a:lnTo>
                    <a:pt x="602" y="175"/>
                  </a:lnTo>
                  <a:lnTo>
                    <a:pt x="602" y="175"/>
                  </a:lnTo>
                  <a:lnTo>
                    <a:pt x="606" y="177"/>
                  </a:lnTo>
                  <a:lnTo>
                    <a:pt x="610" y="175"/>
                  </a:lnTo>
                  <a:lnTo>
                    <a:pt x="614" y="173"/>
                  </a:lnTo>
                  <a:lnTo>
                    <a:pt x="617" y="170"/>
                  </a:lnTo>
                  <a:lnTo>
                    <a:pt x="617" y="170"/>
                  </a:lnTo>
                  <a:lnTo>
                    <a:pt x="617" y="168"/>
                  </a:lnTo>
                  <a:lnTo>
                    <a:pt x="616" y="166"/>
                  </a:lnTo>
                  <a:lnTo>
                    <a:pt x="616" y="163"/>
                  </a:lnTo>
                  <a:lnTo>
                    <a:pt x="614" y="157"/>
                  </a:lnTo>
                  <a:lnTo>
                    <a:pt x="614" y="157"/>
                  </a:lnTo>
                  <a:lnTo>
                    <a:pt x="616" y="153"/>
                  </a:lnTo>
                  <a:lnTo>
                    <a:pt x="618" y="149"/>
                  </a:lnTo>
                  <a:lnTo>
                    <a:pt x="621" y="146"/>
                  </a:lnTo>
                  <a:lnTo>
                    <a:pt x="625" y="146"/>
                  </a:lnTo>
                  <a:lnTo>
                    <a:pt x="625" y="146"/>
                  </a:lnTo>
                  <a:lnTo>
                    <a:pt x="628" y="145"/>
                  </a:lnTo>
                  <a:lnTo>
                    <a:pt x="629" y="143"/>
                  </a:lnTo>
                  <a:lnTo>
                    <a:pt x="631" y="141"/>
                  </a:lnTo>
                  <a:lnTo>
                    <a:pt x="631" y="138"/>
                  </a:lnTo>
                  <a:lnTo>
                    <a:pt x="631" y="138"/>
                  </a:lnTo>
                  <a:lnTo>
                    <a:pt x="632" y="135"/>
                  </a:lnTo>
                  <a:lnTo>
                    <a:pt x="634" y="132"/>
                  </a:lnTo>
                  <a:lnTo>
                    <a:pt x="635" y="131"/>
                  </a:lnTo>
                  <a:lnTo>
                    <a:pt x="636" y="127"/>
                  </a:lnTo>
                  <a:lnTo>
                    <a:pt x="636" y="127"/>
                  </a:lnTo>
                  <a:lnTo>
                    <a:pt x="635" y="124"/>
                  </a:lnTo>
                  <a:lnTo>
                    <a:pt x="634" y="121"/>
                  </a:lnTo>
                  <a:lnTo>
                    <a:pt x="634" y="121"/>
                  </a:lnTo>
                  <a:close/>
                  <a:moveTo>
                    <a:pt x="238" y="189"/>
                  </a:moveTo>
                  <a:lnTo>
                    <a:pt x="238" y="189"/>
                  </a:lnTo>
                  <a:lnTo>
                    <a:pt x="234" y="191"/>
                  </a:lnTo>
                  <a:lnTo>
                    <a:pt x="227" y="189"/>
                  </a:lnTo>
                  <a:lnTo>
                    <a:pt x="220" y="186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6" y="182"/>
                  </a:lnTo>
                  <a:lnTo>
                    <a:pt x="218" y="182"/>
                  </a:lnTo>
                  <a:lnTo>
                    <a:pt x="227" y="182"/>
                  </a:lnTo>
                  <a:lnTo>
                    <a:pt x="235" y="185"/>
                  </a:lnTo>
                  <a:lnTo>
                    <a:pt x="238" y="188"/>
                  </a:lnTo>
                  <a:lnTo>
                    <a:pt x="238" y="189"/>
                  </a:lnTo>
                  <a:lnTo>
                    <a:pt x="238" y="189"/>
                  </a:lnTo>
                  <a:close/>
                  <a:moveTo>
                    <a:pt x="500" y="188"/>
                  </a:moveTo>
                  <a:lnTo>
                    <a:pt x="500" y="188"/>
                  </a:lnTo>
                  <a:lnTo>
                    <a:pt x="488" y="186"/>
                  </a:lnTo>
                  <a:lnTo>
                    <a:pt x="473" y="186"/>
                  </a:lnTo>
                  <a:lnTo>
                    <a:pt x="466" y="186"/>
                  </a:lnTo>
                  <a:lnTo>
                    <a:pt x="459" y="188"/>
                  </a:lnTo>
                  <a:lnTo>
                    <a:pt x="452" y="189"/>
                  </a:lnTo>
                  <a:lnTo>
                    <a:pt x="448" y="193"/>
                  </a:lnTo>
                  <a:lnTo>
                    <a:pt x="448" y="193"/>
                  </a:lnTo>
                  <a:lnTo>
                    <a:pt x="443" y="197"/>
                  </a:lnTo>
                  <a:lnTo>
                    <a:pt x="442" y="202"/>
                  </a:lnTo>
                  <a:lnTo>
                    <a:pt x="441" y="209"/>
                  </a:lnTo>
                  <a:lnTo>
                    <a:pt x="441" y="211"/>
                  </a:lnTo>
                  <a:lnTo>
                    <a:pt x="441" y="213"/>
                  </a:lnTo>
                  <a:lnTo>
                    <a:pt x="439" y="214"/>
                  </a:lnTo>
                  <a:lnTo>
                    <a:pt x="439" y="214"/>
                  </a:lnTo>
                  <a:lnTo>
                    <a:pt x="436" y="213"/>
                  </a:lnTo>
                  <a:lnTo>
                    <a:pt x="435" y="211"/>
                  </a:lnTo>
                  <a:lnTo>
                    <a:pt x="434" y="203"/>
                  </a:lnTo>
                  <a:lnTo>
                    <a:pt x="434" y="195"/>
                  </a:lnTo>
                  <a:lnTo>
                    <a:pt x="435" y="191"/>
                  </a:lnTo>
                  <a:lnTo>
                    <a:pt x="436" y="188"/>
                  </a:lnTo>
                  <a:lnTo>
                    <a:pt x="436" y="188"/>
                  </a:lnTo>
                  <a:lnTo>
                    <a:pt x="439" y="186"/>
                  </a:lnTo>
                  <a:lnTo>
                    <a:pt x="443" y="184"/>
                  </a:lnTo>
                  <a:lnTo>
                    <a:pt x="454" y="181"/>
                  </a:lnTo>
                  <a:lnTo>
                    <a:pt x="466" y="181"/>
                  </a:lnTo>
                  <a:lnTo>
                    <a:pt x="477" y="182"/>
                  </a:lnTo>
                  <a:lnTo>
                    <a:pt x="477" y="182"/>
                  </a:lnTo>
                  <a:lnTo>
                    <a:pt x="488" y="184"/>
                  </a:lnTo>
                  <a:lnTo>
                    <a:pt x="500" y="182"/>
                  </a:lnTo>
                  <a:lnTo>
                    <a:pt x="510" y="181"/>
                  </a:lnTo>
                  <a:lnTo>
                    <a:pt x="517" y="181"/>
                  </a:lnTo>
                  <a:lnTo>
                    <a:pt x="517" y="181"/>
                  </a:lnTo>
                  <a:lnTo>
                    <a:pt x="517" y="181"/>
                  </a:lnTo>
                  <a:lnTo>
                    <a:pt x="517" y="182"/>
                  </a:lnTo>
                  <a:lnTo>
                    <a:pt x="514" y="184"/>
                  </a:lnTo>
                  <a:lnTo>
                    <a:pt x="509" y="186"/>
                  </a:lnTo>
                  <a:lnTo>
                    <a:pt x="500" y="188"/>
                  </a:lnTo>
                  <a:lnTo>
                    <a:pt x="500" y="188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169"/>
            <p:cNvSpPr>
              <a:spLocks/>
            </p:cNvSpPr>
            <p:nvPr/>
          </p:nvSpPr>
          <p:spPr bwMode="auto">
            <a:xfrm>
              <a:off x="6272213" y="2905125"/>
              <a:ext cx="188913" cy="125413"/>
            </a:xfrm>
            <a:custGeom>
              <a:avLst/>
              <a:gdLst>
                <a:gd name="T0" fmla="*/ 100 w 119"/>
                <a:gd name="T1" fmla="*/ 68 h 79"/>
                <a:gd name="T2" fmla="*/ 103 w 119"/>
                <a:gd name="T3" fmla="*/ 69 h 79"/>
                <a:gd name="T4" fmla="*/ 114 w 119"/>
                <a:gd name="T5" fmla="*/ 72 h 79"/>
                <a:gd name="T6" fmla="*/ 117 w 119"/>
                <a:gd name="T7" fmla="*/ 51 h 79"/>
                <a:gd name="T8" fmla="*/ 114 w 119"/>
                <a:gd name="T9" fmla="*/ 47 h 79"/>
                <a:gd name="T10" fmla="*/ 99 w 119"/>
                <a:gd name="T11" fmla="*/ 28 h 79"/>
                <a:gd name="T12" fmla="*/ 82 w 119"/>
                <a:gd name="T13" fmla="*/ 29 h 79"/>
                <a:gd name="T14" fmla="*/ 75 w 119"/>
                <a:gd name="T15" fmla="*/ 28 h 79"/>
                <a:gd name="T16" fmla="*/ 65 w 119"/>
                <a:gd name="T17" fmla="*/ 26 h 79"/>
                <a:gd name="T18" fmla="*/ 63 w 119"/>
                <a:gd name="T19" fmla="*/ 25 h 79"/>
                <a:gd name="T20" fmla="*/ 53 w 119"/>
                <a:gd name="T21" fmla="*/ 26 h 79"/>
                <a:gd name="T22" fmla="*/ 49 w 119"/>
                <a:gd name="T23" fmla="*/ 25 h 79"/>
                <a:gd name="T24" fmla="*/ 32 w 119"/>
                <a:gd name="T25" fmla="*/ 25 h 79"/>
                <a:gd name="T26" fmla="*/ 28 w 119"/>
                <a:gd name="T27" fmla="*/ 23 h 79"/>
                <a:gd name="T28" fmla="*/ 36 w 119"/>
                <a:gd name="T29" fmla="*/ 15 h 79"/>
                <a:gd name="T30" fmla="*/ 44 w 119"/>
                <a:gd name="T31" fmla="*/ 14 h 79"/>
                <a:gd name="T32" fmla="*/ 50 w 119"/>
                <a:gd name="T33" fmla="*/ 4 h 79"/>
                <a:gd name="T34" fmla="*/ 49 w 119"/>
                <a:gd name="T35" fmla="*/ 0 h 79"/>
                <a:gd name="T36" fmla="*/ 39 w 119"/>
                <a:gd name="T37" fmla="*/ 4 h 79"/>
                <a:gd name="T38" fmla="*/ 29 w 119"/>
                <a:gd name="T39" fmla="*/ 5 h 79"/>
                <a:gd name="T40" fmla="*/ 25 w 119"/>
                <a:gd name="T41" fmla="*/ 12 h 79"/>
                <a:gd name="T42" fmla="*/ 19 w 119"/>
                <a:gd name="T43" fmla="*/ 15 h 79"/>
                <a:gd name="T44" fmla="*/ 17 w 119"/>
                <a:gd name="T45" fmla="*/ 22 h 79"/>
                <a:gd name="T46" fmla="*/ 6 w 119"/>
                <a:gd name="T47" fmla="*/ 26 h 79"/>
                <a:gd name="T48" fmla="*/ 0 w 119"/>
                <a:gd name="T49" fmla="*/ 29 h 79"/>
                <a:gd name="T50" fmla="*/ 4 w 119"/>
                <a:gd name="T51" fmla="*/ 35 h 79"/>
                <a:gd name="T52" fmla="*/ 10 w 119"/>
                <a:gd name="T53" fmla="*/ 42 h 79"/>
                <a:gd name="T54" fmla="*/ 11 w 119"/>
                <a:gd name="T55" fmla="*/ 48 h 79"/>
                <a:gd name="T56" fmla="*/ 11 w 119"/>
                <a:gd name="T57" fmla="*/ 55 h 79"/>
                <a:gd name="T58" fmla="*/ 7 w 119"/>
                <a:gd name="T59" fmla="*/ 61 h 79"/>
                <a:gd name="T60" fmla="*/ 6 w 119"/>
                <a:gd name="T61" fmla="*/ 72 h 79"/>
                <a:gd name="T62" fmla="*/ 13 w 119"/>
                <a:gd name="T63" fmla="*/ 72 h 79"/>
                <a:gd name="T64" fmla="*/ 15 w 119"/>
                <a:gd name="T65" fmla="*/ 71 h 79"/>
                <a:gd name="T66" fmla="*/ 28 w 119"/>
                <a:gd name="T67" fmla="*/ 69 h 79"/>
                <a:gd name="T68" fmla="*/ 29 w 119"/>
                <a:gd name="T69" fmla="*/ 67 h 79"/>
                <a:gd name="T70" fmla="*/ 40 w 119"/>
                <a:gd name="T71" fmla="*/ 62 h 79"/>
                <a:gd name="T72" fmla="*/ 43 w 119"/>
                <a:gd name="T73" fmla="*/ 61 h 79"/>
                <a:gd name="T74" fmla="*/ 53 w 119"/>
                <a:gd name="T75" fmla="*/ 48 h 79"/>
                <a:gd name="T76" fmla="*/ 58 w 119"/>
                <a:gd name="T77" fmla="*/ 47 h 79"/>
                <a:gd name="T78" fmla="*/ 61 w 119"/>
                <a:gd name="T79" fmla="*/ 57 h 79"/>
                <a:gd name="T80" fmla="*/ 64 w 119"/>
                <a:gd name="T81" fmla="*/ 60 h 79"/>
                <a:gd name="T82" fmla="*/ 65 w 119"/>
                <a:gd name="T83" fmla="*/ 69 h 79"/>
                <a:gd name="T84" fmla="*/ 64 w 119"/>
                <a:gd name="T85" fmla="*/ 79 h 79"/>
                <a:gd name="T86" fmla="*/ 72 w 119"/>
                <a:gd name="T87" fmla="*/ 79 h 79"/>
                <a:gd name="T88" fmla="*/ 81 w 119"/>
                <a:gd name="T89" fmla="*/ 76 h 79"/>
                <a:gd name="T90" fmla="*/ 97 w 119"/>
                <a:gd name="T91" fmla="*/ 6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9" h="79">
                  <a:moveTo>
                    <a:pt x="97" y="65"/>
                  </a:moveTo>
                  <a:lnTo>
                    <a:pt x="97" y="65"/>
                  </a:lnTo>
                  <a:lnTo>
                    <a:pt x="100" y="68"/>
                  </a:lnTo>
                  <a:lnTo>
                    <a:pt x="101" y="69"/>
                  </a:lnTo>
                  <a:lnTo>
                    <a:pt x="103" y="69"/>
                  </a:lnTo>
                  <a:lnTo>
                    <a:pt x="103" y="69"/>
                  </a:lnTo>
                  <a:lnTo>
                    <a:pt x="108" y="69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9" y="72"/>
                  </a:lnTo>
                  <a:lnTo>
                    <a:pt x="119" y="72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5" y="48"/>
                  </a:lnTo>
                  <a:lnTo>
                    <a:pt x="114" y="47"/>
                  </a:lnTo>
                  <a:lnTo>
                    <a:pt x="108" y="44"/>
                  </a:lnTo>
                  <a:lnTo>
                    <a:pt x="100" y="42"/>
                  </a:lnTo>
                  <a:lnTo>
                    <a:pt x="99" y="28"/>
                  </a:lnTo>
                  <a:lnTo>
                    <a:pt x="99" y="28"/>
                  </a:lnTo>
                  <a:lnTo>
                    <a:pt x="89" y="28"/>
                  </a:lnTo>
                  <a:lnTo>
                    <a:pt x="82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5" y="28"/>
                  </a:lnTo>
                  <a:lnTo>
                    <a:pt x="71" y="29"/>
                  </a:lnTo>
                  <a:lnTo>
                    <a:pt x="68" y="28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4" y="25"/>
                  </a:lnTo>
                  <a:lnTo>
                    <a:pt x="63" y="25"/>
                  </a:lnTo>
                  <a:lnTo>
                    <a:pt x="58" y="25"/>
                  </a:lnTo>
                  <a:lnTo>
                    <a:pt x="54" y="26"/>
                  </a:lnTo>
                  <a:lnTo>
                    <a:pt x="53" y="26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49" y="25"/>
                  </a:lnTo>
                  <a:lnTo>
                    <a:pt x="44" y="23"/>
                  </a:lnTo>
                  <a:lnTo>
                    <a:pt x="38" y="25"/>
                  </a:lnTo>
                  <a:lnTo>
                    <a:pt x="32" y="25"/>
                  </a:lnTo>
                  <a:lnTo>
                    <a:pt x="29" y="25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9" y="21"/>
                  </a:lnTo>
                  <a:lnTo>
                    <a:pt x="32" y="18"/>
                  </a:lnTo>
                  <a:lnTo>
                    <a:pt x="36" y="15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9" y="7"/>
                  </a:lnTo>
                  <a:lnTo>
                    <a:pt x="50" y="4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49" y="0"/>
                  </a:lnTo>
                  <a:lnTo>
                    <a:pt x="46" y="1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6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5" y="12"/>
                  </a:lnTo>
                  <a:lnTo>
                    <a:pt x="22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8" y="17"/>
                  </a:lnTo>
                  <a:lnTo>
                    <a:pt x="17" y="19"/>
                  </a:lnTo>
                  <a:lnTo>
                    <a:pt x="17" y="22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6" y="26"/>
                  </a:lnTo>
                  <a:lnTo>
                    <a:pt x="1" y="28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30"/>
                  </a:lnTo>
                  <a:lnTo>
                    <a:pt x="1" y="32"/>
                  </a:lnTo>
                  <a:lnTo>
                    <a:pt x="4" y="35"/>
                  </a:lnTo>
                  <a:lnTo>
                    <a:pt x="8" y="37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6"/>
                  </a:lnTo>
                  <a:lnTo>
                    <a:pt x="11" y="48"/>
                  </a:lnTo>
                  <a:lnTo>
                    <a:pt x="13" y="53"/>
                  </a:lnTo>
                  <a:lnTo>
                    <a:pt x="13" y="54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8" y="58"/>
                  </a:lnTo>
                  <a:lnTo>
                    <a:pt x="7" y="61"/>
                  </a:lnTo>
                  <a:lnTo>
                    <a:pt x="6" y="65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10" y="73"/>
                  </a:lnTo>
                  <a:lnTo>
                    <a:pt x="11" y="73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4" y="71"/>
                  </a:lnTo>
                  <a:lnTo>
                    <a:pt x="15" y="71"/>
                  </a:lnTo>
                  <a:lnTo>
                    <a:pt x="21" y="69"/>
                  </a:lnTo>
                  <a:lnTo>
                    <a:pt x="26" y="69"/>
                  </a:lnTo>
                  <a:lnTo>
                    <a:pt x="28" y="69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9" y="67"/>
                  </a:lnTo>
                  <a:lnTo>
                    <a:pt x="31" y="65"/>
                  </a:lnTo>
                  <a:lnTo>
                    <a:pt x="36" y="64"/>
                  </a:lnTo>
                  <a:lnTo>
                    <a:pt x="40" y="62"/>
                  </a:lnTo>
                  <a:lnTo>
                    <a:pt x="43" y="62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4" y="57"/>
                  </a:lnTo>
                  <a:lnTo>
                    <a:pt x="49" y="53"/>
                  </a:lnTo>
                  <a:lnTo>
                    <a:pt x="53" y="48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8" y="47"/>
                  </a:lnTo>
                  <a:lnTo>
                    <a:pt x="60" y="48"/>
                  </a:lnTo>
                  <a:lnTo>
                    <a:pt x="60" y="53"/>
                  </a:lnTo>
                  <a:lnTo>
                    <a:pt x="61" y="57"/>
                  </a:lnTo>
                  <a:lnTo>
                    <a:pt x="61" y="58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5" y="61"/>
                  </a:lnTo>
                  <a:lnTo>
                    <a:pt x="67" y="64"/>
                  </a:lnTo>
                  <a:lnTo>
                    <a:pt x="65" y="69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4" y="79"/>
                  </a:lnTo>
                  <a:lnTo>
                    <a:pt x="64" y="79"/>
                  </a:lnTo>
                  <a:lnTo>
                    <a:pt x="67" y="79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81" y="76"/>
                  </a:lnTo>
                  <a:lnTo>
                    <a:pt x="81" y="76"/>
                  </a:lnTo>
                  <a:lnTo>
                    <a:pt x="90" y="68"/>
                  </a:lnTo>
                  <a:lnTo>
                    <a:pt x="94" y="65"/>
                  </a:lnTo>
                  <a:lnTo>
                    <a:pt x="97" y="65"/>
                  </a:lnTo>
                  <a:lnTo>
                    <a:pt x="97" y="65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174"/>
            <p:cNvSpPr>
              <a:spLocks/>
            </p:cNvSpPr>
            <p:nvPr/>
          </p:nvSpPr>
          <p:spPr bwMode="auto">
            <a:xfrm>
              <a:off x="6096001" y="2979738"/>
              <a:ext cx="352425" cy="250825"/>
            </a:xfrm>
            <a:custGeom>
              <a:avLst/>
              <a:gdLst>
                <a:gd name="T0" fmla="*/ 211 w 222"/>
                <a:gd name="T1" fmla="*/ 21 h 158"/>
                <a:gd name="T2" fmla="*/ 201 w 222"/>
                <a:gd name="T3" fmla="*/ 21 h 158"/>
                <a:gd name="T4" fmla="*/ 183 w 222"/>
                <a:gd name="T5" fmla="*/ 32 h 158"/>
                <a:gd name="T6" fmla="*/ 175 w 222"/>
                <a:gd name="T7" fmla="*/ 29 h 158"/>
                <a:gd name="T8" fmla="*/ 176 w 222"/>
                <a:gd name="T9" fmla="*/ 14 h 158"/>
                <a:gd name="T10" fmla="*/ 172 w 222"/>
                <a:gd name="T11" fmla="*/ 10 h 158"/>
                <a:gd name="T12" fmla="*/ 168 w 222"/>
                <a:gd name="T13" fmla="*/ 0 h 158"/>
                <a:gd name="T14" fmla="*/ 155 w 222"/>
                <a:gd name="T15" fmla="*/ 10 h 158"/>
                <a:gd name="T16" fmla="*/ 151 w 222"/>
                <a:gd name="T17" fmla="*/ 15 h 158"/>
                <a:gd name="T18" fmla="*/ 139 w 222"/>
                <a:gd name="T19" fmla="*/ 21 h 158"/>
                <a:gd name="T20" fmla="*/ 132 w 222"/>
                <a:gd name="T21" fmla="*/ 22 h 158"/>
                <a:gd name="T22" fmla="*/ 124 w 222"/>
                <a:gd name="T23" fmla="*/ 25 h 158"/>
                <a:gd name="T24" fmla="*/ 114 w 222"/>
                <a:gd name="T25" fmla="*/ 22 h 158"/>
                <a:gd name="T26" fmla="*/ 104 w 222"/>
                <a:gd name="T27" fmla="*/ 18 h 158"/>
                <a:gd name="T28" fmla="*/ 93 w 222"/>
                <a:gd name="T29" fmla="*/ 18 h 158"/>
                <a:gd name="T30" fmla="*/ 81 w 222"/>
                <a:gd name="T31" fmla="*/ 15 h 158"/>
                <a:gd name="T32" fmla="*/ 71 w 222"/>
                <a:gd name="T33" fmla="*/ 22 h 158"/>
                <a:gd name="T34" fmla="*/ 65 w 222"/>
                <a:gd name="T35" fmla="*/ 26 h 158"/>
                <a:gd name="T36" fmla="*/ 58 w 222"/>
                <a:gd name="T37" fmla="*/ 42 h 158"/>
                <a:gd name="T38" fmla="*/ 40 w 222"/>
                <a:gd name="T39" fmla="*/ 50 h 158"/>
                <a:gd name="T40" fmla="*/ 33 w 222"/>
                <a:gd name="T41" fmla="*/ 57 h 158"/>
                <a:gd name="T42" fmla="*/ 26 w 222"/>
                <a:gd name="T43" fmla="*/ 56 h 158"/>
                <a:gd name="T44" fmla="*/ 15 w 222"/>
                <a:gd name="T45" fmla="*/ 53 h 158"/>
                <a:gd name="T46" fmla="*/ 8 w 222"/>
                <a:gd name="T47" fmla="*/ 60 h 158"/>
                <a:gd name="T48" fmla="*/ 3 w 222"/>
                <a:gd name="T49" fmla="*/ 72 h 158"/>
                <a:gd name="T50" fmla="*/ 0 w 222"/>
                <a:gd name="T51" fmla="*/ 86 h 158"/>
                <a:gd name="T52" fmla="*/ 0 w 222"/>
                <a:gd name="T53" fmla="*/ 97 h 158"/>
                <a:gd name="T54" fmla="*/ 3 w 222"/>
                <a:gd name="T55" fmla="*/ 113 h 158"/>
                <a:gd name="T56" fmla="*/ 10 w 222"/>
                <a:gd name="T57" fmla="*/ 122 h 158"/>
                <a:gd name="T58" fmla="*/ 18 w 222"/>
                <a:gd name="T59" fmla="*/ 129 h 158"/>
                <a:gd name="T60" fmla="*/ 6 w 222"/>
                <a:gd name="T61" fmla="*/ 147 h 158"/>
                <a:gd name="T62" fmla="*/ 6 w 222"/>
                <a:gd name="T63" fmla="*/ 156 h 158"/>
                <a:gd name="T64" fmla="*/ 29 w 222"/>
                <a:gd name="T65" fmla="*/ 158 h 158"/>
                <a:gd name="T66" fmla="*/ 93 w 222"/>
                <a:gd name="T67" fmla="*/ 151 h 158"/>
                <a:gd name="T68" fmla="*/ 92 w 222"/>
                <a:gd name="T69" fmla="*/ 135 h 158"/>
                <a:gd name="T70" fmla="*/ 104 w 222"/>
                <a:gd name="T71" fmla="*/ 128 h 158"/>
                <a:gd name="T72" fmla="*/ 114 w 222"/>
                <a:gd name="T73" fmla="*/ 125 h 158"/>
                <a:gd name="T74" fmla="*/ 122 w 222"/>
                <a:gd name="T75" fmla="*/ 119 h 158"/>
                <a:gd name="T76" fmla="*/ 130 w 222"/>
                <a:gd name="T77" fmla="*/ 119 h 158"/>
                <a:gd name="T78" fmla="*/ 139 w 222"/>
                <a:gd name="T79" fmla="*/ 113 h 158"/>
                <a:gd name="T80" fmla="*/ 143 w 222"/>
                <a:gd name="T81" fmla="*/ 96 h 158"/>
                <a:gd name="T82" fmla="*/ 153 w 222"/>
                <a:gd name="T83" fmla="*/ 92 h 158"/>
                <a:gd name="T84" fmla="*/ 149 w 222"/>
                <a:gd name="T85" fmla="*/ 81 h 158"/>
                <a:gd name="T86" fmla="*/ 158 w 222"/>
                <a:gd name="T87" fmla="*/ 81 h 158"/>
                <a:gd name="T88" fmla="*/ 167 w 222"/>
                <a:gd name="T89" fmla="*/ 79 h 158"/>
                <a:gd name="T90" fmla="*/ 168 w 222"/>
                <a:gd name="T91" fmla="*/ 67 h 158"/>
                <a:gd name="T92" fmla="*/ 175 w 222"/>
                <a:gd name="T93" fmla="*/ 56 h 158"/>
                <a:gd name="T94" fmla="*/ 172 w 222"/>
                <a:gd name="T95" fmla="*/ 47 h 158"/>
                <a:gd name="T96" fmla="*/ 172 w 222"/>
                <a:gd name="T97" fmla="*/ 40 h 158"/>
                <a:gd name="T98" fmla="*/ 178 w 222"/>
                <a:gd name="T99" fmla="*/ 38 h 158"/>
                <a:gd name="T100" fmla="*/ 190 w 222"/>
                <a:gd name="T101" fmla="*/ 32 h 158"/>
                <a:gd name="T102" fmla="*/ 207 w 222"/>
                <a:gd name="T103" fmla="*/ 29 h 158"/>
                <a:gd name="T104" fmla="*/ 222 w 222"/>
                <a:gd name="T105" fmla="*/ 24 h 158"/>
                <a:gd name="T106" fmla="*/ 214 w 222"/>
                <a:gd name="T107" fmla="*/ 2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2" h="158">
                  <a:moveTo>
                    <a:pt x="214" y="22"/>
                  </a:moveTo>
                  <a:lnTo>
                    <a:pt x="214" y="22"/>
                  </a:lnTo>
                  <a:lnTo>
                    <a:pt x="212" y="22"/>
                  </a:lnTo>
                  <a:lnTo>
                    <a:pt x="211" y="21"/>
                  </a:lnTo>
                  <a:lnTo>
                    <a:pt x="208" y="18"/>
                  </a:lnTo>
                  <a:lnTo>
                    <a:pt x="208" y="18"/>
                  </a:lnTo>
                  <a:lnTo>
                    <a:pt x="205" y="18"/>
                  </a:lnTo>
                  <a:lnTo>
                    <a:pt x="201" y="21"/>
                  </a:lnTo>
                  <a:lnTo>
                    <a:pt x="192" y="29"/>
                  </a:lnTo>
                  <a:lnTo>
                    <a:pt x="192" y="29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78" y="32"/>
                  </a:lnTo>
                  <a:lnTo>
                    <a:pt x="175" y="32"/>
                  </a:lnTo>
                  <a:lnTo>
                    <a:pt x="175" y="32"/>
                  </a:lnTo>
                  <a:lnTo>
                    <a:pt x="175" y="29"/>
                  </a:lnTo>
                  <a:lnTo>
                    <a:pt x="175" y="28"/>
                  </a:lnTo>
                  <a:lnTo>
                    <a:pt x="176" y="22"/>
                  </a:lnTo>
                  <a:lnTo>
                    <a:pt x="178" y="17"/>
                  </a:lnTo>
                  <a:lnTo>
                    <a:pt x="176" y="14"/>
                  </a:lnTo>
                  <a:lnTo>
                    <a:pt x="175" y="13"/>
                  </a:lnTo>
                  <a:lnTo>
                    <a:pt x="175" y="13"/>
                  </a:lnTo>
                  <a:lnTo>
                    <a:pt x="172" y="11"/>
                  </a:lnTo>
                  <a:lnTo>
                    <a:pt x="172" y="10"/>
                  </a:lnTo>
                  <a:lnTo>
                    <a:pt x="171" y="6"/>
                  </a:lnTo>
                  <a:lnTo>
                    <a:pt x="171" y="1"/>
                  </a:lnTo>
                  <a:lnTo>
                    <a:pt x="169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4" y="1"/>
                  </a:lnTo>
                  <a:lnTo>
                    <a:pt x="160" y="6"/>
                  </a:lnTo>
                  <a:lnTo>
                    <a:pt x="155" y="10"/>
                  </a:lnTo>
                  <a:lnTo>
                    <a:pt x="154" y="14"/>
                  </a:lnTo>
                  <a:lnTo>
                    <a:pt x="154" y="14"/>
                  </a:lnTo>
                  <a:lnTo>
                    <a:pt x="154" y="15"/>
                  </a:lnTo>
                  <a:lnTo>
                    <a:pt x="151" y="15"/>
                  </a:lnTo>
                  <a:lnTo>
                    <a:pt x="147" y="17"/>
                  </a:lnTo>
                  <a:lnTo>
                    <a:pt x="142" y="18"/>
                  </a:lnTo>
                  <a:lnTo>
                    <a:pt x="140" y="20"/>
                  </a:lnTo>
                  <a:lnTo>
                    <a:pt x="139" y="21"/>
                  </a:lnTo>
                  <a:lnTo>
                    <a:pt x="139" y="21"/>
                  </a:lnTo>
                  <a:lnTo>
                    <a:pt x="139" y="22"/>
                  </a:lnTo>
                  <a:lnTo>
                    <a:pt x="137" y="22"/>
                  </a:lnTo>
                  <a:lnTo>
                    <a:pt x="132" y="22"/>
                  </a:lnTo>
                  <a:lnTo>
                    <a:pt x="126" y="24"/>
                  </a:lnTo>
                  <a:lnTo>
                    <a:pt x="125" y="24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2" y="26"/>
                  </a:lnTo>
                  <a:lnTo>
                    <a:pt x="121" y="26"/>
                  </a:lnTo>
                  <a:lnTo>
                    <a:pt x="117" y="25"/>
                  </a:lnTo>
                  <a:lnTo>
                    <a:pt x="114" y="22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07" y="21"/>
                  </a:lnTo>
                  <a:lnTo>
                    <a:pt x="104" y="18"/>
                  </a:lnTo>
                  <a:lnTo>
                    <a:pt x="100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3" y="18"/>
                  </a:lnTo>
                  <a:lnTo>
                    <a:pt x="90" y="17"/>
                  </a:lnTo>
                  <a:lnTo>
                    <a:pt x="83" y="15"/>
                  </a:lnTo>
                  <a:lnTo>
                    <a:pt x="83" y="15"/>
                  </a:lnTo>
                  <a:lnTo>
                    <a:pt x="81" y="15"/>
                  </a:lnTo>
                  <a:lnTo>
                    <a:pt x="78" y="20"/>
                  </a:lnTo>
                  <a:lnTo>
                    <a:pt x="75" y="22"/>
                  </a:lnTo>
                  <a:lnTo>
                    <a:pt x="74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69" y="22"/>
                  </a:lnTo>
                  <a:lnTo>
                    <a:pt x="68" y="24"/>
                  </a:lnTo>
                  <a:lnTo>
                    <a:pt x="65" y="26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1" y="40"/>
                  </a:lnTo>
                  <a:lnTo>
                    <a:pt x="58" y="42"/>
                  </a:lnTo>
                  <a:lnTo>
                    <a:pt x="50" y="44"/>
                  </a:lnTo>
                  <a:lnTo>
                    <a:pt x="43" y="47"/>
                  </a:lnTo>
                  <a:lnTo>
                    <a:pt x="40" y="49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39" y="53"/>
                  </a:lnTo>
                  <a:lnTo>
                    <a:pt x="39" y="56"/>
                  </a:lnTo>
                  <a:lnTo>
                    <a:pt x="33" y="57"/>
                  </a:lnTo>
                  <a:lnTo>
                    <a:pt x="29" y="57"/>
                  </a:lnTo>
                  <a:lnTo>
                    <a:pt x="28" y="57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5" y="53"/>
                  </a:lnTo>
                  <a:lnTo>
                    <a:pt x="21" y="53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4" y="53"/>
                  </a:lnTo>
                  <a:lnTo>
                    <a:pt x="11" y="53"/>
                  </a:lnTo>
                  <a:lnTo>
                    <a:pt x="8" y="56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6" y="68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0" y="79"/>
                  </a:lnTo>
                  <a:lnTo>
                    <a:pt x="0" y="82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1" y="89"/>
                  </a:lnTo>
                  <a:lnTo>
                    <a:pt x="0" y="93"/>
                  </a:lnTo>
                  <a:lnTo>
                    <a:pt x="0" y="97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1" y="108"/>
                  </a:lnTo>
                  <a:lnTo>
                    <a:pt x="3" y="113"/>
                  </a:lnTo>
                  <a:lnTo>
                    <a:pt x="3" y="121"/>
                  </a:lnTo>
                  <a:lnTo>
                    <a:pt x="3" y="121"/>
                  </a:lnTo>
                  <a:lnTo>
                    <a:pt x="6" y="122"/>
                  </a:lnTo>
                  <a:lnTo>
                    <a:pt x="10" y="122"/>
                  </a:lnTo>
                  <a:lnTo>
                    <a:pt x="15" y="125"/>
                  </a:lnTo>
                  <a:lnTo>
                    <a:pt x="17" y="126"/>
                  </a:lnTo>
                  <a:lnTo>
                    <a:pt x="18" y="129"/>
                  </a:lnTo>
                  <a:lnTo>
                    <a:pt x="18" y="129"/>
                  </a:lnTo>
                  <a:lnTo>
                    <a:pt x="18" y="132"/>
                  </a:lnTo>
                  <a:lnTo>
                    <a:pt x="17" y="135"/>
                  </a:lnTo>
                  <a:lnTo>
                    <a:pt x="11" y="140"/>
                  </a:lnTo>
                  <a:lnTo>
                    <a:pt x="6" y="147"/>
                  </a:lnTo>
                  <a:lnTo>
                    <a:pt x="3" y="151"/>
                  </a:lnTo>
                  <a:lnTo>
                    <a:pt x="3" y="151"/>
                  </a:lnTo>
                  <a:lnTo>
                    <a:pt x="3" y="153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17" y="157"/>
                  </a:lnTo>
                  <a:lnTo>
                    <a:pt x="29" y="158"/>
                  </a:lnTo>
                  <a:lnTo>
                    <a:pt x="29" y="158"/>
                  </a:lnTo>
                  <a:lnTo>
                    <a:pt x="43" y="158"/>
                  </a:lnTo>
                  <a:lnTo>
                    <a:pt x="64" y="156"/>
                  </a:lnTo>
                  <a:lnTo>
                    <a:pt x="83" y="153"/>
                  </a:lnTo>
                  <a:lnTo>
                    <a:pt x="93" y="151"/>
                  </a:lnTo>
                  <a:lnTo>
                    <a:pt x="93" y="151"/>
                  </a:lnTo>
                  <a:lnTo>
                    <a:pt x="92" y="143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3" y="133"/>
                  </a:lnTo>
                  <a:lnTo>
                    <a:pt x="96" y="131"/>
                  </a:lnTo>
                  <a:lnTo>
                    <a:pt x="99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11" y="128"/>
                  </a:lnTo>
                  <a:lnTo>
                    <a:pt x="114" y="128"/>
                  </a:lnTo>
                  <a:lnTo>
                    <a:pt x="114" y="125"/>
                  </a:lnTo>
                  <a:lnTo>
                    <a:pt x="114" y="125"/>
                  </a:lnTo>
                  <a:lnTo>
                    <a:pt x="115" y="124"/>
                  </a:lnTo>
                  <a:lnTo>
                    <a:pt x="117" y="122"/>
                  </a:lnTo>
                  <a:lnTo>
                    <a:pt x="122" y="119"/>
                  </a:lnTo>
                  <a:lnTo>
                    <a:pt x="128" y="118"/>
                  </a:lnTo>
                  <a:lnTo>
                    <a:pt x="129" y="118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2" y="121"/>
                  </a:lnTo>
                  <a:lnTo>
                    <a:pt x="135" y="121"/>
                  </a:lnTo>
                  <a:lnTo>
                    <a:pt x="137" y="118"/>
                  </a:lnTo>
                  <a:lnTo>
                    <a:pt x="139" y="113"/>
                  </a:lnTo>
                  <a:lnTo>
                    <a:pt x="139" y="113"/>
                  </a:lnTo>
                  <a:lnTo>
                    <a:pt x="139" y="101"/>
                  </a:lnTo>
                  <a:lnTo>
                    <a:pt x="140" y="97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47" y="94"/>
                  </a:lnTo>
                  <a:lnTo>
                    <a:pt x="151" y="93"/>
                  </a:lnTo>
                  <a:lnTo>
                    <a:pt x="153" y="92"/>
                  </a:lnTo>
                  <a:lnTo>
                    <a:pt x="154" y="89"/>
                  </a:lnTo>
                  <a:lnTo>
                    <a:pt x="154" y="89"/>
                  </a:lnTo>
                  <a:lnTo>
                    <a:pt x="150" y="83"/>
                  </a:lnTo>
                  <a:lnTo>
                    <a:pt x="149" y="81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53" y="79"/>
                  </a:lnTo>
                  <a:lnTo>
                    <a:pt x="158" y="81"/>
                  </a:lnTo>
                  <a:lnTo>
                    <a:pt x="164" y="81"/>
                  </a:lnTo>
                  <a:lnTo>
                    <a:pt x="165" y="81"/>
                  </a:lnTo>
                  <a:lnTo>
                    <a:pt x="167" y="79"/>
                  </a:lnTo>
                  <a:lnTo>
                    <a:pt x="167" y="79"/>
                  </a:lnTo>
                  <a:lnTo>
                    <a:pt x="167" y="76"/>
                  </a:lnTo>
                  <a:lnTo>
                    <a:pt x="167" y="74"/>
                  </a:lnTo>
                  <a:lnTo>
                    <a:pt x="167" y="69"/>
                  </a:lnTo>
                  <a:lnTo>
                    <a:pt x="168" y="67"/>
                  </a:lnTo>
                  <a:lnTo>
                    <a:pt x="168" y="67"/>
                  </a:lnTo>
                  <a:lnTo>
                    <a:pt x="172" y="61"/>
                  </a:lnTo>
                  <a:lnTo>
                    <a:pt x="175" y="58"/>
                  </a:lnTo>
                  <a:lnTo>
                    <a:pt x="175" y="56"/>
                  </a:lnTo>
                  <a:lnTo>
                    <a:pt x="175" y="56"/>
                  </a:lnTo>
                  <a:lnTo>
                    <a:pt x="175" y="51"/>
                  </a:lnTo>
                  <a:lnTo>
                    <a:pt x="174" y="49"/>
                  </a:lnTo>
                  <a:lnTo>
                    <a:pt x="172" y="47"/>
                  </a:lnTo>
                  <a:lnTo>
                    <a:pt x="172" y="47"/>
                  </a:lnTo>
                  <a:lnTo>
                    <a:pt x="171" y="44"/>
                  </a:lnTo>
                  <a:lnTo>
                    <a:pt x="171" y="42"/>
                  </a:lnTo>
                  <a:lnTo>
                    <a:pt x="172" y="40"/>
                  </a:lnTo>
                  <a:lnTo>
                    <a:pt x="175" y="39"/>
                  </a:lnTo>
                  <a:lnTo>
                    <a:pt x="175" y="39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82" y="36"/>
                  </a:lnTo>
                  <a:lnTo>
                    <a:pt x="185" y="35"/>
                  </a:lnTo>
                  <a:lnTo>
                    <a:pt x="185" y="35"/>
                  </a:lnTo>
                  <a:lnTo>
                    <a:pt x="190" y="32"/>
                  </a:lnTo>
                  <a:lnTo>
                    <a:pt x="196" y="29"/>
                  </a:lnTo>
                  <a:lnTo>
                    <a:pt x="203" y="28"/>
                  </a:lnTo>
                  <a:lnTo>
                    <a:pt x="207" y="29"/>
                  </a:lnTo>
                  <a:lnTo>
                    <a:pt x="207" y="29"/>
                  </a:lnTo>
                  <a:lnTo>
                    <a:pt x="210" y="29"/>
                  </a:lnTo>
                  <a:lnTo>
                    <a:pt x="214" y="29"/>
                  </a:lnTo>
                  <a:lnTo>
                    <a:pt x="218" y="26"/>
                  </a:lnTo>
                  <a:lnTo>
                    <a:pt x="222" y="24"/>
                  </a:lnTo>
                  <a:lnTo>
                    <a:pt x="222" y="24"/>
                  </a:lnTo>
                  <a:lnTo>
                    <a:pt x="218" y="22"/>
                  </a:lnTo>
                  <a:lnTo>
                    <a:pt x="214" y="22"/>
                  </a:lnTo>
                  <a:lnTo>
                    <a:pt x="214" y="22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175"/>
            <p:cNvSpPr>
              <a:spLocks/>
            </p:cNvSpPr>
            <p:nvPr/>
          </p:nvSpPr>
          <p:spPr bwMode="auto">
            <a:xfrm>
              <a:off x="6105526" y="3017838"/>
              <a:ext cx="409575" cy="369888"/>
            </a:xfrm>
            <a:custGeom>
              <a:avLst/>
              <a:gdLst>
                <a:gd name="T0" fmla="*/ 238 w 258"/>
                <a:gd name="T1" fmla="*/ 12 h 233"/>
                <a:gd name="T2" fmla="*/ 224 w 258"/>
                <a:gd name="T3" fmla="*/ 1 h 233"/>
                <a:gd name="T4" fmla="*/ 212 w 258"/>
                <a:gd name="T5" fmla="*/ 2 h 233"/>
                <a:gd name="T6" fmla="*/ 197 w 258"/>
                <a:gd name="T7" fmla="*/ 4 h 233"/>
                <a:gd name="T8" fmla="*/ 176 w 258"/>
                <a:gd name="T9" fmla="*/ 12 h 233"/>
                <a:gd name="T10" fmla="*/ 166 w 258"/>
                <a:gd name="T11" fmla="*/ 16 h 233"/>
                <a:gd name="T12" fmla="*/ 168 w 258"/>
                <a:gd name="T13" fmla="*/ 25 h 233"/>
                <a:gd name="T14" fmla="*/ 166 w 258"/>
                <a:gd name="T15" fmla="*/ 37 h 233"/>
                <a:gd name="T16" fmla="*/ 161 w 258"/>
                <a:gd name="T17" fmla="*/ 52 h 233"/>
                <a:gd name="T18" fmla="*/ 152 w 258"/>
                <a:gd name="T19" fmla="*/ 57 h 233"/>
                <a:gd name="T20" fmla="*/ 144 w 258"/>
                <a:gd name="T21" fmla="*/ 59 h 233"/>
                <a:gd name="T22" fmla="*/ 141 w 258"/>
                <a:gd name="T23" fmla="*/ 70 h 233"/>
                <a:gd name="T24" fmla="*/ 133 w 258"/>
                <a:gd name="T25" fmla="*/ 89 h 233"/>
                <a:gd name="T26" fmla="*/ 124 w 258"/>
                <a:gd name="T27" fmla="*/ 95 h 233"/>
                <a:gd name="T28" fmla="*/ 111 w 258"/>
                <a:gd name="T29" fmla="*/ 98 h 233"/>
                <a:gd name="T30" fmla="*/ 105 w 258"/>
                <a:gd name="T31" fmla="*/ 104 h 233"/>
                <a:gd name="T32" fmla="*/ 87 w 258"/>
                <a:gd name="T33" fmla="*/ 109 h 233"/>
                <a:gd name="T34" fmla="*/ 87 w 258"/>
                <a:gd name="T35" fmla="*/ 127 h 233"/>
                <a:gd name="T36" fmla="*/ 23 w 258"/>
                <a:gd name="T37" fmla="*/ 134 h 233"/>
                <a:gd name="T38" fmla="*/ 6 w 258"/>
                <a:gd name="T39" fmla="*/ 140 h 233"/>
                <a:gd name="T40" fmla="*/ 23 w 258"/>
                <a:gd name="T41" fmla="*/ 154 h 233"/>
                <a:gd name="T42" fmla="*/ 29 w 258"/>
                <a:gd name="T43" fmla="*/ 169 h 233"/>
                <a:gd name="T44" fmla="*/ 36 w 258"/>
                <a:gd name="T45" fmla="*/ 177 h 233"/>
                <a:gd name="T46" fmla="*/ 27 w 258"/>
                <a:gd name="T47" fmla="*/ 184 h 233"/>
                <a:gd name="T48" fmla="*/ 11 w 258"/>
                <a:gd name="T49" fmla="*/ 198 h 233"/>
                <a:gd name="T50" fmla="*/ 29 w 258"/>
                <a:gd name="T51" fmla="*/ 207 h 233"/>
                <a:gd name="T52" fmla="*/ 45 w 258"/>
                <a:gd name="T53" fmla="*/ 202 h 233"/>
                <a:gd name="T54" fmla="*/ 63 w 258"/>
                <a:gd name="T55" fmla="*/ 205 h 233"/>
                <a:gd name="T56" fmla="*/ 86 w 258"/>
                <a:gd name="T57" fmla="*/ 202 h 233"/>
                <a:gd name="T58" fmla="*/ 91 w 258"/>
                <a:gd name="T59" fmla="*/ 211 h 233"/>
                <a:gd name="T60" fmla="*/ 98 w 258"/>
                <a:gd name="T61" fmla="*/ 223 h 233"/>
                <a:gd name="T62" fmla="*/ 113 w 258"/>
                <a:gd name="T63" fmla="*/ 231 h 233"/>
                <a:gd name="T64" fmla="*/ 116 w 258"/>
                <a:gd name="T65" fmla="*/ 233 h 233"/>
                <a:gd name="T66" fmla="*/ 137 w 258"/>
                <a:gd name="T67" fmla="*/ 223 h 233"/>
                <a:gd name="T68" fmla="*/ 152 w 258"/>
                <a:gd name="T69" fmla="*/ 222 h 233"/>
                <a:gd name="T70" fmla="*/ 156 w 258"/>
                <a:gd name="T71" fmla="*/ 212 h 233"/>
                <a:gd name="T72" fmla="*/ 145 w 258"/>
                <a:gd name="T73" fmla="*/ 188 h 233"/>
                <a:gd name="T74" fmla="*/ 137 w 258"/>
                <a:gd name="T75" fmla="*/ 180 h 233"/>
                <a:gd name="T76" fmla="*/ 140 w 258"/>
                <a:gd name="T77" fmla="*/ 169 h 233"/>
                <a:gd name="T78" fmla="*/ 156 w 258"/>
                <a:gd name="T79" fmla="*/ 165 h 233"/>
                <a:gd name="T80" fmla="*/ 163 w 258"/>
                <a:gd name="T81" fmla="*/ 162 h 233"/>
                <a:gd name="T82" fmla="*/ 177 w 258"/>
                <a:gd name="T83" fmla="*/ 155 h 233"/>
                <a:gd name="T84" fmla="*/ 184 w 258"/>
                <a:gd name="T85" fmla="*/ 145 h 233"/>
                <a:gd name="T86" fmla="*/ 197 w 258"/>
                <a:gd name="T87" fmla="*/ 127 h 233"/>
                <a:gd name="T88" fmla="*/ 206 w 258"/>
                <a:gd name="T89" fmla="*/ 119 h 233"/>
                <a:gd name="T90" fmla="*/ 213 w 258"/>
                <a:gd name="T91" fmla="*/ 111 h 233"/>
                <a:gd name="T92" fmla="*/ 218 w 258"/>
                <a:gd name="T93" fmla="*/ 100 h 233"/>
                <a:gd name="T94" fmla="*/ 224 w 258"/>
                <a:gd name="T95" fmla="*/ 87 h 233"/>
                <a:gd name="T96" fmla="*/ 218 w 258"/>
                <a:gd name="T97" fmla="*/ 80 h 233"/>
                <a:gd name="T98" fmla="*/ 208 w 258"/>
                <a:gd name="T99" fmla="*/ 65 h 233"/>
                <a:gd name="T100" fmla="*/ 205 w 258"/>
                <a:gd name="T101" fmla="*/ 51 h 233"/>
                <a:gd name="T102" fmla="*/ 213 w 258"/>
                <a:gd name="T103" fmla="*/ 43 h 233"/>
                <a:gd name="T104" fmla="*/ 237 w 258"/>
                <a:gd name="T105" fmla="*/ 47 h 233"/>
                <a:gd name="T106" fmla="*/ 256 w 258"/>
                <a:gd name="T107" fmla="*/ 3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8" h="233">
                  <a:moveTo>
                    <a:pt x="247" y="25"/>
                  </a:moveTo>
                  <a:lnTo>
                    <a:pt x="247" y="25"/>
                  </a:lnTo>
                  <a:lnTo>
                    <a:pt x="241" y="20"/>
                  </a:lnTo>
                  <a:lnTo>
                    <a:pt x="240" y="18"/>
                  </a:lnTo>
                  <a:lnTo>
                    <a:pt x="238" y="12"/>
                  </a:lnTo>
                  <a:lnTo>
                    <a:pt x="238" y="12"/>
                  </a:lnTo>
                  <a:lnTo>
                    <a:pt x="237" y="11"/>
                  </a:lnTo>
                  <a:lnTo>
                    <a:pt x="233" y="8"/>
                  </a:lnTo>
                  <a:lnTo>
                    <a:pt x="224" y="1"/>
                  </a:lnTo>
                  <a:lnTo>
                    <a:pt x="224" y="1"/>
                  </a:lnTo>
                  <a:lnTo>
                    <a:pt x="219" y="1"/>
                  </a:lnTo>
                  <a:lnTo>
                    <a:pt x="219" y="1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2" y="2"/>
                  </a:lnTo>
                  <a:lnTo>
                    <a:pt x="208" y="5"/>
                  </a:lnTo>
                  <a:lnTo>
                    <a:pt x="204" y="5"/>
                  </a:lnTo>
                  <a:lnTo>
                    <a:pt x="201" y="5"/>
                  </a:lnTo>
                  <a:lnTo>
                    <a:pt x="201" y="5"/>
                  </a:lnTo>
                  <a:lnTo>
                    <a:pt x="197" y="4"/>
                  </a:lnTo>
                  <a:lnTo>
                    <a:pt x="190" y="5"/>
                  </a:lnTo>
                  <a:lnTo>
                    <a:pt x="184" y="8"/>
                  </a:lnTo>
                  <a:lnTo>
                    <a:pt x="179" y="11"/>
                  </a:lnTo>
                  <a:lnTo>
                    <a:pt x="179" y="11"/>
                  </a:lnTo>
                  <a:lnTo>
                    <a:pt x="176" y="12"/>
                  </a:lnTo>
                  <a:lnTo>
                    <a:pt x="172" y="14"/>
                  </a:lnTo>
                  <a:lnTo>
                    <a:pt x="172" y="14"/>
                  </a:lnTo>
                  <a:lnTo>
                    <a:pt x="169" y="15"/>
                  </a:lnTo>
                  <a:lnTo>
                    <a:pt x="169" y="15"/>
                  </a:lnTo>
                  <a:lnTo>
                    <a:pt x="166" y="16"/>
                  </a:lnTo>
                  <a:lnTo>
                    <a:pt x="165" y="18"/>
                  </a:lnTo>
                  <a:lnTo>
                    <a:pt x="165" y="20"/>
                  </a:lnTo>
                  <a:lnTo>
                    <a:pt x="166" y="23"/>
                  </a:lnTo>
                  <a:lnTo>
                    <a:pt x="166" y="23"/>
                  </a:lnTo>
                  <a:lnTo>
                    <a:pt x="168" y="25"/>
                  </a:lnTo>
                  <a:lnTo>
                    <a:pt x="169" y="27"/>
                  </a:lnTo>
                  <a:lnTo>
                    <a:pt x="169" y="32"/>
                  </a:lnTo>
                  <a:lnTo>
                    <a:pt x="169" y="32"/>
                  </a:lnTo>
                  <a:lnTo>
                    <a:pt x="169" y="34"/>
                  </a:lnTo>
                  <a:lnTo>
                    <a:pt x="166" y="37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1" y="45"/>
                  </a:lnTo>
                  <a:lnTo>
                    <a:pt x="161" y="50"/>
                  </a:lnTo>
                  <a:lnTo>
                    <a:pt x="161" y="52"/>
                  </a:lnTo>
                  <a:lnTo>
                    <a:pt x="161" y="55"/>
                  </a:lnTo>
                  <a:lnTo>
                    <a:pt x="161" y="55"/>
                  </a:lnTo>
                  <a:lnTo>
                    <a:pt x="159" y="57"/>
                  </a:lnTo>
                  <a:lnTo>
                    <a:pt x="158" y="57"/>
                  </a:lnTo>
                  <a:lnTo>
                    <a:pt x="152" y="57"/>
                  </a:lnTo>
                  <a:lnTo>
                    <a:pt x="147" y="55"/>
                  </a:lnTo>
                  <a:lnTo>
                    <a:pt x="143" y="55"/>
                  </a:lnTo>
                  <a:lnTo>
                    <a:pt x="143" y="55"/>
                  </a:lnTo>
                  <a:lnTo>
                    <a:pt x="143" y="57"/>
                  </a:lnTo>
                  <a:lnTo>
                    <a:pt x="144" y="59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7" y="68"/>
                  </a:lnTo>
                  <a:lnTo>
                    <a:pt x="145" y="69"/>
                  </a:lnTo>
                  <a:lnTo>
                    <a:pt x="141" y="70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4" y="73"/>
                  </a:lnTo>
                  <a:lnTo>
                    <a:pt x="133" y="77"/>
                  </a:lnTo>
                  <a:lnTo>
                    <a:pt x="133" y="89"/>
                  </a:lnTo>
                  <a:lnTo>
                    <a:pt x="133" y="89"/>
                  </a:lnTo>
                  <a:lnTo>
                    <a:pt x="131" y="94"/>
                  </a:lnTo>
                  <a:lnTo>
                    <a:pt x="129" y="97"/>
                  </a:lnTo>
                  <a:lnTo>
                    <a:pt x="126" y="97"/>
                  </a:lnTo>
                  <a:lnTo>
                    <a:pt x="124" y="95"/>
                  </a:lnTo>
                  <a:lnTo>
                    <a:pt x="124" y="95"/>
                  </a:lnTo>
                  <a:lnTo>
                    <a:pt x="123" y="94"/>
                  </a:lnTo>
                  <a:lnTo>
                    <a:pt x="122" y="94"/>
                  </a:lnTo>
                  <a:lnTo>
                    <a:pt x="116" y="95"/>
                  </a:lnTo>
                  <a:lnTo>
                    <a:pt x="111" y="98"/>
                  </a:lnTo>
                  <a:lnTo>
                    <a:pt x="109" y="100"/>
                  </a:lnTo>
                  <a:lnTo>
                    <a:pt x="108" y="101"/>
                  </a:lnTo>
                  <a:lnTo>
                    <a:pt x="108" y="101"/>
                  </a:lnTo>
                  <a:lnTo>
                    <a:pt x="108" y="104"/>
                  </a:lnTo>
                  <a:lnTo>
                    <a:pt x="105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3" y="104"/>
                  </a:lnTo>
                  <a:lnTo>
                    <a:pt x="90" y="107"/>
                  </a:lnTo>
                  <a:lnTo>
                    <a:pt x="87" y="109"/>
                  </a:lnTo>
                  <a:lnTo>
                    <a:pt x="86" y="111"/>
                  </a:lnTo>
                  <a:lnTo>
                    <a:pt x="86" y="111"/>
                  </a:lnTo>
                  <a:lnTo>
                    <a:pt x="86" y="119"/>
                  </a:lnTo>
                  <a:lnTo>
                    <a:pt x="87" y="127"/>
                  </a:lnTo>
                  <a:lnTo>
                    <a:pt x="87" y="127"/>
                  </a:lnTo>
                  <a:lnTo>
                    <a:pt x="77" y="129"/>
                  </a:lnTo>
                  <a:lnTo>
                    <a:pt x="58" y="132"/>
                  </a:lnTo>
                  <a:lnTo>
                    <a:pt x="37" y="134"/>
                  </a:lnTo>
                  <a:lnTo>
                    <a:pt x="23" y="134"/>
                  </a:lnTo>
                  <a:lnTo>
                    <a:pt x="23" y="134"/>
                  </a:lnTo>
                  <a:lnTo>
                    <a:pt x="11" y="133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4" y="136"/>
                  </a:lnTo>
                  <a:lnTo>
                    <a:pt x="6" y="140"/>
                  </a:lnTo>
                  <a:lnTo>
                    <a:pt x="6" y="140"/>
                  </a:lnTo>
                  <a:lnTo>
                    <a:pt x="9" y="144"/>
                  </a:lnTo>
                  <a:lnTo>
                    <a:pt x="13" y="148"/>
                  </a:lnTo>
                  <a:lnTo>
                    <a:pt x="18" y="151"/>
                  </a:lnTo>
                  <a:lnTo>
                    <a:pt x="23" y="154"/>
                  </a:lnTo>
                  <a:lnTo>
                    <a:pt x="23" y="154"/>
                  </a:lnTo>
                  <a:lnTo>
                    <a:pt x="25" y="155"/>
                  </a:lnTo>
                  <a:lnTo>
                    <a:pt x="26" y="158"/>
                  </a:lnTo>
                  <a:lnTo>
                    <a:pt x="27" y="163"/>
                  </a:lnTo>
                  <a:lnTo>
                    <a:pt x="29" y="169"/>
                  </a:lnTo>
                  <a:lnTo>
                    <a:pt x="29" y="170"/>
                  </a:lnTo>
                  <a:lnTo>
                    <a:pt x="30" y="172"/>
                  </a:lnTo>
                  <a:lnTo>
                    <a:pt x="30" y="172"/>
                  </a:lnTo>
                  <a:lnTo>
                    <a:pt x="33" y="173"/>
                  </a:lnTo>
                  <a:lnTo>
                    <a:pt x="36" y="177"/>
                  </a:lnTo>
                  <a:lnTo>
                    <a:pt x="36" y="182"/>
                  </a:lnTo>
                  <a:lnTo>
                    <a:pt x="36" y="183"/>
                  </a:lnTo>
                  <a:lnTo>
                    <a:pt x="34" y="183"/>
                  </a:lnTo>
                  <a:lnTo>
                    <a:pt x="34" y="183"/>
                  </a:lnTo>
                  <a:lnTo>
                    <a:pt x="27" y="184"/>
                  </a:lnTo>
                  <a:lnTo>
                    <a:pt x="20" y="187"/>
                  </a:lnTo>
                  <a:lnTo>
                    <a:pt x="20" y="187"/>
                  </a:lnTo>
                  <a:lnTo>
                    <a:pt x="16" y="190"/>
                  </a:lnTo>
                  <a:lnTo>
                    <a:pt x="12" y="194"/>
                  </a:lnTo>
                  <a:lnTo>
                    <a:pt x="11" y="198"/>
                  </a:lnTo>
                  <a:lnTo>
                    <a:pt x="9" y="204"/>
                  </a:lnTo>
                  <a:lnTo>
                    <a:pt x="9" y="204"/>
                  </a:lnTo>
                  <a:lnTo>
                    <a:pt x="11" y="208"/>
                  </a:lnTo>
                  <a:lnTo>
                    <a:pt x="11" y="208"/>
                  </a:lnTo>
                  <a:lnTo>
                    <a:pt x="29" y="207"/>
                  </a:lnTo>
                  <a:lnTo>
                    <a:pt x="36" y="207"/>
                  </a:lnTo>
                  <a:lnTo>
                    <a:pt x="40" y="205"/>
                  </a:lnTo>
                  <a:lnTo>
                    <a:pt x="40" y="205"/>
                  </a:lnTo>
                  <a:lnTo>
                    <a:pt x="41" y="204"/>
                  </a:lnTo>
                  <a:lnTo>
                    <a:pt x="45" y="202"/>
                  </a:lnTo>
                  <a:lnTo>
                    <a:pt x="48" y="202"/>
                  </a:lnTo>
                  <a:lnTo>
                    <a:pt x="51" y="204"/>
                  </a:lnTo>
                  <a:lnTo>
                    <a:pt x="51" y="204"/>
                  </a:lnTo>
                  <a:lnTo>
                    <a:pt x="56" y="205"/>
                  </a:lnTo>
                  <a:lnTo>
                    <a:pt x="63" y="205"/>
                  </a:lnTo>
                  <a:lnTo>
                    <a:pt x="70" y="205"/>
                  </a:lnTo>
                  <a:lnTo>
                    <a:pt x="77" y="204"/>
                  </a:lnTo>
                  <a:lnTo>
                    <a:pt x="77" y="204"/>
                  </a:lnTo>
                  <a:lnTo>
                    <a:pt x="81" y="201"/>
                  </a:lnTo>
                  <a:lnTo>
                    <a:pt x="86" y="202"/>
                  </a:lnTo>
                  <a:lnTo>
                    <a:pt x="88" y="204"/>
                  </a:lnTo>
                  <a:lnTo>
                    <a:pt x="90" y="207"/>
                  </a:lnTo>
                  <a:lnTo>
                    <a:pt x="90" y="207"/>
                  </a:lnTo>
                  <a:lnTo>
                    <a:pt x="90" y="209"/>
                  </a:lnTo>
                  <a:lnTo>
                    <a:pt x="91" y="211"/>
                  </a:lnTo>
                  <a:lnTo>
                    <a:pt x="97" y="215"/>
                  </a:lnTo>
                  <a:lnTo>
                    <a:pt x="97" y="215"/>
                  </a:lnTo>
                  <a:lnTo>
                    <a:pt x="98" y="218"/>
                  </a:lnTo>
                  <a:lnTo>
                    <a:pt x="98" y="220"/>
                  </a:lnTo>
                  <a:lnTo>
                    <a:pt x="98" y="223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2" y="229"/>
                  </a:lnTo>
                  <a:lnTo>
                    <a:pt x="105" y="229"/>
                  </a:lnTo>
                  <a:lnTo>
                    <a:pt x="113" y="231"/>
                  </a:lnTo>
                  <a:lnTo>
                    <a:pt x="113" y="231"/>
                  </a:lnTo>
                  <a:lnTo>
                    <a:pt x="116" y="233"/>
                  </a:lnTo>
                  <a:lnTo>
                    <a:pt x="116" y="233"/>
                  </a:lnTo>
                  <a:lnTo>
                    <a:pt x="116" y="233"/>
                  </a:lnTo>
                  <a:lnTo>
                    <a:pt x="116" y="233"/>
                  </a:lnTo>
                  <a:lnTo>
                    <a:pt x="122" y="225"/>
                  </a:lnTo>
                  <a:lnTo>
                    <a:pt x="124" y="223"/>
                  </a:lnTo>
                  <a:lnTo>
                    <a:pt x="131" y="223"/>
                  </a:lnTo>
                  <a:lnTo>
                    <a:pt x="131" y="223"/>
                  </a:lnTo>
                  <a:lnTo>
                    <a:pt x="137" y="223"/>
                  </a:lnTo>
                  <a:lnTo>
                    <a:pt x="140" y="222"/>
                  </a:lnTo>
                  <a:lnTo>
                    <a:pt x="143" y="222"/>
                  </a:lnTo>
                  <a:lnTo>
                    <a:pt x="145" y="222"/>
                  </a:lnTo>
                  <a:lnTo>
                    <a:pt x="145" y="222"/>
                  </a:lnTo>
                  <a:lnTo>
                    <a:pt x="152" y="222"/>
                  </a:lnTo>
                  <a:lnTo>
                    <a:pt x="155" y="220"/>
                  </a:lnTo>
                  <a:lnTo>
                    <a:pt x="158" y="219"/>
                  </a:lnTo>
                  <a:lnTo>
                    <a:pt x="158" y="219"/>
                  </a:lnTo>
                  <a:lnTo>
                    <a:pt x="158" y="215"/>
                  </a:lnTo>
                  <a:lnTo>
                    <a:pt x="156" y="212"/>
                  </a:lnTo>
                  <a:lnTo>
                    <a:pt x="152" y="205"/>
                  </a:lnTo>
                  <a:lnTo>
                    <a:pt x="152" y="205"/>
                  </a:lnTo>
                  <a:lnTo>
                    <a:pt x="147" y="198"/>
                  </a:lnTo>
                  <a:lnTo>
                    <a:pt x="145" y="193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5" y="187"/>
                  </a:lnTo>
                  <a:lnTo>
                    <a:pt x="144" y="184"/>
                  </a:lnTo>
                  <a:lnTo>
                    <a:pt x="140" y="183"/>
                  </a:lnTo>
                  <a:lnTo>
                    <a:pt x="137" y="180"/>
                  </a:lnTo>
                  <a:lnTo>
                    <a:pt x="136" y="179"/>
                  </a:lnTo>
                  <a:lnTo>
                    <a:pt x="136" y="177"/>
                  </a:lnTo>
                  <a:lnTo>
                    <a:pt x="136" y="177"/>
                  </a:lnTo>
                  <a:lnTo>
                    <a:pt x="137" y="173"/>
                  </a:lnTo>
                  <a:lnTo>
                    <a:pt x="140" y="169"/>
                  </a:lnTo>
                  <a:lnTo>
                    <a:pt x="147" y="162"/>
                  </a:lnTo>
                  <a:lnTo>
                    <a:pt x="147" y="162"/>
                  </a:lnTo>
                  <a:lnTo>
                    <a:pt x="149" y="162"/>
                  </a:lnTo>
                  <a:lnTo>
                    <a:pt x="152" y="163"/>
                  </a:lnTo>
                  <a:lnTo>
                    <a:pt x="156" y="165"/>
                  </a:lnTo>
                  <a:lnTo>
                    <a:pt x="158" y="165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61" y="162"/>
                  </a:lnTo>
                  <a:lnTo>
                    <a:pt x="163" y="162"/>
                  </a:lnTo>
                  <a:lnTo>
                    <a:pt x="169" y="163"/>
                  </a:lnTo>
                  <a:lnTo>
                    <a:pt x="169" y="163"/>
                  </a:lnTo>
                  <a:lnTo>
                    <a:pt x="172" y="162"/>
                  </a:lnTo>
                  <a:lnTo>
                    <a:pt x="174" y="159"/>
                  </a:lnTo>
                  <a:lnTo>
                    <a:pt x="177" y="155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9" y="150"/>
                  </a:lnTo>
                  <a:lnTo>
                    <a:pt x="180" y="148"/>
                  </a:lnTo>
                  <a:lnTo>
                    <a:pt x="184" y="145"/>
                  </a:lnTo>
                  <a:lnTo>
                    <a:pt x="191" y="144"/>
                  </a:lnTo>
                  <a:lnTo>
                    <a:pt x="191" y="144"/>
                  </a:lnTo>
                  <a:lnTo>
                    <a:pt x="194" y="136"/>
                  </a:lnTo>
                  <a:lnTo>
                    <a:pt x="197" y="127"/>
                  </a:lnTo>
                  <a:lnTo>
                    <a:pt x="197" y="127"/>
                  </a:lnTo>
                  <a:lnTo>
                    <a:pt x="199" y="126"/>
                  </a:lnTo>
                  <a:lnTo>
                    <a:pt x="202" y="125"/>
                  </a:lnTo>
                  <a:lnTo>
                    <a:pt x="205" y="123"/>
                  </a:lnTo>
                  <a:lnTo>
                    <a:pt x="206" y="122"/>
                  </a:lnTo>
                  <a:lnTo>
                    <a:pt x="206" y="119"/>
                  </a:lnTo>
                  <a:lnTo>
                    <a:pt x="206" y="119"/>
                  </a:lnTo>
                  <a:lnTo>
                    <a:pt x="206" y="115"/>
                  </a:lnTo>
                  <a:lnTo>
                    <a:pt x="209" y="112"/>
                  </a:lnTo>
                  <a:lnTo>
                    <a:pt x="211" y="111"/>
                  </a:lnTo>
                  <a:lnTo>
                    <a:pt x="213" y="111"/>
                  </a:lnTo>
                  <a:lnTo>
                    <a:pt x="213" y="111"/>
                  </a:lnTo>
                  <a:lnTo>
                    <a:pt x="216" y="109"/>
                  </a:lnTo>
                  <a:lnTo>
                    <a:pt x="216" y="107"/>
                  </a:lnTo>
                  <a:lnTo>
                    <a:pt x="218" y="100"/>
                  </a:lnTo>
                  <a:lnTo>
                    <a:pt x="218" y="100"/>
                  </a:lnTo>
                  <a:lnTo>
                    <a:pt x="218" y="95"/>
                  </a:lnTo>
                  <a:lnTo>
                    <a:pt x="219" y="91"/>
                  </a:lnTo>
                  <a:lnTo>
                    <a:pt x="222" y="89"/>
                  </a:lnTo>
                  <a:lnTo>
                    <a:pt x="224" y="87"/>
                  </a:lnTo>
                  <a:lnTo>
                    <a:pt x="224" y="87"/>
                  </a:lnTo>
                  <a:lnTo>
                    <a:pt x="226" y="87"/>
                  </a:lnTo>
                  <a:lnTo>
                    <a:pt x="227" y="86"/>
                  </a:lnTo>
                  <a:lnTo>
                    <a:pt x="224" y="83"/>
                  </a:lnTo>
                  <a:lnTo>
                    <a:pt x="222" y="80"/>
                  </a:lnTo>
                  <a:lnTo>
                    <a:pt x="218" y="80"/>
                  </a:lnTo>
                  <a:lnTo>
                    <a:pt x="218" y="80"/>
                  </a:lnTo>
                  <a:lnTo>
                    <a:pt x="216" y="80"/>
                  </a:lnTo>
                  <a:lnTo>
                    <a:pt x="213" y="79"/>
                  </a:lnTo>
                  <a:lnTo>
                    <a:pt x="211" y="73"/>
                  </a:lnTo>
                  <a:lnTo>
                    <a:pt x="208" y="65"/>
                  </a:lnTo>
                  <a:lnTo>
                    <a:pt x="208" y="65"/>
                  </a:lnTo>
                  <a:lnTo>
                    <a:pt x="208" y="59"/>
                  </a:lnTo>
                  <a:lnTo>
                    <a:pt x="208" y="54"/>
                  </a:lnTo>
                  <a:lnTo>
                    <a:pt x="205" y="51"/>
                  </a:lnTo>
                  <a:lnTo>
                    <a:pt x="205" y="51"/>
                  </a:lnTo>
                  <a:lnTo>
                    <a:pt x="205" y="48"/>
                  </a:lnTo>
                  <a:lnTo>
                    <a:pt x="206" y="45"/>
                  </a:lnTo>
                  <a:lnTo>
                    <a:pt x="209" y="43"/>
                  </a:lnTo>
                  <a:lnTo>
                    <a:pt x="213" y="43"/>
                  </a:lnTo>
                  <a:lnTo>
                    <a:pt x="213" y="43"/>
                  </a:lnTo>
                  <a:lnTo>
                    <a:pt x="220" y="43"/>
                  </a:lnTo>
                  <a:lnTo>
                    <a:pt x="226" y="45"/>
                  </a:lnTo>
                  <a:lnTo>
                    <a:pt x="233" y="47"/>
                  </a:lnTo>
                  <a:lnTo>
                    <a:pt x="236" y="47"/>
                  </a:lnTo>
                  <a:lnTo>
                    <a:pt x="237" y="47"/>
                  </a:lnTo>
                  <a:lnTo>
                    <a:pt x="237" y="47"/>
                  </a:lnTo>
                  <a:lnTo>
                    <a:pt x="245" y="43"/>
                  </a:lnTo>
                  <a:lnTo>
                    <a:pt x="252" y="40"/>
                  </a:lnTo>
                  <a:lnTo>
                    <a:pt x="252" y="40"/>
                  </a:lnTo>
                  <a:lnTo>
                    <a:pt x="256" y="36"/>
                  </a:lnTo>
                  <a:lnTo>
                    <a:pt x="258" y="30"/>
                  </a:lnTo>
                  <a:lnTo>
                    <a:pt x="258" y="30"/>
                  </a:lnTo>
                  <a:lnTo>
                    <a:pt x="247" y="25"/>
                  </a:lnTo>
                  <a:lnTo>
                    <a:pt x="247" y="25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Freeform 182"/>
            <p:cNvSpPr>
              <a:spLocks/>
            </p:cNvSpPr>
            <p:nvPr/>
          </p:nvSpPr>
          <p:spPr bwMode="auto">
            <a:xfrm>
              <a:off x="7635538" y="3370313"/>
              <a:ext cx="46038" cy="80963"/>
            </a:xfrm>
            <a:custGeom>
              <a:avLst/>
              <a:gdLst>
                <a:gd name="T0" fmla="*/ 2 w 29"/>
                <a:gd name="T1" fmla="*/ 23 h 51"/>
                <a:gd name="T2" fmla="*/ 2 w 29"/>
                <a:gd name="T3" fmla="*/ 23 h 51"/>
                <a:gd name="T4" fmla="*/ 0 w 29"/>
                <a:gd name="T5" fmla="*/ 30 h 51"/>
                <a:gd name="T6" fmla="*/ 0 w 29"/>
                <a:gd name="T7" fmla="*/ 36 h 51"/>
                <a:gd name="T8" fmla="*/ 2 w 29"/>
                <a:gd name="T9" fmla="*/ 40 h 51"/>
                <a:gd name="T10" fmla="*/ 3 w 29"/>
                <a:gd name="T11" fmla="*/ 44 h 51"/>
                <a:gd name="T12" fmla="*/ 7 w 29"/>
                <a:gd name="T13" fmla="*/ 50 h 51"/>
                <a:gd name="T14" fmla="*/ 10 w 29"/>
                <a:gd name="T15" fmla="*/ 51 h 51"/>
                <a:gd name="T16" fmla="*/ 10 w 29"/>
                <a:gd name="T17" fmla="*/ 51 h 51"/>
                <a:gd name="T18" fmla="*/ 16 w 29"/>
                <a:gd name="T19" fmla="*/ 43 h 51"/>
                <a:gd name="T20" fmla="*/ 23 w 29"/>
                <a:gd name="T21" fmla="*/ 28 h 51"/>
                <a:gd name="T22" fmla="*/ 28 w 29"/>
                <a:gd name="T23" fmla="*/ 11 h 51"/>
                <a:gd name="T24" fmla="*/ 29 w 29"/>
                <a:gd name="T25" fmla="*/ 5 h 51"/>
                <a:gd name="T26" fmla="*/ 29 w 29"/>
                <a:gd name="T27" fmla="*/ 3 h 51"/>
                <a:gd name="T28" fmla="*/ 29 w 29"/>
                <a:gd name="T29" fmla="*/ 3 h 51"/>
                <a:gd name="T30" fmla="*/ 27 w 29"/>
                <a:gd name="T31" fmla="*/ 1 h 51"/>
                <a:gd name="T32" fmla="*/ 24 w 29"/>
                <a:gd name="T33" fmla="*/ 0 h 51"/>
                <a:gd name="T34" fmla="*/ 20 w 29"/>
                <a:gd name="T35" fmla="*/ 1 h 51"/>
                <a:gd name="T36" fmla="*/ 16 w 29"/>
                <a:gd name="T37" fmla="*/ 4 h 51"/>
                <a:gd name="T38" fmla="*/ 11 w 29"/>
                <a:gd name="T39" fmla="*/ 7 h 51"/>
                <a:gd name="T40" fmla="*/ 7 w 29"/>
                <a:gd name="T41" fmla="*/ 12 h 51"/>
                <a:gd name="T42" fmla="*/ 4 w 29"/>
                <a:gd name="T43" fmla="*/ 18 h 51"/>
                <a:gd name="T44" fmla="*/ 2 w 29"/>
                <a:gd name="T45" fmla="*/ 23 h 51"/>
                <a:gd name="T46" fmla="*/ 2 w 29"/>
                <a:gd name="T47" fmla="*/ 2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51">
                  <a:moveTo>
                    <a:pt x="2" y="23"/>
                  </a:moveTo>
                  <a:lnTo>
                    <a:pt x="2" y="23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3" y="44"/>
                  </a:lnTo>
                  <a:lnTo>
                    <a:pt x="7" y="50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6" y="43"/>
                  </a:lnTo>
                  <a:lnTo>
                    <a:pt x="23" y="28"/>
                  </a:lnTo>
                  <a:lnTo>
                    <a:pt x="28" y="11"/>
                  </a:lnTo>
                  <a:lnTo>
                    <a:pt x="29" y="5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7" y="1"/>
                  </a:lnTo>
                  <a:lnTo>
                    <a:pt x="24" y="0"/>
                  </a:lnTo>
                  <a:lnTo>
                    <a:pt x="20" y="1"/>
                  </a:lnTo>
                  <a:lnTo>
                    <a:pt x="16" y="4"/>
                  </a:lnTo>
                  <a:lnTo>
                    <a:pt x="11" y="7"/>
                  </a:lnTo>
                  <a:lnTo>
                    <a:pt x="7" y="12"/>
                  </a:lnTo>
                  <a:lnTo>
                    <a:pt x="4" y="18"/>
                  </a:lnTo>
                  <a:lnTo>
                    <a:pt x="2" y="23"/>
                  </a:lnTo>
                  <a:lnTo>
                    <a:pt x="2" y="23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52" name="TextBox 151"/>
          <p:cNvSpPr txBox="1"/>
          <p:nvPr/>
        </p:nvSpPr>
        <p:spPr bwMode="gray">
          <a:xfrm>
            <a:off x="5679512" y="1771691"/>
            <a:ext cx="66154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dirty="0"/>
              <a:t>Taipei office</a:t>
            </a:r>
          </a:p>
        </p:txBody>
      </p:sp>
      <p:sp>
        <p:nvSpPr>
          <p:cNvPr id="159" name="Tekstboks 28"/>
          <p:cNvSpPr txBox="1">
            <a:spLocks noChangeArrowheads="1"/>
          </p:cNvSpPr>
          <p:nvPr/>
        </p:nvSpPr>
        <p:spPr bwMode="auto">
          <a:xfrm>
            <a:off x="558054" y="5358858"/>
            <a:ext cx="148369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GB" sz="800" b="1" dirty="0">
                <a:solidFill>
                  <a:srgbClr val="000000"/>
                </a:solidFill>
                <a:latin typeface="+mn-lt"/>
              </a:rPr>
              <a:t>Under construction</a:t>
            </a:r>
          </a:p>
        </p:txBody>
      </p:sp>
      <p:sp>
        <p:nvSpPr>
          <p:cNvPr id="160" name="Tekstboks 28"/>
          <p:cNvSpPr txBox="1">
            <a:spLocks noChangeArrowheads="1"/>
          </p:cNvSpPr>
          <p:nvPr/>
        </p:nvSpPr>
        <p:spPr bwMode="auto">
          <a:xfrm>
            <a:off x="558054" y="5154177"/>
            <a:ext cx="1067530" cy="215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GB" sz="800" b="1" dirty="0">
                <a:solidFill>
                  <a:srgbClr val="000000"/>
                </a:solidFill>
                <a:latin typeface="+mn-lt"/>
              </a:rPr>
              <a:t>In operation</a:t>
            </a:r>
          </a:p>
        </p:txBody>
      </p:sp>
      <p:sp>
        <p:nvSpPr>
          <p:cNvPr id="161" name="Tekstboks 28"/>
          <p:cNvSpPr txBox="1">
            <a:spLocks noChangeArrowheads="1"/>
          </p:cNvSpPr>
          <p:nvPr/>
        </p:nvSpPr>
        <p:spPr bwMode="auto">
          <a:xfrm>
            <a:off x="558162" y="5563538"/>
            <a:ext cx="17295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GB" sz="800" b="1" dirty="0">
                <a:solidFill>
                  <a:srgbClr val="000000"/>
                </a:solidFill>
                <a:latin typeface="+mn-lt"/>
              </a:rPr>
              <a:t>Under development</a:t>
            </a:r>
          </a:p>
        </p:txBody>
      </p:sp>
      <p:sp>
        <p:nvSpPr>
          <p:cNvPr id="162" name="Tekstboks 28"/>
          <p:cNvSpPr txBox="1">
            <a:spLocks noChangeArrowheads="1"/>
          </p:cNvSpPr>
          <p:nvPr/>
        </p:nvSpPr>
        <p:spPr bwMode="auto">
          <a:xfrm>
            <a:off x="559784" y="5768219"/>
            <a:ext cx="184474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/>
            <a:r>
              <a:rPr lang="en-GB" sz="800" b="1" dirty="0">
                <a:latin typeface="+mn-lt"/>
              </a:rPr>
              <a:t>Decommissioned after 25 years</a:t>
            </a:r>
            <a:endParaRPr lang="en-GB" sz="800" b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63" name="Freeform 5"/>
          <p:cNvSpPr>
            <a:spLocks noChangeAspect="1"/>
          </p:cNvSpPr>
          <p:nvPr/>
        </p:nvSpPr>
        <p:spPr bwMode="auto">
          <a:xfrm>
            <a:off x="418457" y="5186356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64" name="Freeform 5"/>
          <p:cNvSpPr>
            <a:spLocks noChangeAspect="1"/>
          </p:cNvSpPr>
          <p:nvPr/>
        </p:nvSpPr>
        <p:spPr bwMode="auto">
          <a:xfrm>
            <a:off x="418457" y="5391037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65" name="Freeform 5"/>
          <p:cNvSpPr>
            <a:spLocks noChangeAspect="1"/>
          </p:cNvSpPr>
          <p:nvPr/>
        </p:nvSpPr>
        <p:spPr bwMode="auto">
          <a:xfrm>
            <a:off x="417509" y="5595718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66" name="Freeform 5"/>
          <p:cNvSpPr>
            <a:spLocks noChangeAspect="1"/>
          </p:cNvSpPr>
          <p:nvPr/>
        </p:nvSpPr>
        <p:spPr bwMode="auto">
          <a:xfrm>
            <a:off x="417509" y="5800398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93968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67" name="TextBox 166"/>
          <p:cNvSpPr txBox="1"/>
          <p:nvPr/>
        </p:nvSpPr>
        <p:spPr bwMode="gray">
          <a:xfrm>
            <a:off x="4056930" y="1349179"/>
            <a:ext cx="621390" cy="123111"/>
          </a:xfrm>
          <a:prstGeom prst="rect">
            <a:avLst/>
          </a:prstGeom>
          <a:noFill/>
        </p:spPr>
        <p:txBody>
          <a:bodyPr wrap="square" lIns="36000" tIns="0" rIns="0" bIns="0" rtlCol="0">
            <a:spAutoFit/>
          </a:bodyPr>
          <a:lstStyle/>
          <a:p>
            <a:pPr algn="ctr"/>
            <a:r>
              <a:rPr lang="en-GB" sz="800" b="1" dirty="0"/>
              <a:t>Asia Pacific</a:t>
            </a:r>
          </a:p>
        </p:txBody>
      </p:sp>
      <p:sp>
        <p:nvSpPr>
          <p:cNvPr id="168" name="TextBox 167"/>
          <p:cNvSpPr txBox="1"/>
          <p:nvPr/>
        </p:nvSpPr>
        <p:spPr bwMode="gray">
          <a:xfrm>
            <a:off x="5444202" y="2036130"/>
            <a:ext cx="60753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Formosa 1.1</a:t>
            </a:r>
          </a:p>
        </p:txBody>
      </p:sp>
      <p:sp>
        <p:nvSpPr>
          <p:cNvPr id="169" name="TextBox 168"/>
          <p:cNvSpPr txBox="1"/>
          <p:nvPr/>
        </p:nvSpPr>
        <p:spPr bwMode="gray">
          <a:xfrm>
            <a:off x="5416526" y="2151386"/>
            <a:ext cx="60753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Formosa 1.2</a:t>
            </a:r>
          </a:p>
        </p:txBody>
      </p:sp>
      <p:sp>
        <p:nvSpPr>
          <p:cNvPr id="170" name="TextBox 169"/>
          <p:cNvSpPr txBox="1"/>
          <p:nvPr/>
        </p:nvSpPr>
        <p:spPr bwMode="gray">
          <a:xfrm>
            <a:off x="388005" y="1771691"/>
            <a:ext cx="64495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dirty="0"/>
              <a:t>Boston office</a:t>
            </a:r>
          </a:p>
        </p:txBody>
      </p:sp>
      <p:sp>
        <p:nvSpPr>
          <p:cNvPr id="171" name="TextBox 170"/>
          <p:cNvSpPr txBox="1"/>
          <p:nvPr/>
        </p:nvSpPr>
        <p:spPr bwMode="gray">
          <a:xfrm>
            <a:off x="1785961" y="1352510"/>
            <a:ext cx="578971" cy="123111"/>
          </a:xfrm>
          <a:prstGeom prst="rect">
            <a:avLst/>
          </a:prstGeom>
          <a:noFill/>
        </p:spPr>
        <p:txBody>
          <a:bodyPr wrap="square" lIns="0" tIns="0" rIns="36000" bIns="0" rtlCol="0">
            <a:spAutoFit/>
          </a:bodyPr>
          <a:lstStyle/>
          <a:p>
            <a:pPr algn="r"/>
            <a:r>
              <a:rPr lang="en-GB" sz="800" b="1" dirty="0"/>
              <a:t>USA</a:t>
            </a:r>
          </a:p>
        </p:txBody>
      </p:sp>
      <p:sp>
        <p:nvSpPr>
          <p:cNvPr id="172" name="TextBox 171"/>
          <p:cNvSpPr txBox="1"/>
          <p:nvPr/>
        </p:nvSpPr>
        <p:spPr bwMode="gray">
          <a:xfrm>
            <a:off x="3087078" y="1342047"/>
            <a:ext cx="4555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800" b="1" dirty="0"/>
              <a:t>Europe</a:t>
            </a:r>
          </a:p>
        </p:txBody>
      </p:sp>
      <p:sp>
        <p:nvSpPr>
          <p:cNvPr id="175" name="TextBox 174"/>
          <p:cNvSpPr txBox="1"/>
          <p:nvPr/>
        </p:nvSpPr>
        <p:spPr bwMode="gray">
          <a:xfrm>
            <a:off x="4985842" y="2266641"/>
            <a:ext cx="13336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Greater Changhua projects</a:t>
            </a:r>
          </a:p>
        </p:txBody>
      </p:sp>
      <p:sp>
        <p:nvSpPr>
          <p:cNvPr id="178" name="TextBox 177"/>
          <p:cNvSpPr txBox="1"/>
          <p:nvPr/>
        </p:nvSpPr>
        <p:spPr bwMode="gray">
          <a:xfrm>
            <a:off x="4715569" y="5086285"/>
            <a:ext cx="54822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OWP West</a:t>
            </a:r>
          </a:p>
        </p:txBody>
      </p:sp>
      <p:cxnSp>
        <p:nvCxnSpPr>
          <p:cNvPr id="179" name="Elbow Connector 88"/>
          <p:cNvCxnSpPr>
            <a:endCxn id="178" idx="1"/>
          </p:cNvCxnSpPr>
          <p:nvPr/>
        </p:nvCxnSpPr>
        <p:spPr bwMode="gray">
          <a:xfrm rot="16200000" flipH="1">
            <a:off x="4049051" y="4481322"/>
            <a:ext cx="1000975" cy="332062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81" name="TextBox 180"/>
          <p:cNvSpPr txBox="1"/>
          <p:nvPr/>
        </p:nvSpPr>
        <p:spPr bwMode="gray">
          <a:xfrm>
            <a:off x="4723993" y="4776093"/>
            <a:ext cx="83516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Nördlicher Grund</a:t>
            </a:r>
          </a:p>
        </p:txBody>
      </p:sp>
      <p:cxnSp>
        <p:nvCxnSpPr>
          <p:cNvPr id="182" name="Elbow Connector 88"/>
          <p:cNvCxnSpPr>
            <a:endCxn id="181" idx="1"/>
          </p:cNvCxnSpPr>
          <p:nvPr/>
        </p:nvCxnSpPr>
        <p:spPr bwMode="gray">
          <a:xfrm rot="16200000" flipH="1">
            <a:off x="4017153" y="4130809"/>
            <a:ext cx="1208280" cy="205400"/>
          </a:xfrm>
          <a:prstGeom prst="bentConnector2">
            <a:avLst/>
          </a:prstGeom>
          <a:solidFill>
            <a:schemeClr val="accent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84" name="TextBox 183"/>
          <p:cNvSpPr txBox="1"/>
          <p:nvPr/>
        </p:nvSpPr>
        <p:spPr bwMode="gray">
          <a:xfrm>
            <a:off x="1784996" y="1969507"/>
            <a:ext cx="60914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Ocean Wind</a:t>
            </a:r>
          </a:p>
        </p:txBody>
      </p:sp>
      <p:sp>
        <p:nvSpPr>
          <p:cNvPr id="185" name="TextBox 184"/>
          <p:cNvSpPr txBox="1"/>
          <p:nvPr/>
        </p:nvSpPr>
        <p:spPr bwMode="gray">
          <a:xfrm>
            <a:off x="3804755" y="3618497"/>
            <a:ext cx="5257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Hornsea 2 </a:t>
            </a:r>
          </a:p>
        </p:txBody>
      </p:sp>
      <p:sp>
        <p:nvSpPr>
          <p:cNvPr id="186" name="TextBox 185"/>
          <p:cNvSpPr txBox="1"/>
          <p:nvPr/>
        </p:nvSpPr>
        <p:spPr bwMode="gray">
          <a:xfrm>
            <a:off x="3975229" y="3715461"/>
            <a:ext cx="71173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Hornsea 3 &amp; 4 </a:t>
            </a:r>
          </a:p>
        </p:txBody>
      </p:sp>
      <p:sp>
        <p:nvSpPr>
          <p:cNvPr id="188" name="TextBox 187"/>
          <p:cNvSpPr txBox="1"/>
          <p:nvPr/>
        </p:nvSpPr>
        <p:spPr bwMode="gray">
          <a:xfrm>
            <a:off x="3709692" y="4681759"/>
            <a:ext cx="63959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/>
              <a:t>Borssele 1&amp;2</a:t>
            </a:r>
          </a:p>
        </p:txBody>
      </p:sp>
      <p:sp>
        <p:nvSpPr>
          <p:cNvPr id="190" name="Freeform 5"/>
          <p:cNvSpPr>
            <a:spLocks noChangeAspect="1"/>
          </p:cNvSpPr>
          <p:nvPr/>
        </p:nvSpPr>
        <p:spPr bwMode="auto">
          <a:xfrm>
            <a:off x="2544718" y="3791021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92" name="Freeform 5"/>
          <p:cNvSpPr>
            <a:spLocks noChangeAspect="1"/>
          </p:cNvSpPr>
          <p:nvPr/>
        </p:nvSpPr>
        <p:spPr bwMode="auto">
          <a:xfrm>
            <a:off x="2552391" y="3578277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95" name="Freeform 5"/>
          <p:cNvSpPr>
            <a:spLocks noChangeAspect="1"/>
          </p:cNvSpPr>
          <p:nvPr/>
        </p:nvSpPr>
        <p:spPr bwMode="auto">
          <a:xfrm>
            <a:off x="2585668" y="3949025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96" name="Freeform 5"/>
          <p:cNvSpPr>
            <a:spLocks noChangeAspect="1"/>
          </p:cNvSpPr>
          <p:nvPr/>
        </p:nvSpPr>
        <p:spPr bwMode="auto">
          <a:xfrm>
            <a:off x="2717767" y="3907554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97" name="Freeform 5"/>
          <p:cNvSpPr>
            <a:spLocks noChangeAspect="1"/>
          </p:cNvSpPr>
          <p:nvPr/>
        </p:nvSpPr>
        <p:spPr bwMode="auto">
          <a:xfrm>
            <a:off x="2672340" y="3745743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98" name="Freeform 5"/>
          <p:cNvSpPr>
            <a:spLocks noChangeAspect="1"/>
          </p:cNvSpPr>
          <p:nvPr/>
        </p:nvSpPr>
        <p:spPr bwMode="auto">
          <a:xfrm>
            <a:off x="2625248" y="3670401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99" name="Freeform 5"/>
          <p:cNvSpPr>
            <a:spLocks noChangeAspect="1"/>
          </p:cNvSpPr>
          <p:nvPr/>
        </p:nvSpPr>
        <p:spPr bwMode="auto">
          <a:xfrm>
            <a:off x="2542846" y="3692971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12" name="Freeform 5"/>
          <p:cNvSpPr>
            <a:spLocks noChangeAspect="1"/>
          </p:cNvSpPr>
          <p:nvPr/>
        </p:nvSpPr>
        <p:spPr bwMode="auto">
          <a:xfrm>
            <a:off x="2395719" y="3779710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16" name="Freeform 5"/>
          <p:cNvSpPr>
            <a:spLocks noChangeAspect="1"/>
          </p:cNvSpPr>
          <p:nvPr/>
        </p:nvSpPr>
        <p:spPr bwMode="auto">
          <a:xfrm>
            <a:off x="3317037" y="3748829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8" name="Freeform 5"/>
          <p:cNvSpPr>
            <a:spLocks noChangeAspect="1"/>
          </p:cNvSpPr>
          <p:nvPr/>
        </p:nvSpPr>
        <p:spPr bwMode="auto">
          <a:xfrm>
            <a:off x="3430961" y="4028404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29" name="Freeform 5"/>
          <p:cNvSpPr>
            <a:spLocks noChangeAspect="1"/>
          </p:cNvSpPr>
          <p:nvPr/>
        </p:nvSpPr>
        <p:spPr bwMode="auto">
          <a:xfrm>
            <a:off x="3694643" y="4392273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30" name="Freeform 5"/>
          <p:cNvSpPr>
            <a:spLocks noChangeAspect="1"/>
          </p:cNvSpPr>
          <p:nvPr/>
        </p:nvSpPr>
        <p:spPr bwMode="auto">
          <a:xfrm>
            <a:off x="3662494" y="4474170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31" name="Freeform 5"/>
          <p:cNvSpPr>
            <a:spLocks noChangeAspect="1"/>
          </p:cNvSpPr>
          <p:nvPr/>
        </p:nvSpPr>
        <p:spPr bwMode="auto">
          <a:xfrm>
            <a:off x="3527660" y="4510239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32" name="Freeform 5"/>
          <p:cNvSpPr>
            <a:spLocks noChangeAspect="1"/>
          </p:cNvSpPr>
          <p:nvPr/>
        </p:nvSpPr>
        <p:spPr bwMode="auto">
          <a:xfrm>
            <a:off x="3512386" y="4628218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34" name="Freeform 5"/>
          <p:cNvSpPr>
            <a:spLocks noChangeAspect="1"/>
          </p:cNvSpPr>
          <p:nvPr/>
        </p:nvSpPr>
        <p:spPr bwMode="auto">
          <a:xfrm>
            <a:off x="3870433" y="4573986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35" name="Freeform 5"/>
          <p:cNvSpPr>
            <a:spLocks noChangeAspect="1"/>
          </p:cNvSpPr>
          <p:nvPr/>
        </p:nvSpPr>
        <p:spPr bwMode="auto">
          <a:xfrm>
            <a:off x="3948135" y="4563995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37" name="Freeform 5"/>
          <p:cNvSpPr>
            <a:spLocks noChangeAspect="1"/>
          </p:cNvSpPr>
          <p:nvPr/>
        </p:nvSpPr>
        <p:spPr bwMode="auto">
          <a:xfrm>
            <a:off x="3553992" y="3951830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39" name="Freeform 5"/>
          <p:cNvSpPr>
            <a:spLocks noChangeAspect="1"/>
          </p:cNvSpPr>
          <p:nvPr/>
        </p:nvSpPr>
        <p:spPr bwMode="auto">
          <a:xfrm>
            <a:off x="3602816" y="3647515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40" name="Freeform 5"/>
          <p:cNvSpPr>
            <a:spLocks noChangeAspect="1"/>
          </p:cNvSpPr>
          <p:nvPr/>
        </p:nvSpPr>
        <p:spPr bwMode="auto">
          <a:xfrm>
            <a:off x="3683654" y="3676139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41" name="Freeform 5"/>
          <p:cNvSpPr>
            <a:spLocks noChangeAspect="1"/>
          </p:cNvSpPr>
          <p:nvPr/>
        </p:nvSpPr>
        <p:spPr bwMode="auto">
          <a:xfrm>
            <a:off x="3755732" y="3705399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42" name="Freeform 5"/>
          <p:cNvSpPr>
            <a:spLocks noChangeAspect="1"/>
          </p:cNvSpPr>
          <p:nvPr/>
        </p:nvSpPr>
        <p:spPr bwMode="auto">
          <a:xfrm>
            <a:off x="3861445" y="3712671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43" name="Freeform 5"/>
          <p:cNvSpPr>
            <a:spLocks noChangeAspect="1"/>
          </p:cNvSpPr>
          <p:nvPr/>
        </p:nvSpPr>
        <p:spPr bwMode="auto">
          <a:xfrm>
            <a:off x="4437368" y="3478600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44" name="Freeform 5"/>
          <p:cNvSpPr>
            <a:spLocks noChangeAspect="1"/>
          </p:cNvSpPr>
          <p:nvPr/>
        </p:nvSpPr>
        <p:spPr bwMode="auto">
          <a:xfrm>
            <a:off x="4373516" y="3883620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45" name="Freeform 5"/>
          <p:cNvSpPr>
            <a:spLocks noChangeAspect="1"/>
          </p:cNvSpPr>
          <p:nvPr/>
        </p:nvSpPr>
        <p:spPr bwMode="auto">
          <a:xfrm>
            <a:off x="4298964" y="3991652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46" name="Freeform 5"/>
          <p:cNvSpPr>
            <a:spLocks noChangeAspect="1"/>
          </p:cNvSpPr>
          <p:nvPr/>
        </p:nvSpPr>
        <p:spPr bwMode="auto">
          <a:xfrm>
            <a:off x="4727850" y="3861052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47" name="Freeform 5"/>
          <p:cNvSpPr>
            <a:spLocks noChangeAspect="1"/>
          </p:cNvSpPr>
          <p:nvPr/>
        </p:nvSpPr>
        <p:spPr bwMode="auto">
          <a:xfrm>
            <a:off x="4774704" y="3842186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48" name="Freeform 5"/>
          <p:cNvSpPr>
            <a:spLocks noChangeAspect="1"/>
          </p:cNvSpPr>
          <p:nvPr/>
        </p:nvSpPr>
        <p:spPr bwMode="auto">
          <a:xfrm>
            <a:off x="4501332" y="3908198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49" name="Freeform 5"/>
          <p:cNvSpPr>
            <a:spLocks noChangeAspect="1"/>
          </p:cNvSpPr>
          <p:nvPr/>
        </p:nvSpPr>
        <p:spPr bwMode="auto">
          <a:xfrm>
            <a:off x="4585903" y="3834830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50" name="Freeform 5"/>
          <p:cNvSpPr>
            <a:spLocks noChangeAspect="1"/>
          </p:cNvSpPr>
          <p:nvPr/>
        </p:nvSpPr>
        <p:spPr bwMode="auto">
          <a:xfrm>
            <a:off x="4665091" y="3837631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51" name="Freeform 5"/>
          <p:cNvSpPr>
            <a:spLocks noChangeAspect="1"/>
          </p:cNvSpPr>
          <p:nvPr/>
        </p:nvSpPr>
        <p:spPr bwMode="auto">
          <a:xfrm>
            <a:off x="4810781" y="3757112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52" name="Freeform 5"/>
          <p:cNvSpPr>
            <a:spLocks noChangeAspect="1"/>
          </p:cNvSpPr>
          <p:nvPr/>
        </p:nvSpPr>
        <p:spPr bwMode="auto">
          <a:xfrm>
            <a:off x="4664374" y="3410900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53" name="Freeform 5"/>
          <p:cNvSpPr>
            <a:spLocks noChangeAspect="1"/>
          </p:cNvSpPr>
          <p:nvPr/>
        </p:nvSpPr>
        <p:spPr bwMode="auto">
          <a:xfrm>
            <a:off x="4779203" y="3523326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3" name="Freeform 5"/>
          <p:cNvSpPr>
            <a:spLocks noChangeAspect="1"/>
          </p:cNvSpPr>
          <p:nvPr/>
        </p:nvSpPr>
        <p:spPr bwMode="auto">
          <a:xfrm>
            <a:off x="5498221" y="3737784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4" name="Freeform 5"/>
          <p:cNvSpPr>
            <a:spLocks noChangeAspect="1"/>
          </p:cNvSpPr>
          <p:nvPr/>
        </p:nvSpPr>
        <p:spPr bwMode="auto">
          <a:xfrm>
            <a:off x="5629488" y="3415592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5" name="Freeform 5"/>
          <p:cNvSpPr>
            <a:spLocks noChangeAspect="1"/>
          </p:cNvSpPr>
          <p:nvPr/>
        </p:nvSpPr>
        <p:spPr bwMode="auto">
          <a:xfrm>
            <a:off x="5240381" y="1990491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6" name="Freeform 5"/>
          <p:cNvSpPr>
            <a:spLocks noChangeAspect="1"/>
          </p:cNvSpPr>
          <p:nvPr/>
        </p:nvSpPr>
        <p:spPr bwMode="auto">
          <a:xfrm>
            <a:off x="5403499" y="3074360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8" name="Freeform 5"/>
          <p:cNvSpPr>
            <a:spLocks noChangeAspect="1"/>
          </p:cNvSpPr>
          <p:nvPr/>
        </p:nvSpPr>
        <p:spPr bwMode="auto">
          <a:xfrm>
            <a:off x="5353144" y="3554076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93968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69" name="Freeform 5"/>
          <p:cNvSpPr>
            <a:spLocks noChangeAspect="1"/>
          </p:cNvSpPr>
          <p:nvPr/>
        </p:nvSpPr>
        <p:spPr bwMode="auto">
          <a:xfrm>
            <a:off x="5168633" y="2134508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70" name="Freeform 5"/>
          <p:cNvSpPr>
            <a:spLocks noChangeAspect="1"/>
          </p:cNvSpPr>
          <p:nvPr/>
        </p:nvSpPr>
        <p:spPr bwMode="auto">
          <a:xfrm>
            <a:off x="5204371" y="2048480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71" name="Freeform 5"/>
          <p:cNvSpPr>
            <a:spLocks noChangeAspect="1"/>
          </p:cNvSpPr>
          <p:nvPr/>
        </p:nvSpPr>
        <p:spPr bwMode="auto">
          <a:xfrm>
            <a:off x="5613049" y="3264860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73" name="Freeform 5"/>
          <p:cNvSpPr>
            <a:spLocks noChangeAspect="1"/>
          </p:cNvSpPr>
          <p:nvPr/>
        </p:nvSpPr>
        <p:spPr bwMode="auto">
          <a:xfrm>
            <a:off x="1827059" y="1728503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76" name="Freeform 5"/>
          <p:cNvSpPr>
            <a:spLocks noChangeAspect="1"/>
          </p:cNvSpPr>
          <p:nvPr/>
        </p:nvSpPr>
        <p:spPr bwMode="auto">
          <a:xfrm>
            <a:off x="1714746" y="1838779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77" name="Freeform 5"/>
          <p:cNvSpPr>
            <a:spLocks noChangeAspect="1"/>
          </p:cNvSpPr>
          <p:nvPr/>
        </p:nvSpPr>
        <p:spPr bwMode="auto">
          <a:xfrm>
            <a:off x="1641705" y="1956514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03" name="Title 1"/>
          <p:cNvSpPr txBox="1">
            <a:spLocks/>
          </p:cNvSpPr>
          <p:nvPr/>
        </p:nvSpPr>
        <p:spPr>
          <a:xfrm>
            <a:off x="400066" y="326586"/>
            <a:ext cx="9105871" cy="7838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defTabSz="1007943">
              <a:lnSpc>
                <a:spcPct val="95000"/>
              </a:lnSpc>
              <a:spcBef>
                <a:spcPct val="0"/>
              </a:spcBef>
              <a:buNone/>
              <a:defRPr sz="2400" b="1" i="0" baseline="0">
                <a:solidFill>
                  <a:schemeClr val="accent1"/>
                </a:solidFill>
                <a:latin typeface="Orsted Sans Office" panose="00000500000000000000" pitchFamily="2" charset="0"/>
                <a:ea typeface="+mj-ea"/>
                <a:cs typeface="+mj-cs"/>
              </a:defRPr>
            </a:lvl1pPr>
          </a:lstStyle>
          <a:p>
            <a:r>
              <a:rPr lang="en-US" dirty="0"/>
              <a:t>Ørsted Wind Power overview</a:t>
            </a:r>
            <a:endParaRPr lang="en-GB" dirty="0"/>
          </a:p>
          <a:p>
            <a:endParaRPr lang="en-GB" dirty="0"/>
          </a:p>
        </p:txBody>
      </p:sp>
      <p:sp>
        <p:nvSpPr>
          <p:cNvPr id="191" name="Freeform 5">
            <a:extLst>
              <a:ext uri="{FF2B5EF4-FFF2-40B4-BE49-F238E27FC236}">
                <a16:creationId xmlns:a16="http://schemas.microsoft.com/office/drawing/2014/main" id="{CBB9027F-9FE4-424C-903C-0A77B2765E58}"/>
              </a:ext>
            </a:extLst>
          </p:cNvPr>
          <p:cNvSpPr>
            <a:spLocks noChangeAspect="1"/>
          </p:cNvSpPr>
          <p:nvPr/>
        </p:nvSpPr>
        <p:spPr bwMode="auto">
          <a:xfrm>
            <a:off x="4486751" y="3498268"/>
            <a:ext cx="168470" cy="151086"/>
          </a:xfrm>
          <a:custGeom>
            <a:avLst/>
            <a:gdLst>
              <a:gd name="T0" fmla="*/ 488 w 504"/>
              <a:gd name="T1" fmla="*/ 414 h 452"/>
              <a:gd name="T2" fmla="*/ 309 w 504"/>
              <a:gd name="T3" fmla="*/ 303 h 452"/>
              <a:gd name="T4" fmla="*/ 303 w 504"/>
              <a:gd name="T5" fmla="*/ 302 h 452"/>
              <a:gd name="T6" fmla="*/ 292 w 504"/>
              <a:gd name="T7" fmla="*/ 298 h 452"/>
              <a:gd name="T8" fmla="*/ 293 w 504"/>
              <a:gd name="T9" fmla="*/ 293 h 452"/>
              <a:gd name="T10" fmla="*/ 291 w 504"/>
              <a:gd name="T11" fmla="*/ 281 h 452"/>
              <a:gd name="T12" fmla="*/ 286 w 504"/>
              <a:gd name="T13" fmla="*/ 270 h 452"/>
              <a:gd name="T14" fmla="*/ 279 w 504"/>
              <a:gd name="T15" fmla="*/ 260 h 452"/>
              <a:gd name="T16" fmla="*/ 270 w 504"/>
              <a:gd name="T17" fmla="*/ 253 h 452"/>
              <a:gd name="T18" fmla="*/ 272 w 504"/>
              <a:gd name="T19" fmla="*/ 241 h 452"/>
              <a:gd name="T20" fmla="*/ 273 w 504"/>
              <a:gd name="T21" fmla="*/ 237 h 452"/>
              <a:gd name="T22" fmla="*/ 259 w 504"/>
              <a:gd name="T23" fmla="*/ 22 h 452"/>
              <a:gd name="T24" fmla="*/ 254 w 504"/>
              <a:gd name="T25" fmla="*/ 8 h 452"/>
              <a:gd name="T26" fmla="*/ 244 w 504"/>
              <a:gd name="T27" fmla="*/ 0 h 452"/>
              <a:gd name="T28" fmla="*/ 239 w 504"/>
              <a:gd name="T29" fmla="*/ 1 h 452"/>
              <a:gd name="T30" fmla="*/ 233 w 504"/>
              <a:gd name="T31" fmla="*/ 4 h 452"/>
              <a:gd name="T32" fmla="*/ 230 w 504"/>
              <a:gd name="T33" fmla="*/ 12 h 452"/>
              <a:gd name="T34" fmla="*/ 228 w 504"/>
              <a:gd name="T35" fmla="*/ 24 h 452"/>
              <a:gd name="T36" fmla="*/ 222 w 504"/>
              <a:gd name="T37" fmla="*/ 144 h 452"/>
              <a:gd name="T38" fmla="*/ 219 w 504"/>
              <a:gd name="T39" fmla="*/ 237 h 452"/>
              <a:gd name="T40" fmla="*/ 222 w 504"/>
              <a:gd name="T41" fmla="*/ 253 h 452"/>
              <a:gd name="T42" fmla="*/ 218 w 504"/>
              <a:gd name="T43" fmla="*/ 257 h 452"/>
              <a:gd name="T44" fmla="*/ 209 w 504"/>
              <a:gd name="T45" fmla="*/ 265 h 452"/>
              <a:gd name="T46" fmla="*/ 203 w 504"/>
              <a:gd name="T47" fmla="*/ 275 h 452"/>
              <a:gd name="T48" fmla="*/ 200 w 504"/>
              <a:gd name="T49" fmla="*/ 287 h 452"/>
              <a:gd name="T50" fmla="*/ 200 w 504"/>
              <a:gd name="T51" fmla="*/ 293 h 452"/>
              <a:gd name="T52" fmla="*/ 200 w 504"/>
              <a:gd name="T53" fmla="*/ 299 h 452"/>
              <a:gd name="T54" fmla="*/ 190 w 504"/>
              <a:gd name="T55" fmla="*/ 302 h 452"/>
              <a:gd name="T56" fmla="*/ 12 w 504"/>
              <a:gd name="T57" fmla="*/ 421 h 452"/>
              <a:gd name="T58" fmla="*/ 2 w 504"/>
              <a:gd name="T59" fmla="*/ 433 h 452"/>
              <a:gd name="T60" fmla="*/ 0 w 504"/>
              <a:gd name="T61" fmla="*/ 445 h 452"/>
              <a:gd name="T62" fmla="*/ 3 w 504"/>
              <a:gd name="T63" fmla="*/ 450 h 452"/>
              <a:gd name="T64" fmla="*/ 9 w 504"/>
              <a:gd name="T65" fmla="*/ 452 h 452"/>
              <a:gd name="T66" fmla="*/ 17 w 504"/>
              <a:gd name="T67" fmla="*/ 452 h 452"/>
              <a:gd name="T68" fmla="*/ 29 w 504"/>
              <a:gd name="T69" fmla="*/ 448 h 452"/>
              <a:gd name="T70" fmla="*/ 135 w 504"/>
              <a:gd name="T71" fmla="*/ 392 h 452"/>
              <a:gd name="T72" fmla="*/ 216 w 504"/>
              <a:gd name="T73" fmla="*/ 349 h 452"/>
              <a:gd name="T74" fmla="*/ 230 w 504"/>
              <a:gd name="T75" fmla="*/ 338 h 452"/>
              <a:gd name="T76" fmla="*/ 238 w 504"/>
              <a:gd name="T77" fmla="*/ 340 h 452"/>
              <a:gd name="T78" fmla="*/ 246 w 504"/>
              <a:gd name="T79" fmla="*/ 340 h 452"/>
              <a:gd name="T80" fmla="*/ 265 w 504"/>
              <a:gd name="T81" fmla="*/ 335 h 452"/>
              <a:gd name="T82" fmla="*/ 271 w 504"/>
              <a:gd name="T83" fmla="*/ 342 h 452"/>
              <a:gd name="T84" fmla="*/ 282 w 504"/>
              <a:gd name="T85" fmla="*/ 351 h 452"/>
              <a:gd name="T86" fmla="*/ 475 w 504"/>
              <a:gd name="T87" fmla="*/ 442 h 452"/>
              <a:gd name="T88" fmla="*/ 483 w 504"/>
              <a:gd name="T89" fmla="*/ 444 h 452"/>
              <a:gd name="T90" fmla="*/ 497 w 504"/>
              <a:gd name="T91" fmla="*/ 443 h 452"/>
              <a:gd name="T92" fmla="*/ 503 w 504"/>
              <a:gd name="T93" fmla="*/ 438 h 452"/>
              <a:gd name="T94" fmla="*/ 504 w 504"/>
              <a:gd name="T95" fmla="*/ 432 h 452"/>
              <a:gd name="T96" fmla="*/ 502 w 504"/>
              <a:gd name="T97" fmla="*/ 425 h 452"/>
              <a:gd name="T98" fmla="*/ 494 w 504"/>
              <a:gd name="T99" fmla="*/ 419 h 452"/>
              <a:gd name="T100" fmla="*/ 488 w 504"/>
              <a:gd name="T101" fmla="*/ 414 h 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04" h="452">
                <a:moveTo>
                  <a:pt x="488" y="414"/>
                </a:moveTo>
                <a:lnTo>
                  <a:pt x="488" y="414"/>
                </a:lnTo>
                <a:lnTo>
                  <a:pt x="386" y="351"/>
                </a:lnTo>
                <a:lnTo>
                  <a:pt x="309" y="303"/>
                </a:lnTo>
                <a:lnTo>
                  <a:pt x="309" y="303"/>
                </a:lnTo>
                <a:lnTo>
                  <a:pt x="303" y="302"/>
                </a:lnTo>
                <a:lnTo>
                  <a:pt x="292" y="298"/>
                </a:lnTo>
                <a:lnTo>
                  <a:pt x="292" y="298"/>
                </a:lnTo>
                <a:lnTo>
                  <a:pt x="293" y="293"/>
                </a:lnTo>
                <a:lnTo>
                  <a:pt x="293" y="293"/>
                </a:lnTo>
                <a:lnTo>
                  <a:pt x="292" y="287"/>
                </a:lnTo>
                <a:lnTo>
                  <a:pt x="291" y="281"/>
                </a:lnTo>
                <a:lnTo>
                  <a:pt x="289" y="275"/>
                </a:lnTo>
                <a:lnTo>
                  <a:pt x="286" y="270"/>
                </a:lnTo>
                <a:lnTo>
                  <a:pt x="283" y="264"/>
                </a:lnTo>
                <a:lnTo>
                  <a:pt x="279" y="260"/>
                </a:lnTo>
                <a:lnTo>
                  <a:pt x="274" y="257"/>
                </a:lnTo>
                <a:lnTo>
                  <a:pt x="270" y="253"/>
                </a:lnTo>
                <a:lnTo>
                  <a:pt x="270" y="253"/>
                </a:lnTo>
                <a:lnTo>
                  <a:pt x="272" y="241"/>
                </a:lnTo>
                <a:lnTo>
                  <a:pt x="273" y="237"/>
                </a:lnTo>
                <a:lnTo>
                  <a:pt x="273" y="237"/>
                </a:lnTo>
                <a:lnTo>
                  <a:pt x="259" y="22"/>
                </a:lnTo>
                <a:lnTo>
                  <a:pt x="259" y="22"/>
                </a:lnTo>
                <a:lnTo>
                  <a:pt x="258" y="14"/>
                </a:lnTo>
                <a:lnTo>
                  <a:pt x="254" y="8"/>
                </a:lnTo>
                <a:lnTo>
                  <a:pt x="250" y="3"/>
                </a:lnTo>
                <a:lnTo>
                  <a:pt x="244" y="0"/>
                </a:lnTo>
                <a:lnTo>
                  <a:pt x="241" y="0"/>
                </a:lnTo>
                <a:lnTo>
                  <a:pt x="239" y="1"/>
                </a:lnTo>
                <a:lnTo>
                  <a:pt x="236" y="2"/>
                </a:lnTo>
                <a:lnTo>
                  <a:pt x="233" y="4"/>
                </a:lnTo>
                <a:lnTo>
                  <a:pt x="232" y="8"/>
                </a:lnTo>
                <a:lnTo>
                  <a:pt x="230" y="12"/>
                </a:lnTo>
                <a:lnTo>
                  <a:pt x="229" y="18"/>
                </a:lnTo>
                <a:lnTo>
                  <a:pt x="228" y="24"/>
                </a:lnTo>
                <a:lnTo>
                  <a:pt x="228" y="24"/>
                </a:lnTo>
                <a:lnTo>
                  <a:pt x="222" y="144"/>
                </a:lnTo>
                <a:lnTo>
                  <a:pt x="219" y="237"/>
                </a:lnTo>
                <a:lnTo>
                  <a:pt x="219" y="237"/>
                </a:lnTo>
                <a:lnTo>
                  <a:pt x="220" y="241"/>
                </a:lnTo>
                <a:lnTo>
                  <a:pt x="222" y="253"/>
                </a:lnTo>
                <a:lnTo>
                  <a:pt x="222" y="253"/>
                </a:lnTo>
                <a:lnTo>
                  <a:pt x="218" y="257"/>
                </a:lnTo>
                <a:lnTo>
                  <a:pt x="213" y="261"/>
                </a:lnTo>
                <a:lnTo>
                  <a:pt x="209" y="265"/>
                </a:lnTo>
                <a:lnTo>
                  <a:pt x="205" y="270"/>
                </a:lnTo>
                <a:lnTo>
                  <a:pt x="203" y="275"/>
                </a:lnTo>
                <a:lnTo>
                  <a:pt x="201" y="281"/>
                </a:lnTo>
                <a:lnTo>
                  <a:pt x="200" y="287"/>
                </a:lnTo>
                <a:lnTo>
                  <a:pt x="200" y="293"/>
                </a:lnTo>
                <a:lnTo>
                  <a:pt x="200" y="293"/>
                </a:lnTo>
                <a:lnTo>
                  <a:pt x="200" y="299"/>
                </a:lnTo>
                <a:lnTo>
                  <a:pt x="200" y="299"/>
                </a:lnTo>
                <a:lnTo>
                  <a:pt x="190" y="302"/>
                </a:lnTo>
                <a:lnTo>
                  <a:pt x="190" y="302"/>
                </a:lnTo>
                <a:lnTo>
                  <a:pt x="12" y="421"/>
                </a:lnTo>
                <a:lnTo>
                  <a:pt x="12" y="421"/>
                </a:lnTo>
                <a:lnTo>
                  <a:pt x="6" y="426"/>
                </a:lnTo>
                <a:lnTo>
                  <a:pt x="2" y="433"/>
                </a:lnTo>
                <a:lnTo>
                  <a:pt x="0" y="440"/>
                </a:lnTo>
                <a:lnTo>
                  <a:pt x="0" y="445"/>
                </a:lnTo>
                <a:lnTo>
                  <a:pt x="1" y="448"/>
                </a:lnTo>
                <a:lnTo>
                  <a:pt x="3" y="450"/>
                </a:lnTo>
                <a:lnTo>
                  <a:pt x="6" y="451"/>
                </a:lnTo>
                <a:lnTo>
                  <a:pt x="9" y="452"/>
                </a:lnTo>
                <a:lnTo>
                  <a:pt x="12" y="452"/>
                </a:lnTo>
                <a:lnTo>
                  <a:pt x="17" y="452"/>
                </a:lnTo>
                <a:lnTo>
                  <a:pt x="22" y="450"/>
                </a:lnTo>
                <a:lnTo>
                  <a:pt x="29" y="448"/>
                </a:lnTo>
                <a:lnTo>
                  <a:pt x="29" y="448"/>
                </a:lnTo>
                <a:lnTo>
                  <a:pt x="135" y="392"/>
                </a:lnTo>
                <a:lnTo>
                  <a:pt x="216" y="349"/>
                </a:lnTo>
                <a:lnTo>
                  <a:pt x="216" y="349"/>
                </a:lnTo>
                <a:lnTo>
                  <a:pt x="221" y="345"/>
                </a:lnTo>
                <a:lnTo>
                  <a:pt x="230" y="338"/>
                </a:lnTo>
                <a:lnTo>
                  <a:pt x="230" y="338"/>
                </a:lnTo>
                <a:lnTo>
                  <a:pt x="238" y="340"/>
                </a:lnTo>
                <a:lnTo>
                  <a:pt x="246" y="340"/>
                </a:lnTo>
                <a:lnTo>
                  <a:pt x="246" y="340"/>
                </a:lnTo>
                <a:lnTo>
                  <a:pt x="256" y="339"/>
                </a:lnTo>
                <a:lnTo>
                  <a:pt x="265" y="335"/>
                </a:lnTo>
                <a:lnTo>
                  <a:pt x="265" y="335"/>
                </a:lnTo>
                <a:lnTo>
                  <a:pt x="271" y="342"/>
                </a:lnTo>
                <a:lnTo>
                  <a:pt x="276" y="346"/>
                </a:lnTo>
                <a:lnTo>
                  <a:pt x="282" y="351"/>
                </a:lnTo>
                <a:lnTo>
                  <a:pt x="282" y="351"/>
                </a:lnTo>
                <a:lnTo>
                  <a:pt x="475" y="442"/>
                </a:lnTo>
                <a:lnTo>
                  <a:pt x="475" y="442"/>
                </a:lnTo>
                <a:lnTo>
                  <a:pt x="483" y="444"/>
                </a:lnTo>
                <a:lnTo>
                  <a:pt x="491" y="445"/>
                </a:lnTo>
                <a:lnTo>
                  <a:pt x="497" y="443"/>
                </a:lnTo>
                <a:lnTo>
                  <a:pt x="502" y="440"/>
                </a:lnTo>
                <a:lnTo>
                  <a:pt x="503" y="438"/>
                </a:lnTo>
                <a:lnTo>
                  <a:pt x="504" y="435"/>
                </a:lnTo>
                <a:lnTo>
                  <a:pt x="504" y="432"/>
                </a:lnTo>
                <a:lnTo>
                  <a:pt x="503" y="429"/>
                </a:lnTo>
                <a:lnTo>
                  <a:pt x="502" y="425"/>
                </a:lnTo>
                <a:lnTo>
                  <a:pt x="498" y="422"/>
                </a:lnTo>
                <a:lnTo>
                  <a:pt x="494" y="419"/>
                </a:lnTo>
                <a:lnTo>
                  <a:pt x="488" y="414"/>
                </a:lnTo>
                <a:lnTo>
                  <a:pt x="488" y="4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85340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>
            <a:extLst>
              <a:ext uri="{FF2B5EF4-FFF2-40B4-BE49-F238E27FC236}">
                <a16:creationId xmlns:a16="http://schemas.microsoft.com/office/drawing/2014/main" id="{0CB0F32E-487A-45E3-BBD9-5E5A9F4807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6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57" name="Object 56" hidden="1">
                        <a:extLst>
                          <a:ext uri="{FF2B5EF4-FFF2-40B4-BE49-F238E27FC236}">
                            <a16:creationId xmlns:a16="http://schemas.microsoft.com/office/drawing/2014/main" id="{0CB0F32E-487A-45E3-BBD9-5E5A9F480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84AC8C89-E182-4E4C-8097-1D765101BA6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700" noProof="0" dirty="0">
              <a:latin typeface="Orsted Sans Office" panose="00000500000000000000" pitchFamily="2" charset="0"/>
              <a:sym typeface="Orsted Sans Office" panose="000005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066" y="326586"/>
            <a:ext cx="9505934" cy="783805"/>
          </a:xfrm>
        </p:spPr>
        <p:txBody>
          <a:bodyPr/>
          <a:lstStyle/>
          <a:p>
            <a:r>
              <a:rPr lang="en-GB" sz="2400" dirty="0"/>
              <a:t>Ørsted has build a strong integrated end-to-end business model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3</a:t>
            </a:fld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Rectangle 4"/>
          <p:cNvSpPr/>
          <p:nvPr/>
        </p:nvSpPr>
        <p:spPr bwMode="gray">
          <a:xfrm>
            <a:off x="6594235" y="3824515"/>
            <a:ext cx="2805677" cy="2023999"/>
          </a:xfrm>
          <a:prstGeom prst="rect">
            <a:avLst/>
          </a:prstGeom>
          <a:solidFill>
            <a:srgbClr val="F8F8F8"/>
          </a:solidFill>
          <a:ln w="9525">
            <a:noFill/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anchor="t" anchorCtr="0"/>
          <a:lstStyle/>
          <a:p>
            <a:pPr marL="173038" indent="-173038">
              <a:lnSpc>
                <a:spcPts val="1100"/>
              </a:lnSpc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GB" sz="900" dirty="0">
              <a:solidFill>
                <a:prstClr val="black"/>
              </a:solidFill>
            </a:endParaRPr>
          </a:p>
        </p:txBody>
      </p:sp>
      <p:sp>
        <p:nvSpPr>
          <p:cNvPr id="6" name="AutoShape 19"/>
          <p:cNvSpPr>
            <a:spLocks noChangeArrowheads="1"/>
          </p:cNvSpPr>
          <p:nvPr/>
        </p:nvSpPr>
        <p:spPr bwMode="gray">
          <a:xfrm>
            <a:off x="528910" y="1901032"/>
            <a:ext cx="2194560" cy="1125924"/>
          </a:xfrm>
          <a:prstGeom prst="homePlate">
            <a:avLst>
              <a:gd name="adj" fmla="val 16437"/>
            </a:avLst>
          </a:prstGeom>
          <a:solidFill>
            <a:schemeClr val="accent1">
              <a:lumMod val="60000"/>
              <a:lumOff val="40000"/>
            </a:schemeClr>
          </a:solidFill>
          <a:ln w="19050">
            <a:noFill/>
            <a:miter lim="800000"/>
            <a:headEnd/>
            <a:tailEnd/>
          </a:ln>
        </p:spPr>
        <p:txBody>
          <a:bodyPr wrap="none" tIns="0" bIns="72000" anchor="ctr"/>
          <a:lstStyle/>
          <a:p>
            <a:pPr marL="171450"/>
            <a:r>
              <a:rPr lang="en-GB" b="1" dirty="0">
                <a:solidFill>
                  <a:prstClr val="white"/>
                </a:solidFill>
              </a:rPr>
              <a:t>Develop</a:t>
            </a:r>
          </a:p>
        </p:txBody>
      </p:sp>
      <p:sp>
        <p:nvSpPr>
          <p:cNvPr id="7" name="Freeform 39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746267" y="1901032"/>
            <a:ext cx="2194560" cy="1125924"/>
          </a:xfrm>
          <a:custGeom>
            <a:avLst/>
            <a:gdLst>
              <a:gd name="T0" fmla="*/ 0 w 985"/>
              <a:gd name="T1" fmla="*/ 0 h 373"/>
              <a:gd name="T2" fmla="*/ 2147483647 w 985"/>
              <a:gd name="T3" fmla="*/ 0 h 373"/>
              <a:gd name="T4" fmla="*/ 2147483647 w 985"/>
              <a:gd name="T5" fmla="*/ 2147483647 h 373"/>
              <a:gd name="T6" fmla="*/ 2147483647 w 985"/>
              <a:gd name="T7" fmla="*/ 2147483647 h 373"/>
              <a:gd name="T8" fmla="*/ 0 w 985"/>
              <a:gd name="T9" fmla="*/ 2147483647 h 373"/>
              <a:gd name="T10" fmla="*/ 2147483647 w 985"/>
              <a:gd name="T11" fmla="*/ 2147483647 h 373"/>
              <a:gd name="T12" fmla="*/ 0 w 985"/>
              <a:gd name="T13" fmla="*/ 0 h 37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85"/>
              <a:gd name="T22" fmla="*/ 0 h 373"/>
              <a:gd name="T23" fmla="*/ 985 w 985"/>
              <a:gd name="T24" fmla="*/ 373 h 37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85" h="373">
                <a:moveTo>
                  <a:pt x="0" y="0"/>
                </a:moveTo>
                <a:lnTo>
                  <a:pt x="918" y="0"/>
                </a:lnTo>
                <a:lnTo>
                  <a:pt x="985" y="187"/>
                </a:lnTo>
                <a:lnTo>
                  <a:pt x="918" y="373"/>
                </a:lnTo>
                <a:lnTo>
                  <a:pt x="0" y="373"/>
                </a:lnTo>
                <a:lnTo>
                  <a:pt x="67" y="187"/>
                </a:lnTo>
                <a:lnTo>
                  <a:pt x="0" y="0"/>
                </a:lnTo>
                <a:close/>
              </a:path>
            </a:pathLst>
          </a:custGeom>
          <a:solidFill>
            <a:srgbClr val="4099DA"/>
          </a:solidFill>
          <a:ln w="19050">
            <a:noFill/>
            <a:round/>
            <a:headEnd/>
            <a:tailEnd/>
          </a:ln>
        </p:spPr>
        <p:txBody>
          <a:bodyPr wrap="none" tIns="0" bIns="72000" anchor="ctr"/>
          <a:lstStyle/>
          <a:p>
            <a:pPr marL="171450"/>
            <a:r>
              <a:rPr lang="en-GB" sz="1600" b="1" dirty="0">
                <a:solidFill>
                  <a:prstClr val="white"/>
                </a:solidFill>
              </a:rPr>
              <a:t>Build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8" name="Freeform 39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4963624" y="1901032"/>
            <a:ext cx="2194560" cy="1125924"/>
          </a:xfrm>
          <a:custGeom>
            <a:avLst/>
            <a:gdLst>
              <a:gd name="T0" fmla="*/ 0 w 985"/>
              <a:gd name="T1" fmla="*/ 0 h 373"/>
              <a:gd name="T2" fmla="*/ 2147483647 w 985"/>
              <a:gd name="T3" fmla="*/ 0 h 373"/>
              <a:gd name="T4" fmla="*/ 2147483647 w 985"/>
              <a:gd name="T5" fmla="*/ 2147483647 h 373"/>
              <a:gd name="T6" fmla="*/ 2147483647 w 985"/>
              <a:gd name="T7" fmla="*/ 2147483647 h 373"/>
              <a:gd name="T8" fmla="*/ 0 w 985"/>
              <a:gd name="T9" fmla="*/ 2147483647 h 373"/>
              <a:gd name="T10" fmla="*/ 2147483647 w 985"/>
              <a:gd name="T11" fmla="*/ 2147483647 h 373"/>
              <a:gd name="T12" fmla="*/ 0 w 985"/>
              <a:gd name="T13" fmla="*/ 0 h 37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85"/>
              <a:gd name="T22" fmla="*/ 0 h 373"/>
              <a:gd name="T23" fmla="*/ 985 w 985"/>
              <a:gd name="T24" fmla="*/ 373 h 37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85" h="373">
                <a:moveTo>
                  <a:pt x="0" y="0"/>
                </a:moveTo>
                <a:lnTo>
                  <a:pt x="918" y="0"/>
                </a:lnTo>
                <a:lnTo>
                  <a:pt x="985" y="187"/>
                </a:lnTo>
                <a:lnTo>
                  <a:pt x="918" y="373"/>
                </a:lnTo>
                <a:lnTo>
                  <a:pt x="0" y="373"/>
                </a:lnTo>
                <a:lnTo>
                  <a:pt x="67" y="187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ln w="19050">
            <a:noFill/>
            <a:round/>
            <a:headEnd/>
            <a:tailEnd/>
          </a:ln>
        </p:spPr>
        <p:txBody>
          <a:bodyPr wrap="none" tIns="0" bIns="72000" anchor="ctr"/>
          <a:lstStyle/>
          <a:p>
            <a:pPr marL="171450"/>
            <a:r>
              <a:rPr lang="en-GB" sz="1600" b="1" dirty="0">
                <a:solidFill>
                  <a:prstClr val="white"/>
                </a:solidFill>
              </a:rPr>
              <a:t>Operate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9" name="Freeform 39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7180980" y="1901032"/>
            <a:ext cx="2194560" cy="1125924"/>
          </a:xfrm>
          <a:custGeom>
            <a:avLst/>
            <a:gdLst>
              <a:gd name="T0" fmla="*/ 0 w 985"/>
              <a:gd name="T1" fmla="*/ 0 h 373"/>
              <a:gd name="T2" fmla="*/ 2147483647 w 985"/>
              <a:gd name="T3" fmla="*/ 0 h 373"/>
              <a:gd name="T4" fmla="*/ 2147483647 w 985"/>
              <a:gd name="T5" fmla="*/ 2147483647 h 373"/>
              <a:gd name="T6" fmla="*/ 2147483647 w 985"/>
              <a:gd name="T7" fmla="*/ 2147483647 h 373"/>
              <a:gd name="T8" fmla="*/ 0 w 985"/>
              <a:gd name="T9" fmla="*/ 2147483647 h 373"/>
              <a:gd name="T10" fmla="*/ 2147483647 w 985"/>
              <a:gd name="T11" fmla="*/ 2147483647 h 373"/>
              <a:gd name="T12" fmla="*/ 0 w 985"/>
              <a:gd name="T13" fmla="*/ 0 h 37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85"/>
              <a:gd name="T22" fmla="*/ 0 h 373"/>
              <a:gd name="T23" fmla="*/ 985 w 985"/>
              <a:gd name="T24" fmla="*/ 373 h 37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85" h="373">
                <a:moveTo>
                  <a:pt x="0" y="0"/>
                </a:moveTo>
                <a:lnTo>
                  <a:pt x="918" y="0"/>
                </a:lnTo>
                <a:lnTo>
                  <a:pt x="985" y="187"/>
                </a:lnTo>
                <a:lnTo>
                  <a:pt x="918" y="373"/>
                </a:lnTo>
                <a:lnTo>
                  <a:pt x="0" y="373"/>
                </a:lnTo>
                <a:lnTo>
                  <a:pt x="67" y="187"/>
                </a:lnTo>
                <a:lnTo>
                  <a:pt x="0" y="0"/>
                </a:lnTo>
                <a:close/>
              </a:path>
            </a:pathLst>
          </a:custGeom>
          <a:solidFill>
            <a:srgbClr val="0070C0"/>
          </a:solidFill>
          <a:ln w="19050">
            <a:noFill/>
            <a:round/>
            <a:headEnd/>
            <a:tailEnd/>
          </a:ln>
        </p:spPr>
        <p:txBody>
          <a:bodyPr wrap="none" tIns="0" bIns="72000" anchor="ctr"/>
          <a:lstStyle/>
          <a:p>
            <a:pPr marL="171450"/>
            <a:r>
              <a:rPr lang="en-GB" sz="1600" b="1" dirty="0">
                <a:solidFill>
                  <a:prstClr val="white"/>
                </a:solidFill>
              </a:rPr>
              <a:t>Own</a:t>
            </a:r>
            <a:endParaRPr lang="en-GB" sz="1200" b="1" dirty="0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 bwMode="gray">
          <a:xfrm>
            <a:off x="7329264" y="1255460"/>
            <a:ext cx="1985052" cy="255345"/>
            <a:chOff x="5239367" y="5333896"/>
            <a:chExt cx="1985052" cy="255345"/>
          </a:xfrm>
        </p:grpSpPr>
        <p:sp>
          <p:nvSpPr>
            <p:cNvPr id="11" name="TextBox 10"/>
            <p:cNvSpPr txBox="1"/>
            <p:nvPr/>
          </p:nvSpPr>
          <p:spPr bwMode="gray">
            <a:xfrm>
              <a:off x="5895209" y="5338458"/>
              <a:ext cx="13292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Aft>
                  <a:spcPts val="600"/>
                </a:spcAft>
              </a:pPr>
              <a:r>
                <a:rPr lang="en-GB" sz="1000" dirty="0">
                  <a:solidFill>
                    <a:prstClr val="black"/>
                  </a:solidFill>
                </a:rPr>
                <a:t>Full-time employees</a:t>
              </a:r>
              <a:endParaRPr lang="en-GB" sz="1000" baseline="30000" dirty="0">
                <a:solidFill>
                  <a:prstClr val="black"/>
                </a:solidFill>
              </a:endParaRPr>
            </a:p>
          </p:txBody>
        </p:sp>
        <p:sp>
          <p:nvSpPr>
            <p:cNvPr id="12" name="Oval 11"/>
            <p:cNvSpPr/>
            <p:nvPr/>
          </p:nvSpPr>
          <p:spPr bwMode="gray">
            <a:xfrm>
              <a:off x="5239367" y="5333896"/>
              <a:ext cx="639635" cy="255345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>
                <a:spcAft>
                  <a:spcPts val="300"/>
                </a:spcAft>
              </a:pPr>
              <a:r>
                <a:rPr lang="en-GB" sz="1000" b="1" dirty="0">
                  <a:solidFill>
                    <a:prstClr val="black"/>
                  </a:solidFill>
                </a:rPr>
                <a:t>~2,300</a:t>
              </a:r>
            </a:p>
          </p:txBody>
        </p:sp>
      </p:grpSp>
      <p:sp>
        <p:nvSpPr>
          <p:cNvPr id="13" name="Text Box 7"/>
          <p:cNvSpPr txBox="1">
            <a:spLocks noChangeArrowheads="1"/>
          </p:cNvSpPr>
          <p:nvPr/>
        </p:nvSpPr>
        <p:spPr bwMode="gray">
          <a:xfrm>
            <a:off x="455168" y="1232356"/>
            <a:ext cx="4432425" cy="41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72000" bIns="36000">
            <a:spAutoFit/>
          </a:bodyPr>
          <a:lstStyle>
            <a:lvl1pPr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rgbClr val="6B90B6"/>
              </a:buClr>
            </a:pPr>
            <a:r>
              <a:rPr lang="en-GB" sz="1200" dirty="0">
                <a:solidFill>
                  <a:schemeClr val="tx2"/>
                </a:solidFill>
                <a:latin typeface="+mn-lt"/>
                <a:cs typeface="Aharoni" panose="02010803020104030203" pitchFamily="2" charset="-79"/>
              </a:rPr>
              <a:t>Ørsted Wind Power core competencies</a:t>
            </a:r>
            <a:endParaRPr lang="en-GB" sz="1200" baseline="30000" dirty="0">
              <a:solidFill>
                <a:schemeClr val="tx2"/>
              </a:solidFill>
              <a:latin typeface="+mn-lt"/>
              <a:cs typeface="Aharoni" panose="02010803020104030203" pitchFamily="2" charset="-79"/>
            </a:endParaRPr>
          </a:p>
          <a:p>
            <a:pPr eaLnBrk="1" hangingPunct="1">
              <a:buClr>
                <a:srgbClr val="6B90B6"/>
              </a:buClr>
            </a:pPr>
            <a:endParaRPr lang="en-GB" sz="1000" b="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15" name="Oval 14"/>
          <p:cNvSpPr>
            <a:spLocks noChangeAspect="1"/>
          </p:cNvSpPr>
          <p:nvPr/>
        </p:nvSpPr>
        <p:spPr bwMode="gray">
          <a:xfrm>
            <a:off x="2060893" y="1976080"/>
            <a:ext cx="490745" cy="23400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>
              <a:spcAft>
                <a:spcPts val="300"/>
              </a:spcAft>
            </a:pPr>
            <a:r>
              <a:rPr lang="en-GB" sz="1000" b="1" dirty="0">
                <a:solidFill>
                  <a:prstClr val="black"/>
                </a:solidFill>
              </a:rPr>
              <a:t>~185</a:t>
            </a:r>
          </a:p>
        </p:txBody>
      </p:sp>
      <p:sp>
        <p:nvSpPr>
          <p:cNvPr id="16" name="Oval 15"/>
          <p:cNvSpPr>
            <a:spLocks noChangeAspect="1"/>
          </p:cNvSpPr>
          <p:nvPr/>
        </p:nvSpPr>
        <p:spPr bwMode="gray">
          <a:xfrm>
            <a:off x="4140026" y="1976080"/>
            <a:ext cx="649678" cy="23400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>
              <a:spcAft>
                <a:spcPts val="300"/>
              </a:spcAft>
            </a:pPr>
            <a:r>
              <a:rPr lang="en-GB" sz="1000" b="1" dirty="0">
                <a:solidFill>
                  <a:prstClr val="black"/>
                </a:solidFill>
              </a:rPr>
              <a:t>~1,300</a:t>
            </a:r>
          </a:p>
        </p:txBody>
      </p:sp>
      <p:sp>
        <p:nvSpPr>
          <p:cNvPr id="17" name="Oval 16"/>
          <p:cNvSpPr>
            <a:spLocks noChangeAspect="1"/>
          </p:cNvSpPr>
          <p:nvPr/>
        </p:nvSpPr>
        <p:spPr bwMode="gray">
          <a:xfrm>
            <a:off x="6538678" y="1976080"/>
            <a:ext cx="490745" cy="23400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>
              <a:spcAft>
                <a:spcPts val="300"/>
              </a:spcAft>
            </a:pPr>
            <a:r>
              <a:rPr lang="en-GB" sz="1000" b="1" dirty="0">
                <a:solidFill>
                  <a:prstClr val="black"/>
                </a:solidFill>
              </a:rPr>
              <a:t>~715</a:t>
            </a:r>
          </a:p>
        </p:txBody>
      </p:sp>
      <p:sp>
        <p:nvSpPr>
          <p:cNvPr id="18" name="Oval 17"/>
          <p:cNvSpPr>
            <a:spLocks noChangeAspect="1"/>
          </p:cNvSpPr>
          <p:nvPr/>
        </p:nvSpPr>
        <p:spPr bwMode="gray">
          <a:xfrm>
            <a:off x="8733238" y="1976080"/>
            <a:ext cx="490745" cy="234000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>
              <a:spcAft>
                <a:spcPts val="300"/>
              </a:spcAft>
            </a:pPr>
            <a:r>
              <a:rPr lang="en-GB" sz="1000" b="1" dirty="0">
                <a:solidFill>
                  <a:prstClr val="black"/>
                </a:solidFill>
              </a:rPr>
              <a:t>~100</a:t>
            </a:r>
          </a:p>
        </p:txBody>
      </p:sp>
      <p:sp>
        <p:nvSpPr>
          <p:cNvPr id="19" name="Content Placeholder 12"/>
          <p:cNvSpPr txBox="1">
            <a:spLocks/>
          </p:cNvSpPr>
          <p:nvPr/>
        </p:nvSpPr>
        <p:spPr bwMode="gray">
          <a:xfrm rot="10800000">
            <a:off x="2715742" y="3437451"/>
            <a:ext cx="4343702" cy="269133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/>
          <a:lstStyle>
            <a:defPPr>
              <a:defRPr lang="en-US"/>
            </a:defPPr>
            <a:lvl1pPr algn="ctr">
              <a:spcAft>
                <a:spcPts val="300"/>
              </a:spcAft>
              <a:defRPr sz="1000" b="1">
                <a:solidFill>
                  <a:prstClr val="black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GB" dirty="0"/>
          </a:p>
        </p:txBody>
      </p:sp>
      <p:sp>
        <p:nvSpPr>
          <p:cNvPr id="20" name="Rectangle 19"/>
          <p:cNvSpPr/>
          <p:nvPr/>
        </p:nvSpPr>
        <p:spPr>
          <a:xfrm>
            <a:off x="974425" y="4019819"/>
            <a:ext cx="5485709" cy="44643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36000" bIns="36000" rtlCol="0" anchor="ctr"/>
          <a:lstStyle/>
          <a:p>
            <a:pPr fontAlgn="auto">
              <a:spcAft>
                <a:spcPts val="600"/>
              </a:spcAft>
            </a:pPr>
            <a:r>
              <a:rPr lang="en-US" sz="1000" dirty="0">
                <a:solidFill>
                  <a:prstClr val="white"/>
                </a:solidFill>
              </a:rPr>
              <a:t>Ability to </a:t>
            </a:r>
            <a:r>
              <a:rPr lang="en-US" sz="1000" b="1" dirty="0">
                <a:solidFill>
                  <a:prstClr val="white"/>
                </a:solidFill>
              </a:rPr>
              <a:t>design and </a:t>
            </a:r>
            <a:r>
              <a:rPr lang="en-US" sz="1000" b="1" dirty="0" err="1">
                <a:solidFill>
                  <a:prstClr val="white"/>
                </a:solidFill>
              </a:rPr>
              <a:t>optimise</a:t>
            </a:r>
            <a:r>
              <a:rPr lang="en-US" sz="1000" b="1" dirty="0">
                <a:solidFill>
                  <a:prstClr val="white"/>
                </a:solidFill>
              </a:rPr>
              <a:t> </a:t>
            </a:r>
            <a:r>
              <a:rPr lang="en-US" sz="1000" dirty="0">
                <a:solidFill>
                  <a:prstClr val="white"/>
                </a:solidFill>
              </a:rPr>
              <a:t>projects with a </a:t>
            </a:r>
            <a:r>
              <a:rPr lang="en-US" sz="1000" b="1" dirty="0">
                <a:solidFill>
                  <a:prstClr val="white"/>
                </a:solidFill>
              </a:rPr>
              <a:t>'total life-cycle cost of wind farm' </a:t>
            </a:r>
            <a:r>
              <a:rPr lang="en-US" sz="1000" dirty="0">
                <a:solidFill>
                  <a:prstClr val="white"/>
                </a:solidFill>
              </a:rPr>
              <a:t>mindse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31315" y="3981425"/>
            <a:ext cx="466794" cy="523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/>
          <a:p>
            <a:pPr algn="ctr">
              <a:buSzPct val="80000"/>
            </a:pPr>
            <a:r>
              <a:rPr lang="en-GB" sz="2800" b="1" dirty="0">
                <a:solidFill>
                  <a:srgbClr val="0070C0"/>
                </a:solidFill>
                <a:latin typeface="Wingdings" panose="05000000000000000000" pitchFamily="2" charset="2"/>
                <a:sym typeface="Wingdings"/>
              </a:rPr>
              <a:t></a:t>
            </a:r>
            <a:endParaRPr lang="en-GB" sz="2800" b="1" dirty="0">
              <a:solidFill>
                <a:srgbClr val="0070C0"/>
              </a:solidFill>
              <a:latin typeface="Wingdings" panose="05000000000000000000" pitchFamily="2" charset="2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974424" y="4557489"/>
            <a:ext cx="5485709" cy="44643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fontAlgn="auto">
              <a:spcAft>
                <a:spcPts val="600"/>
              </a:spcAft>
            </a:pPr>
            <a:r>
              <a:rPr lang="en-US" sz="1000" dirty="0">
                <a:solidFill>
                  <a:prstClr val="white"/>
                </a:solidFill>
              </a:rPr>
              <a:t>Experience and expertise along the entire value chain allow for </a:t>
            </a:r>
            <a:r>
              <a:rPr lang="en-US" sz="1000" b="1" dirty="0">
                <a:solidFill>
                  <a:prstClr val="white"/>
                </a:solidFill>
              </a:rPr>
              <a:t>better understanding and management of risk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31315" y="4519095"/>
            <a:ext cx="46679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SzPct val="80000"/>
            </a:pPr>
            <a:r>
              <a:rPr lang="en-GB" sz="2800" b="1" dirty="0">
                <a:solidFill>
                  <a:srgbClr val="0070C0"/>
                </a:solidFill>
                <a:latin typeface="Wingdings" panose="05000000000000000000" pitchFamily="2" charset="2"/>
                <a:sym typeface="Wingdings"/>
              </a:rPr>
              <a:t></a:t>
            </a:r>
            <a:endParaRPr lang="en-GB" sz="2800" b="1" dirty="0">
              <a:solidFill>
                <a:srgbClr val="0070C0"/>
              </a:solidFill>
              <a:latin typeface="Wingdings" panose="05000000000000000000" pitchFamily="2" charset="2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974424" y="5095159"/>
            <a:ext cx="5485709" cy="44643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fontAlgn="auto">
              <a:spcAft>
                <a:spcPts val="600"/>
              </a:spcAft>
            </a:pPr>
            <a:r>
              <a:rPr lang="en-US" sz="1000" dirty="0">
                <a:solidFill>
                  <a:prstClr val="white"/>
                </a:solidFill>
              </a:rPr>
              <a:t>End-to-end model reduces LCoE through </a:t>
            </a:r>
            <a:r>
              <a:rPr lang="en-US" sz="1000" b="1" dirty="0">
                <a:solidFill>
                  <a:prstClr val="white"/>
                </a:solidFill>
              </a:rPr>
              <a:t>fast</a:t>
            </a:r>
            <a:r>
              <a:rPr lang="en-US" sz="1000" dirty="0">
                <a:solidFill>
                  <a:prstClr val="white"/>
                </a:solidFill>
              </a:rPr>
              <a:t> feedback and </a:t>
            </a:r>
            <a:r>
              <a:rPr lang="en-US" sz="1000" b="1" dirty="0">
                <a:solidFill>
                  <a:prstClr val="white"/>
                </a:solidFill>
              </a:rPr>
              <a:t>learning </a:t>
            </a:r>
            <a:r>
              <a:rPr lang="en-US" sz="1000" dirty="0">
                <a:solidFill>
                  <a:prstClr val="white"/>
                </a:solidFill>
              </a:rPr>
              <a:t>across the entire </a:t>
            </a:r>
            <a:r>
              <a:rPr lang="en-US" sz="1000" dirty="0" err="1">
                <a:solidFill>
                  <a:prstClr val="white"/>
                </a:solidFill>
              </a:rPr>
              <a:t>organisation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31315" y="5056765"/>
            <a:ext cx="46679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SzPct val="80000"/>
            </a:pPr>
            <a:r>
              <a:rPr lang="en-GB" sz="2800" b="1" dirty="0">
                <a:solidFill>
                  <a:srgbClr val="0070C0"/>
                </a:solidFill>
                <a:latin typeface="Wingdings" panose="05000000000000000000" pitchFamily="2" charset="2"/>
                <a:sym typeface="Wingdings"/>
              </a:rPr>
              <a:t></a:t>
            </a:r>
            <a:endParaRPr lang="en-GB" sz="2800" b="1" dirty="0">
              <a:solidFill>
                <a:srgbClr val="0070C0"/>
              </a:solidFill>
              <a:latin typeface="Wingdings" panose="05000000000000000000" pitchFamily="2" charset="2"/>
            </a:endParaRPr>
          </a:p>
        </p:txBody>
      </p:sp>
      <p:sp>
        <p:nvSpPr>
          <p:cNvPr id="28" name="Text Box 7"/>
          <p:cNvSpPr txBox="1">
            <a:spLocks noChangeArrowheads="1"/>
          </p:cNvSpPr>
          <p:nvPr/>
        </p:nvSpPr>
        <p:spPr bwMode="gray">
          <a:xfrm>
            <a:off x="6629796" y="3825750"/>
            <a:ext cx="2245911" cy="257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72000" bIns="36000">
            <a:spAutoFit/>
          </a:bodyPr>
          <a:lstStyle>
            <a:lvl1pPr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rgbClr val="6B90B6"/>
              </a:buClr>
            </a:pPr>
            <a:r>
              <a:rPr lang="en-GB" sz="1200" dirty="0">
                <a:solidFill>
                  <a:prstClr val="black"/>
                </a:solidFill>
                <a:latin typeface="Arial" pitchFamily="34" charset="0"/>
              </a:rPr>
              <a:t>Full-time employees</a:t>
            </a:r>
            <a:endParaRPr lang="en-GB" sz="1000" b="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9" name="TextBox 128"/>
          <p:cNvSpPr txBox="1">
            <a:spLocks/>
          </p:cNvSpPr>
          <p:nvPr/>
        </p:nvSpPr>
        <p:spPr>
          <a:xfrm>
            <a:off x="6544058" y="5627644"/>
            <a:ext cx="712746" cy="1597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563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188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39750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fontAlgn="auto">
              <a:spcAft>
                <a:spcPts val="0"/>
              </a:spcAft>
              <a:buNone/>
            </a:pPr>
            <a:r>
              <a:rPr lang="en-GB" sz="600" dirty="0"/>
              <a:t>Northland</a:t>
            </a:r>
            <a:br>
              <a:rPr lang="en-GB" sz="600" dirty="0"/>
            </a:br>
            <a:r>
              <a:rPr lang="en-GB" sz="600" dirty="0"/>
              <a:t>Power</a:t>
            </a:r>
            <a:endParaRPr lang="en-GB" dirty="0"/>
          </a:p>
        </p:txBody>
      </p:sp>
      <p:sp>
        <p:nvSpPr>
          <p:cNvPr id="36" name="TextBox 35"/>
          <p:cNvSpPr txBox="1"/>
          <p:nvPr/>
        </p:nvSpPr>
        <p:spPr>
          <a:xfrm>
            <a:off x="698580" y="2507670"/>
            <a:ext cx="13051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Aft>
                <a:spcPts val="600"/>
              </a:spcAft>
            </a:pPr>
            <a:r>
              <a:rPr lang="en-GB" sz="1000" i="1" dirty="0">
                <a:solidFill>
                  <a:schemeClr val="bg1"/>
                </a:solidFill>
              </a:rPr>
              <a:t>Identify and mature project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935721" y="2507670"/>
            <a:ext cx="138447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Aft>
                <a:spcPts val="600"/>
              </a:spcAft>
            </a:pPr>
            <a:r>
              <a:rPr lang="en-GB" sz="1000" i="1" dirty="0">
                <a:solidFill>
                  <a:schemeClr val="bg1"/>
                </a:solidFill>
              </a:rPr>
              <a:t>Manage construction, sourcing and supply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154996" y="2507670"/>
            <a:ext cx="13051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Aft>
                <a:spcPts val="600"/>
              </a:spcAft>
            </a:pPr>
            <a:r>
              <a:rPr lang="en-GB" sz="1000" i="1" dirty="0">
                <a:solidFill>
                  <a:schemeClr val="bg1"/>
                </a:solidFill>
              </a:rPr>
              <a:t>Conduct life-cycle maintenanc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7362731" y="2507670"/>
            <a:ext cx="1369376" cy="553998"/>
          </a:xfrm>
          <a:prstGeom prst="rect">
            <a:avLst/>
          </a:prstGeom>
          <a:noFill/>
        </p:spPr>
        <p:txBody>
          <a:bodyPr wrap="square" lIns="72000" rIns="0" rtlCol="0">
            <a:spAutoFit/>
          </a:bodyPr>
          <a:lstStyle/>
          <a:p>
            <a:pPr fontAlgn="auto">
              <a:spcAft>
                <a:spcPts val="600"/>
              </a:spcAft>
            </a:pPr>
            <a:r>
              <a:rPr lang="en-GB" sz="1000" i="1" dirty="0">
                <a:solidFill>
                  <a:schemeClr val="bg1"/>
                </a:solidFill>
              </a:rPr>
              <a:t>M&amp;A, attract capital through partnerships, asset management </a:t>
            </a:r>
            <a:endParaRPr lang="en-GB" sz="1000" baseline="30000" dirty="0">
              <a:solidFill>
                <a:schemeClr val="bg1"/>
              </a:solidFill>
            </a:endParaRPr>
          </a:p>
        </p:txBody>
      </p:sp>
      <p:sp>
        <p:nvSpPr>
          <p:cNvPr id="45" name="TextBox 128">
            <a:extLst>
              <a:ext uri="{FF2B5EF4-FFF2-40B4-BE49-F238E27FC236}">
                <a16:creationId xmlns:a16="http://schemas.microsoft.com/office/drawing/2014/main" id="{0880F974-7A94-48F5-8570-8EFA3C850809}"/>
              </a:ext>
            </a:extLst>
          </p:cNvPr>
          <p:cNvSpPr txBox="1">
            <a:spLocks/>
          </p:cNvSpPr>
          <p:nvPr/>
        </p:nvSpPr>
        <p:spPr>
          <a:xfrm>
            <a:off x="6544058" y="5627644"/>
            <a:ext cx="712746" cy="1597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563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188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39750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fontAlgn="auto">
              <a:spcAft>
                <a:spcPts val="0"/>
              </a:spcAft>
              <a:buNone/>
            </a:pPr>
            <a:r>
              <a:rPr lang="en-GB" sz="600" dirty="0"/>
              <a:t>Northland</a:t>
            </a:r>
            <a:br>
              <a:rPr lang="en-GB" sz="600" dirty="0"/>
            </a:br>
            <a:r>
              <a:rPr lang="en-GB" sz="600" dirty="0"/>
              <a:t>Power</a:t>
            </a:r>
            <a:endParaRPr lang="en-GB" dirty="0"/>
          </a:p>
        </p:txBody>
      </p:sp>
      <p:sp>
        <p:nvSpPr>
          <p:cNvPr id="46" name="TextBox 128">
            <a:extLst>
              <a:ext uri="{FF2B5EF4-FFF2-40B4-BE49-F238E27FC236}">
                <a16:creationId xmlns:a16="http://schemas.microsoft.com/office/drawing/2014/main" id="{AE13DBFE-9633-4C11-95C9-A9FDF1768E66}"/>
              </a:ext>
            </a:extLst>
          </p:cNvPr>
          <p:cNvSpPr txBox="1">
            <a:spLocks/>
          </p:cNvSpPr>
          <p:nvPr/>
        </p:nvSpPr>
        <p:spPr>
          <a:xfrm>
            <a:off x="6885009" y="5627644"/>
            <a:ext cx="712746" cy="1597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563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188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39750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fontAlgn="auto">
              <a:spcAft>
                <a:spcPts val="0"/>
              </a:spcAft>
              <a:buNone/>
            </a:pPr>
            <a:r>
              <a:rPr lang="en-GB" sz="600" dirty="0"/>
              <a:t>Statoil</a:t>
            </a:r>
            <a:endParaRPr lang="en-GB" dirty="0"/>
          </a:p>
        </p:txBody>
      </p:sp>
      <p:sp>
        <p:nvSpPr>
          <p:cNvPr id="47" name="TextBox 128">
            <a:extLst>
              <a:ext uri="{FF2B5EF4-FFF2-40B4-BE49-F238E27FC236}">
                <a16:creationId xmlns:a16="http://schemas.microsoft.com/office/drawing/2014/main" id="{1D980DE4-D4BF-432F-8623-6BFB7BA96812}"/>
              </a:ext>
            </a:extLst>
          </p:cNvPr>
          <p:cNvSpPr txBox="1">
            <a:spLocks/>
          </p:cNvSpPr>
          <p:nvPr/>
        </p:nvSpPr>
        <p:spPr>
          <a:xfrm>
            <a:off x="7206090" y="5627644"/>
            <a:ext cx="712746" cy="1597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563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188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39750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fontAlgn="auto">
              <a:spcAft>
                <a:spcPts val="0"/>
              </a:spcAft>
              <a:buNone/>
            </a:pPr>
            <a:r>
              <a:rPr lang="en-GB" sz="600" dirty="0"/>
              <a:t>SSE</a:t>
            </a:r>
            <a:endParaRPr lang="en-GB" dirty="0"/>
          </a:p>
        </p:txBody>
      </p:sp>
      <p:sp>
        <p:nvSpPr>
          <p:cNvPr id="48" name="TextBox 128">
            <a:extLst>
              <a:ext uri="{FF2B5EF4-FFF2-40B4-BE49-F238E27FC236}">
                <a16:creationId xmlns:a16="http://schemas.microsoft.com/office/drawing/2014/main" id="{3481C6C2-B676-4D76-B674-FF4F6AB55234}"/>
              </a:ext>
            </a:extLst>
          </p:cNvPr>
          <p:cNvSpPr txBox="1">
            <a:spLocks/>
          </p:cNvSpPr>
          <p:nvPr/>
        </p:nvSpPr>
        <p:spPr>
          <a:xfrm>
            <a:off x="7539324" y="5627644"/>
            <a:ext cx="712746" cy="1597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563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188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39750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fontAlgn="auto">
              <a:spcAft>
                <a:spcPts val="0"/>
              </a:spcAft>
              <a:buNone/>
            </a:pPr>
            <a:r>
              <a:rPr lang="en-GB" sz="600" dirty="0"/>
              <a:t>WPD</a:t>
            </a:r>
            <a:endParaRPr lang="en-GB" dirty="0"/>
          </a:p>
        </p:txBody>
      </p:sp>
      <p:sp>
        <p:nvSpPr>
          <p:cNvPr id="49" name="TextBox 128">
            <a:extLst>
              <a:ext uri="{FF2B5EF4-FFF2-40B4-BE49-F238E27FC236}">
                <a16:creationId xmlns:a16="http://schemas.microsoft.com/office/drawing/2014/main" id="{C38189C8-B935-4793-A3EA-532766A3C09E}"/>
              </a:ext>
            </a:extLst>
          </p:cNvPr>
          <p:cNvSpPr txBox="1">
            <a:spLocks/>
          </p:cNvSpPr>
          <p:nvPr/>
        </p:nvSpPr>
        <p:spPr>
          <a:xfrm>
            <a:off x="7852211" y="5627644"/>
            <a:ext cx="712746" cy="1597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563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188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39750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fontAlgn="auto">
              <a:spcAft>
                <a:spcPts val="0"/>
              </a:spcAft>
              <a:buNone/>
            </a:pPr>
            <a:r>
              <a:rPr lang="en-GB" sz="600" dirty="0"/>
              <a:t>Innogy</a:t>
            </a:r>
            <a:endParaRPr lang="en-GB" dirty="0"/>
          </a:p>
        </p:txBody>
      </p:sp>
      <p:sp>
        <p:nvSpPr>
          <p:cNvPr id="50" name="TextBox 128">
            <a:extLst>
              <a:ext uri="{FF2B5EF4-FFF2-40B4-BE49-F238E27FC236}">
                <a16:creationId xmlns:a16="http://schemas.microsoft.com/office/drawing/2014/main" id="{7F8DFA9A-AAD5-477D-B9B5-AD75DF2C11C7}"/>
              </a:ext>
            </a:extLst>
          </p:cNvPr>
          <p:cNvSpPr txBox="1">
            <a:spLocks/>
          </p:cNvSpPr>
          <p:nvPr/>
        </p:nvSpPr>
        <p:spPr>
          <a:xfrm>
            <a:off x="8178217" y="5627644"/>
            <a:ext cx="712746" cy="1597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563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188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39750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fontAlgn="auto">
              <a:spcAft>
                <a:spcPts val="0"/>
              </a:spcAft>
              <a:buNone/>
            </a:pPr>
            <a:r>
              <a:rPr lang="en-GB" sz="600" dirty="0"/>
              <a:t>E.ON</a:t>
            </a:r>
            <a:endParaRPr lang="en-GB" dirty="0"/>
          </a:p>
        </p:txBody>
      </p:sp>
      <p:sp>
        <p:nvSpPr>
          <p:cNvPr id="51" name="TextBox 128">
            <a:extLst>
              <a:ext uri="{FF2B5EF4-FFF2-40B4-BE49-F238E27FC236}">
                <a16:creationId xmlns:a16="http://schemas.microsoft.com/office/drawing/2014/main" id="{0DA61ADC-EB2E-4A65-8A84-27AE768D6B10}"/>
              </a:ext>
            </a:extLst>
          </p:cNvPr>
          <p:cNvSpPr txBox="1">
            <a:spLocks/>
          </p:cNvSpPr>
          <p:nvPr/>
        </p:nvSpPr>
        <p:spPr>
          <a:xfrm>
            <a:off x="8686010" y="5627644"/>
            <a:ext cx="327484" cy="15970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563" indent="-182563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57188" indent="-1714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‒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39750" indent="-182563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fontAlgn="auto">
              <a:spcAft>
                <a:spcPts val="0"/>
              </a:spcAft>
              <a:buNone/>
            </a:pPr>
            <a:r>
              <a:rPr lang="en-GB" sz="600" dirty="0" err="1"/>
              <a:t>Vattenfall</a:t>
            </a:r>
            <a:endParaRPr lang="en-GB" dirty="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4E28D738-55E9-49F0-B63A-F63445EE2CA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1252" y="5662486"/>
            <a:ext cx="328915" cy="90016"/>
          </a:xfrm>
          <a:prstGeom prst="rect">
            <a:avLst/>
          </a:prstGeom>
        </p:spPr>
      </p:pic>
      <p:graphicFrame>
        <p:nvGraphicFramePr>
          <p:cNvPr id="27" name="Object 26">
            <a:extLst>
              <a:ext uri="{FF2B5EF4-FFF2-40B4-BE49-F238E27FC236}">
                <a16:creationId xmlns:a16="http://schemas.microsoft.com/office/drawing/2014/main" id="{AC9A272A-6391-44ED-8A93-5D09DF04C64C}"/>
              </a:ext>
            </a:extLst>
          </p:cNvPr>
          <p:cNvGraphicFramePr>
            <a:graphicFrameLocks/>
          </p:cNvGraphicFramePr>
          <p:nvPr>
            <p:custDataLst>
              <p:tags r:id="rId7"/>
            </p:custDataLst>
            <p:extLst/>
          </p:nvPr>
        </p:nvGraphicFramePr>
        <p:xfrm>
          <a:off x="6591300" y="4038600"/>
          <a:ext cx="2876646" cy="16478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7" name="Chart" r:id="rId20" imgW="2876365" imgH="1647704" progId="MSGraph.Chart.8">
                  <p:embed followColorScheme="full"/>
                </p:oleObj>
              </mc:Choice>
              <mc:Fallback>
                <p:oleObj name="Chart" r:id="rId20" imgW="2876365" imgH="1647704" progId="MSGraph.Chart.8">
                  <p:embed followColorScheme="full"/>
                  <p:pic>
                    <p:nvPicPr>
                      <p:cNvPr id="27" name="Object 26">
                        <a:extLst>
                          <a:ext uri="{FF2B5EF4-FFF2-40B4-BE49-F238E27FC236}">
                            <a16:creationId xmlns:a16="http://schemas.microsoft.com/office/drawing/2014/main" id="{AC9A272A-6391-44ED-8A93-5D09DF04C6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6591300" y="4038600"/>
                        <a:ext cx="2876646" cy="16478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682AFC08-A2EB-47CC-974B-BB559803B45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137400" y="5411788"/>
            <a:ext cx="136525" cy="106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1007943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7031906A-5C44-4FE0-8E05-C32ADBDBE7FF}" type="datetime'7''''''''''''''''''''''''''''''0'''''''''''''''">
              <a:rPr lang="en-GB" altLang="en-US" sz="700" b="0"/>
              <a:pPr/>
              <a:t>70</a:t>
            </a:fld>
            <a:endParaRPr lang="en-GB" sz="700" b="0" noProof="0" dirty="0">
              <a:latin typeface="+mn-lt"/>
              <a:sym typeface="+mn-lt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0E2154FD-832E-4873-B407-FCB6C02479D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110538" y="5307013"/>
            <a:ext cx="192088" cy="106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1007943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FB2140B-4642-49AB-8973-F6E28E7B09DE}" type="datetime'''''2''''''''''''''''''''''''''''''''5''''''''''0'">
              <a:rPr lang="en-GB" altLang="en-US" sz="700" b="0"/>
              <a:pPr/>
              <a:t>250</a:t>
            </a:fld>
            <a:endParaRPr lang="en-GB" sz="700" b="0" noProof="0" dirty="0">
              <a:latin typeface="+mn-lt"/>
              <a:sym typeface="+mn-lt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169DA87B-95ED-4C7F-8B9D-9EEE4961B7B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804025" y="5430838"/>
            <a:ext cx="136525" cy="106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1007943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420B1764-3B35-4466-BBE9-3DC354773156}" type="datetime'''''''''''''''''''''4''''''''''''''''0'''''">
              <a:rPr lang="en-GB" altLang="en-US" sz="700" b="0"/>
              <a:pPr/>
              <a:t>40</a:t>
            </a:fld>
            <a:endParaRPr lang="en-GB" sz="700" b="0" noProof="0" dirty="0">
              <a:latin typeface="+mn-lt"/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83DC75B6-9A35-4C19-8217-DF04C9EC5B4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070975" y="4021138"/>
            <a:ext cx="269875" cy="106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1007943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B68BF935-5007-4DF9-BBE6-0862138BAB62}" type="datetime'''2'''''''''''',3''0''''''''''''''''''''0'''''''''''">
              <a:rPr lang="en-GB" altLang="en-US" sz="700" b="0"/>
              <a:pPr/>
              <a:t>2,300</a:t>
            </a:fld>
            <a:endParaRPr lang="en-GB" sz="700" b="0" noProof="0" dirty="0">
              <a:latin typeface="+mn-lt"/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C136E374-FB9F-41FF-8FBB-ECF758EFCC0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777288" y="5049838"/>
            <a:ext cx="192088" cy="106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1007943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404215DC-0013-42CA-A9D7-BC3481DBA6E2}" type="datetime'''6''''''''''''''''''''''5''''''''''''''0'''">
              <a:rPr lang="en-GB" altLang="en-US" sz="700" b="0"/>
              <a:pPr/>
              <a:t>650</a:t>
            </a:fld>
            <a:endParaRPr lang="en-GB" sz="700" b="0" noProof="0" dirty="0">
              <a:latin typeface="+mn-lt"/>
              <a:sym typeface="+mn-lt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BEC1AC5E-6174-47AC-B962-4F5CE16204A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443913" y="5307013"/>
            <a:ext cx="192088" cy="106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1007943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6EB3300E-BFAF-447B-A006-0CF1E6FA6843}" type="datetime'''''''''''''''''''''''''''''''''''2''''''5''''''''''''''0'''">
              <a:rPr lang="en-GB" altLang="en-US" sz="700" b="0"/>
              <a:pPr/>
              <a:t>250</a:t>
            </a:fld>
            <a:endParaRPr lang="en-GB" sz="700" b="0" noProof="0" dirty="0">
              <a:latin typeface="+mn-lt"/>
              <a:sym typeface="+mn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000C930B-3866-474B-A3FA-DF376AF53B3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443788" y="5392738"/>
            <a:ext cx="192088" cy="106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1007943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F575980D-8C72-435A-99DD-301DAC6C9FED}" type="datetime'''''''1''0''''0'''''''''''''''''">
              <a:rPr lang="en-GB" altLang="en-US" sz="700" b="0"/>
              <a:pPr/>
              <a:t>100</a:t>
            </a:fld>
            <a:endParaRPr lang="en-GB" sz="700" b="0" noProof="0" dirty="0">
              <a:latin typeface="+mn-lt"/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F1F4E59D-6C4E-42AE-890B-5D2074D2052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777163" y="5354638"/>
            <a:ext cx="192088" cy="106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b" anchorCtr="0">
            <a:noAutofit/>
          </a:bodyPr>
          <a:lstStyle>
            <a:lvl1pPr marL="0" indent="0" algn="l" defTabSz="1007943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47951BFB-0979-4FE4-A102-7EAEFE57F06C}" type="datetime'''''1''''''''''''''''''''''6''''''''''''0'''''''''''''''">
              <a:rPr lang="en-GB" altLang="en-US" sz="700" b="0"/>
              <a:pPr/>
              <a:t>160</a:t>
            </a:fld>
            <a:endParaRPr lang="en-GB" sz="700" b="0" noProof="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779330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3" name="Object 332" hidden="1">
            <a:extLst>
              <a:ext uri="{FF2B5EF4-FFF2-40B4-BE49-F238E27FC236}">
                <a16:creationId xmlns:a16="http://schemas.microsoft.com/office/drawing/2014/main" id="{B40F7337-2502-4D62-997A-997F5DCDEC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7" name="think-cell Slide" r:id="rId43" imgW="338" imgH="338" progId="TCLayout.ActiveDocument.1">
                  <p:embed/>
                </p:oleObj>
              </mc:Choice>
              <mc:Fallback>
                <p:oleObj name="think-cell Slide" r:id="rId43" imgW="338" imgH="338" progId="TCLayout.ActiveDocument.1">
                  <p:embed/>
                  <p:pic>
                    <p:nvPicPr>
                      <p:cNvPr id="333" name="Object 332" hidden="1">
                        <a:extLst>
                          <a:ext uri="{FF2B5EF4-FFF2-40B4-BE49-F238E27FC236}">
                            <a16:creationId xmlns:a16="http://schemas.microsoft.com/office/drawing/2014/main" id="{B40F7337-2502-4D62-997A-997F5DCDEC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>
            <a:extLst>
              <a:ext uri="{FF2B5EF4-FFF2-40B4-BE49-F238E27FC236}">
                <a16:creationId xmlns:a16="http://schemas.microsoft.com/office/drawing/2014/main" id="{3C9D7403-C4F1-43E3-AFC8-7952A10C7DE6}"/>
              </a:ext>
            </a:extLst>
          </p:cNvPr>
          <p:cNvGrpSpPr/>
          <p:nvPr/>
        </p:nvGrpSpPr>
        <p:grpSpPr>
          <a:xfrm>
            <a:off x="400064" y="1395171"/>
            <a:ext cx="4716523" cy="5136567"/>
            <a:chOff x="298450" y="1223963"/>
            <a:chExt cx="4997451" cy="5476876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50" name="Freeform 580">
              <a:extLst>
                <a:ext uri="{FF2B5EF4-FFF2-40B4-BE49-F238E27FC236}">
                  <a16:creationId xmlns:a16="http://schemas.microsoft.com/office/drawing/2014/main" id="{A688E9B4-B933-4F77-844C-674E13734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0700" y="5051426"/>
              <a:ext cx="15875" cy="14288"/>
            </a:xfrm>
            <a:custGeom>
              <a:avLst/>
              <a:gdLst>
                <a:gd name="T0" fmla="*/ 0 w 10"/>
                <a:gd name="T1" fmla="*/ 9 h 9"/>
                <a:gd name="T2" fmla="*/ 5 w 10"/>
                <a:gd name="T3" fmla="*/ 2 h 9"/>
                <a:gd name="T4" fmla="*/ 10 w 10"/>
                <a:gd name="T5" fmla="*/ 0 h 9"/>
                <a:gd name="T6" fmla="*/ 5 w 10"/>
                <a:gd name="T7" fmla="*/ 2 h 9"/>
                <a:gd name="T8" fmla="*/ 0 w 10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9"/>
                  </a:moveTo>
                  <a:lnTo>
                    <a:pt x="5" y="2"/>
                  </a:lnTo>
                  <a:lnTo>
                    <a:pt x="10" y="0"/>
                  </a:lnTo>
                  <a:lnTo>
                    <a:pt x="5" y="2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1" name="Freeform 581">
              <a:extLst>
                <a:ext uri="{FF2B5EF4-FFF2-40B4-BE49-F238E27FC236}">
                  <a16:creationId xmlns:a16="http://schemas.microsoft.com/office/drawing/2014/main" id="{E45E85AD-57F7-4188-9B26-AE3A31EFA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0050" y="5076826"/>
              <a:ext cx="17463" cy="7938"/>
            </a:xfrm>
            <a:custGeom>
              <a:avLst/>
              <a:gdLst>
                <a:gd name="T0" fmla="*/ 0 w 11"/>
                <a:gd name="T1" fmla="*/ 5 h 5"/>
                <a:gd name="T2" fmla="*/ 11 w 11"/>
                <a:gd name="T3" fmla="*/ 0 h 5"/>
                <a:gd name="T4" fmla="*/ 11 w 11"/>
                <a:gd name="T5" fmla="*/ 0 h 5"/>
                <a:gd name="T6" fmla="*/ 0 w 11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5">
                  <a:moveTo>
                    <a:pt x="0" y="5"/>
                  </a:moveTo>
                  <a:lnTo>
                    <a:pt x="11" y="0"/>
                  </a:lnTo>
                  <a:lnTo>
                    <a:pt x="11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2" name="Freeform 582">
              <a:extLst>
                <a:ext uri="{FF2B5EF4-FFF2-40B4-BE49-F238E27FC236}">
                  <a16:creationId xmlns:a16="http://schemas.microsoft.com/office/drawing/2014/main" id="{BCA23207-57CD-4F39-9D08-6CF242A28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8525" y="5294313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3" name="Freeform 583">
              <a:extLst>
                <a:ext uri="{FF2B5EF4-FFF2-40B4-BE49-F238E27FC236}">
                  <a16:creationId xmlns:a16="http://schemas.microsoft.com/office/drawing/2014/main" id="{10DD3655-E989-4D0B-B2A1-5E82D080B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6413" y="5376863"/>
              <a:ext cx="14288" cy="3175"/>
            </a:xfrm>
            <a:custGeom>
              <a:avLst/>
              <a:gdLst>
                <a:gd name="T0" fmla="*/ 0 w 9"/>
                <a:gd name="T1" fmla="*/ 2 h 2"/>
                <a:gd name="T2" fmla="*/ 0 w 9"/>
                <a:gd name="T3" fmla="*/ 2 h 2"/>
                <a:gd name="T4" fmla="*/ 9 w 9"/>
                <a:gd name="T5" fmla="*/ 0 h 2"/>
                <a:gd name="T6" fmla="*/ 9 w 9"/>
                <a:gd name="T7" fmla="*/ 0 h 2"/>
                <a:gd name="T8" fmla="*/ 0 w 9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">
                  <a:moveTo>
                    <a:pt x="0" y="2"/>
                  </a:moveTo>
                  <a:lnTo>
                    <a:pt x="0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4" name="Freeform 584">
              <a:extLst>
                <a:ext uri="{FF2B5EF4-FFF2-40B4-BE49-F238E27FC236}">
                  <a16:creationId xmlns:a16="http://schemas.microsoft.com/office/drawing/2014/main" id="{28A7FD97-0579-40F7-9C6E-7D5786EED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8" y="5237163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2 h 2"/>
                <a:gd name="T4" fmla="*/ 0 w 4"/>
                <a:gd name="T5" fmla="*/ 0 h 2"/>
                <a:gd name="T6" fmla="*/ 4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5" name="Freeform 585">
              <a:extLst>
                <a:ext uri="{FF2B5EF4-FFF2-40B4-BE49-F238E27FC236}">
                  <a16:creationId xmlns:a16="http://schemas.microsoft.com/office/drawing/2014/main" id="{F4213BB6-3741-4450-9788-9173652E3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9313" y="5237163"/>
              <a:ext cx="53975" cy="36513"/>
            </a:xfrm>
            <a:custGeom>
              <a:avLst/>
              <a:gdLst>
                <a:gd name="T0" fmla="*/ 13 w 34"/>
                <a:gd name="T1" fmla="*/ 0 h 23"/>
                <a:gd name="T2" fmla="*/ 22 w 34"/>
                <a:gd name="T3" fmla="*/ 12 h 23"/>
                <a:gd name="T4" fmla="*/ 34 w 34"/>
                <a:gd name="T5" fmla="*/ 23 h 23"/>
                <a:gd name="T6" fmla="*/ 34 w 34"/>
                <a:gd name="T7" fmla="*/ 23 h 23"/>
                <a:gd name="T8" fmla="*/ 22 w 34"/>
                <a:gd name="T9" fmla="*/ 12 h 23"/>
                <a:gd name="T10" fmla="*/ 13 w 34"/>
                <a:gd name="T11" fmla="*/ 0 h 23"/>
                <a:gd name="T12" fmla="*/ 13 w 34"/>
                <a:gd name="T13" fmla="*/ 0 h 23"/>
                <a:gd name="T14" fmla="*/ 0 w 34"/>
                <a:gd name="T15" fmla="*/ 2 h 23"/>
                <a:gd name="T16" fmla="*/ 13 w 34"/>
                <a:gd name="T1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23">
                  <a:moveTo>
                    <a:pt x="13" y="0"/>
                  </a:moveTo>
                  <a:lnTo>
                    <a:pt x="22" y="12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22" y="1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0" y="2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6" name="Freeform 586">
              <a:extLst>
                <a:ext uri="{FF2B5EF4-FFF2-40B4-BE49-F238E27FC236}">
                  <a16:creationId xmlns:a16="http://schemas.microsoft.com/office/drawing/2014/main" id="{748D3A6B-DACF-4E59-9C7F-69B81FFF1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813" y="1228726"/>
              <a:ext cx="7938" cy="6350"/>
            </a:xfrm>
            <a:custGeom>
              <a:avLst/>
              <a:gdLst>
                <a:gd name="T0" fmla="*/ 5 w 5"/>
                <a:gd name="T1" fmla="*/ 0 h 4"/>
                <a:gd name="T2" fmla="*/ 0 w 5"/>
                <a:gd name="T3" fmla="*/ 0 h 4"/>
                <a:gd name="T4" fmla="*/ 3 w 5"/>
                <a:gd name="T5" fmla="*/ 4 h 4"/>
                <a:gd name="T6" fmla="*/ 5 w 5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5" y="0"/>
                  </a:moveTo>
                  <a:lnTo>
                    <a:pt x="0" y="0"/>
                  </a:lnTo>
                  <a:lnTo>
                    <a:pt x="3" y="4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7" name="Freeform 587">
              <a:extLst>
                <a:ext uri="{FF2B5EF4-FFF2-40B4-BE49-F238E27FC236}">
                  <a16:creationId xmlns:a16="http://schemas.microsoft.com/office/drawing/2014/main" id="{C7D2CF1B-1E49-401B-9F5C-7409737ED8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2600" y="5095876"/>
              <a:ext cx="4763" cy="4763"/>
            </a:xfrm>
            <a:custGeom>
              <a:avLst/>
              <a:gdLst>
                <a:gd name="T0" fmla="*/ 0 w 3"/>
                <a:gd name="T1" fmla="*/ 3 h 3"/>
                <a:gd name="T2" fmla="*/ 3 w 3"/>
                <a:gd name="T3" fmla="*/ 0 h 3"/>
                <a:gd name="T4" fmla="*/ 0 w 3"/>
                <a:gd name="T5" fmla="*/ 3 h 3"/>
                <a:gd name="T6" fmla="*/ 0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8" name="Freeform 588">
              <a:extLst>
                <a:ext uri="{FF2B5EF4-FFF2-40B4-BE49-F238E27FC236}">
                  <a16:creationId xmlns:a16="http://schemas.microsoft.com/office/drawing/2014/main" id="{344EE681-A18B-4C6E-A4F4-923E297D7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8" y="4997451"/>
              <a:ext cx="71438" cy="163513"/>
            </a:xfrm>
            <a:custGeom>
              <a:avLst/>
              <a:gdLst>
                <a:gd name="T0" fmla="*/ 45 w 45"/>
                <a:gd name="T1" fmla="*/ 32 h 103"/>
                <a:gd name="T2" fmla="*/ 37 w 45"/>
                <a:gd name="T3" fmla="*/ 45 h 103"/>
                <a:gd name="T4" fmla="*/ 26 w 45"/>
                <a:gd name="T5" fmla="*/ 55 h 103"/>
                <a:gd name="T6" fmla="*/ 33 w 45"/>
                <a:gd name="T7" fmla="*/ 77 h 103"/>
                <a:gd name="T8" fmla="*/ 14 w 45"/>
                <a:gd name="T9" fmla="*/ 89 h 103"/>
                <a:gd name="T10" fmla="*/ 0 w 45"/>
                <a:gd name="T11" fmla="*/ 93 h 103"/>
                <a:gd name="T12" fmla="*/ 7 w 45"/>
                <a:gd name="T13" fmla="*/ 103 h 103"/>
                <a:gd name="T14" fmla="*/ 7 w 45"/>
                <a:gd name="T15" fmla="*/ 103 h 103"/>
                <a:gd name="T16" fmla="*/ 0 w 45"/>
                <a:gd name="T17" fmla="*/ 93 h 103"/>
                <a:gd name="T18" fmla="*/ 14 w 45"/>
                <a:gd name="T19" fmla="*/ 89 h 103"/>
                <a:gd name="T20" fmla="*/ 33 w 45"/>
                <a:gd name="T21" fmla="*/ 77 h 103"/>
                <a:gd name="T22" fmla="*/ 26 w 45"/>
                <a:gd name="T23" fmla="*/ 55 h 103"/>
                <a:gd name="T24" fmla="*/ 37 w 45"/>
                <a:gd name="T25" fmla="*/ 45 h 103"/>
                <a:gd name="T26" fmla="*/ 45 w 45"/>
                <a:gd name="T27" fmla="*/ 32 h 103"/>
                <a:gd name="T28" fmla="*/ 43 w 45"/>
                <a:gd name="T29" fmla="*/ 15 h 103"/>
                <a:gd name="T30" fmla="*/ 33 w 45"/>
                <a:gd name="T31" fmla="*/ 0 h 103"/>
                <a:gd name="T32" fmla="*/ 43 w 45"/>
                <a:gd name="T33" fmla="*/ 15 h 103"/>
                <a:gd name="T34" fmla="*/ 45 w 45"/>
                <a:gd name="T35" fmla="*/ 3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5" h="103">
                  <a:moveTo>
                    <a:pt x="45" y="32"/>
                  </a:moveTo>
                  <a:lnTo>
                    <a:pt x="37" y="45"/>
                  </a:lnTo>
                  <a:lnTo>
                    <a:pt x="26" y="55"/>
                  </a:lnTo>
                  <a:lnTo>
                    <a:pt x="33" y="77"/>
                  </a:lnTo>
                  <a:lnTo>
                    <a:pt x="14" y="89"/>
                  </a:lnTo>
                  <a:lnTo>
                    <a:pt x="0" y="93"/>
                  </a:lnTo>
                  <a:lnTo>
                    <a:pt x="7" y="103"/>
                  </a:lnTo>
                  <a:lnTo>
                    <a:pt x="7" y="103"/>
                  </a:lnTo>
                  <a:lnTo>
                    <a:pt x="0" y="93"/>
                  </a:lnTo>
                  <a:lnTo>
                    <a:pt x="14" y="89"/>
                  </a:lnTo>
                  <a:lnTo>
                    <a:pt x="33" y="77"/>
                  </a:lnTo>
                  <a:lnTo>
                    <a:pt x="26" y="55"/>
                  </a:lnTo>
                  <a:lnTo>
                    <a:pt x="37" y="45"/>
                  </a:lnTo>
                  <a:lnTo>
                    <a:pt x="45" y="32"/>
                  </a:lnTo>
                  <a:lnTo>
                    <a:pt x="43" y="15"/>
                  </a:lnTo>
                  <a:lnTo>
                    <a:pt x="33" y="0"/>
                  </a:lnTo>
                  <a:lnTo>
                    <a:pt x="43" y="15"/>
                  </a:lnTo>
                  <a:lnTo>
                    <a:pt x="45" y="3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59" name="Freeform 589">
              <a:extLst>
                <a:ext uri="{FF2B5EF4-FFF2-40B4-BE49-F238E27FC236}">
                  <a16:creationId xmlns:a16="http://schemas.microsoft.com/office/drawing/2014/main" id="{DBBF65DA-1193-43D2-A0DF-44BAD7B05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250" y="5168901"/>
              <a:ext cx="15875" cy="49213"/>
            </a:xfrm>
            <a:custGeom>
              <a:avLst/>
              <a:gdLst>
                <a:gd name="T0" fmla="*/ 0 w 10"/>
                <a:gd name="T1" fmla="*/ 31 h 31"/>
                <a:gd name="T2" fmla="*/ 0 w 10"/>
                <a:gd name="T3" fmla="*/ 31 h 31"/>
                <a:gd name="T4" fmla="*/ 10 w 10"/>
                <a:gd name="T5" fmla="*/ 24 h 31"/>
                <a:gd name="T6" fmla="*/ 10 w 10"/>
                <a:gd name="T7" fmla="*/ 0 h 31"/>
                <a:gd name="T8" fmla="*/ 10 w 10"/>
                <a:gd name="T9" fmla="*/ 0 h 31"/>
                <a:gd name="T10" fmla="*/ 10 w 10"/>
                <a:gd name="T11" fmla="*/ 24 h 31"/>
                <a:gd name="T12" fmla="*/ 0 w 10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31">
                  <a:moveTo>
                    <a:pt x="0" y="31"/>
                  </a:moveTo>
                  <a:lnTo>
                    <a:pt x="0" y="31"/>
                  </a:lnTo>
                  <a:lnTo>
                    <a:pt x="10" y="2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24"/>
                  </a:lnTo>
                  <a:lnTo>
                    <a:pt x="0" y="31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0" name="Freeform 590">
              <a:extLst>
                <a:ext uri="{FF2B5EF4-FFF2-40B4-BE49-F238E27FC236}">
                  <a16:creationId xmlns:a16="http://schemas.microsoft.com/office/drawing/2014/main" id="{642E60B8-EE7D-48D4-8643-7BAA4576F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4914901"/>
              <a:ext cx="6350" cy="33338"/>
            </a:xfrm>
            <a:custGeom>
              <a:avLst/>
              <a:gdLst>
                <a:gd name="T0" fmla="*/ 4 w 4"/>
                <a:gd name="T1" fmla="*/ 12 h 21"/>
                <a:gd name="T2" fmla="*/ 4 w 4"/>
                <a:gd name="T3" fmla="*/ 21 h 21"/>
                <a:gd name="T4" fmla="*/ 4 w 4"/>
                <a:gd name="T5" fmla="*/ 21 h 21"/>
                <a:gd name="T6" fmla="*/ 4 w 4"/>
                <a:gd name="T7" fmla="*/ 12 h 21"/>
                <a:gd name="T8" fmla="*/ 0 w 4"/>
                <a:gd name="T9" fmla="*/ 0 h 21"/>
                <a:gd name="T10" fmla="*/ 0 w 4"/>
                <a:gd name="T11" fmla="*/ 0 h 21"/>
                <a:gd name="T12" fmla="*/ 4 w 4"/>
                <a:gd name="T1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1">
                  <a:moveTo>
                    <a:pt x="4" y="12"/>
                  </a:moveTo>
                  <a:lnTo>
                    <a:pt x="4" y="21"/>
                  </a:lnTo>
                  <a:lnTo>
                    <a:pt x="4" y="21"/>
                  </a:lnTo>
                  <a:lnTo>
                    <a:pt x="4" y="12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1" name="Freeform 591">
              <a:extLst>
                <a:ext uri="{FF2B5EF4-FFF2-40B4-BE49-F238E27FC236}">
                  <a16:creationId xmlns:a16="http://schemas.microsoft.com/office/drawing/2014/main" id="{78D34A54-F8CC-4D14-BC7A-EC53019986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1675" y="5070476"/>
              <a:ext cx="19050" cy="6350"/>
            </a:xfrm>
            <a:custGeom>
              <a:avLst/>
              <a:gdLst>
                <a:gd name="T0" fmla="*/ 0 w 12"/>
                <a:gd name="T1" fmla="*/ 0 h 4"/>
                <a:gd name="T2" fmla="*/ 10 w 12"/>
                <a:gd name="T3" fmla="*/ 0 h 4"/>
                <a:gd name="T4" fmla="*/ 12 w 12"/>
                <a:gd name="T5" fmla="*/ 4 h 4"/>
                <a:gd name="T6" fmla="*/ 10 w 12"/>
                <a:gd name="T7" fmla="*/ 0 h 4"/>
                <a:gd name="T8" fmla="*/ 0 w 1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4">
                  <a:moveTo>
                    <a:pt x="0" y="0"/>
                  </a:moveTo>
                  <a:lnTo>
                    <a:pt x="10" y="0"/>
                  </a:lnTo>
                  <a:lnTo>
                    <a:pt x="12" y="4"/>
                  </a:lnTo>
                  <a:lnTo>
                    <a:pt x="1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2" name="Freeform 592">
              <a:extLst>
                <a:ext uri="{FF2B5EF4-FFF2-40B4-BE49-F238E27FC236}">
                  <a16:creationId xmlns:a16="http://schemas.microsoft.com/office/drawing/2014/main" id="{55B6F8AD-4848-40F7-B3C8-2625732B2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2625" y="5027613"/>
              <a:ext cx="19050" cy="42863"/>
            </a:xfrm>
            <a:custGeom>
              <a:avLst/>
              <a:gdLst>
                <a:gd name="T0" fmla="*/ 0 w 12"/>
                <a:gd name="T1" fmla="*/ 0 h 27"/>
                <a:gd name="T2" fmla="*/ 12 w 12"/>
                <a:gd name="T3" fmla="*/ 27 h 27"/>
                <a:gd name="T4" fmla="*/ 12 w 12"/>
                <a:gd name="T5" fmla="*/ 27 h 27"/>
                <a:gd name="T6" fmla="*/ 0 w 12"/>
                <a:gd name="T7" fmla="*/ 0 h 27"/>
                <a:gd name="T8" fmla="*/ 0 w 12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7">
                  <a:moveTo>
                    <a:pt x="0" y="0"/>
                  </a:moveTo>
                  <a:lnTo>
                    <a:pt x="12" y="27"/>
                  </a:lnTo>
                  <a:lnTo>
                    <a:pt x="12" y="2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3" name="Freeform 593">
              <a:extLst>
                <a:ext uri="{FF2B5EF4-FFF2-40B4-BE49-F238E27FC236}">
                  <a16:creationId xmlns:a16="http://schemas.microsoft.com/office/drawing/2014/main" id="{F13E555F-187A-4E87-8CFC-BC84C9035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688" y="5213351"/>
              <a:ext cx="9525" cy="19050"/>
            </a:xfrm>
            <a:custGeom>
              <a:avLst/>
              <a:gdLst>
                <a:gd name="T0" fmla="*/ 0 w 6"/>
                <a:gd name="T1" fmla="*/ 0 h 12"/>
                <a:gd name="T2" fmla="*/ 0 w 6"/>
                <a:gd name="T3" fmla="*/ 12 h 12"/>
                <a:gd name="T4" fmla="*/ 6 w 6"/>
                <a:gd name="T5" fmla="*/ 12 h 12"/>
                <a:gd name="T6" fmla="*/ 0 w 6"/>
                <a:gd name="T7" fmla="*/ 12 h 12"/>
                <a:gd name="T8" fmla="*/ 0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0" y="0"/>
                  </a:moveTo>
                  <a:lnTo>
                    <a:pt x="0" y="12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4" name="Freeform 594">
              <a:extLst>
                <a:ext uri="{FF2B5EF4-FFF2-40B4-BE49-F238E27FC236}">
                  <a16:creationId xmlns:a16="http://schemas.microsoft.com/office/drawing/2014/main" id="{A7D3A9B0-CAFD-4D88-AB3D-ACB82BEB9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7088" y="5111751"/>
              <a:ext cx="7938" cy="26988"/>
            </a:xfrm>
            <a:custGeom>
              <a:avLst/>
              <a:gdLst>
                <a:gd name="T0" fmla="*/ 0 w 5"/>
                <a:gd name="T1" fmla="*/ 0 h 17"/>
                <a:gd name="T2" fmla="*/ 5 w 5"/>
                <a:gd name="T3" fmla="*/ 5 h 17"/>
                <a:gd name="T4" fmla="*/ 0 w 5"/>
                <a:gd name="T5" fmla="*/ 17 h 17"/>
                <a:gd name="T6" fmla="*/ 5 w 5"/>
                <a:gd name="T7" fmla="*/ 5 h 17"/>
                <a:gd name="T8" fmla="*/ 0 w 5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7">
                  <a:moveTo>
                    <a:pt x="0" y="0"/>
                  </a:moveTo>
                  <a:lnTo>
                    <a:pt x="5" y="5"/>
                  </a:lnTo>
                  <a:lnTo>
                    <a:pt x="0" y="17"/>
                  </a:lnTo>
                  <a:lnTo>
                    <a:pt x="5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5" name="Freeform 595">
              <a:extLst>
                <a:ext uri="{FF2B5EF4-FFF2-40B4-BE49-F238E27FC236}">
                  <a16:creationId xmlns:a16="http://schemas.microsoft.com/office/drawing/2014/main" id="{07B04EC1-0889-4B32-A5BB-99484AA1F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2013" y="4903788"/>
              <a:ext cx="30163" cy="6350"/>
            </a:xfrm>
            <a:custGeom>
              <a:avLst/>
              <a:gdLst>
                <a:gd name="T0" fmla="*/ 2 w 19"/>
                <a:gd name="T1" fmla="*/ 4 h 4"/>
                <a:gd name="T2" fmla="*/ 0 w 19"/>
                <a:gd name="T3" fmla="*/ 4 h 4"/>
                <a:gd name="T4" fmla="*/ 2 w 19"/>
                <a:gd name="T5" fmla="*/ 4 h 4"/>
                <a:gd name="T6" fmla="*/ 19 w 19"/>
                <a:gd name="T7" fmla="*/ 4 h 4"/>
                <a:gd name="T8" fmla="*/ 19 w 19"/>
                <a:gd name="T9" fmla="*/ 0 h 4"/>
                <a:gd name="T10" fmla="*/ 19 w 19"/>
                <a:gd name="T11" fmla="*/ 4 h 4"/>
                <a:gd name="T12" fmla="*/ 2 w 19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4">
                  <a:moveTo>
                    <a:pt x="2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9" y="4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6" name="Freeform 596">
              <a:extLst>
                <a:ext uri="{FF2B5EF4-FFF2-40B4-BE49-F238E27FC236}">
                  <a16:creationId xmlns:a16="http://schemas.microsoft.com/office/drawing/2014/main" id="{041A275F-199C-4B51-AEAC-64E8875391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763" y="2024063"/>
              <a:ext cx="60325" cy="160338"/>
            </a:xfrm>
            <a:custGeom>
              <a:avLst/>
              <a:gdLst>
                <a:gd name="T0" fmla="*/ 38 w 38"/>
                <a:gd name="T1" fmla="*/ 45 h 101"/>
                <a:gd name="T2" fmla="*/ 33 w 38"/>
                <a:gd name="T3" fmla="*/ 5 h 101"/>
                <a:gd name="T4" fmla="*/ 36 w 38"/>
                <a:gd name="T5" fmla="*/ 0 h 101"/>
                <a:gd name="T6" fmla="*/ 33 w 38"/>
                <a:gd name="T7" fmla="*/ 5 h 101"/>
                <a:gd name="T8" fmla="*/ 38 w 38"/>
                <a:gd name="T9" fmla="*/ 45 h 101"/>
                <a:gd name="T10" fmla="*/ 21 w 38"/>
                <a:gd name="T11" fmla="*/ 79 h 101"/>
                <a:gd name="T12" fmla="*/ 0 w 38"/>
                <a:gd name="T13" fmla="*/ 101 h 101"/>
                <a:gd name="T14" fmla="*/ 21 w 38"/>
                <a:gd name="T15" fmla="*/ 79 h 101"/>
                <a:gd name="T16" fmla="*/ 38 w 38"/>
                <a:gd name="T17" fmla="*/ 45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101">
                  <a:moveTo>
                    <a:pt x="38" y="45"/>
                  </a:moveTo>
                  <a:lnTo>
                    <a:pt x="33" y="5"/>
                  </a:lnTo>
                  <a:lnTo>
                    <a:pt x="36" y="0"/>
                  </a:lnTo>
                  <a:lnTo>
                    <a:pt x="33" y="5"/>
                  </a:lnTo>
                  <a:lnTo>
                    <a:pt x="38" y="45"/>
                  </a:lnTo>
                  <a:lnTo>
                    <a:pt x="21" y="79"/>
                  </a:lnTo>
                  <a:lnTo>
                    <a:pt x="0" y="101"/>
                  </a:lnTo>
                  <a:lnTo>
                    <a:pt x="21" y="79"/>
                  </a:lnTo>
                  <a:lnTo>
                    <a:pt x="38" y="4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7" name="Freeform 597">
              <a:extLst>
                <a:ext uri="{FF2B5EF4-FFF2-40B4-BE49-F238E27FC236}">
                  <a16:creationId xmlns:a16="http://schemas.microsoft.com/office/drawing/2014/main" id="{1E689456-44C8-45DA-89EB-695AC45AF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763" y="1766888"/>
              <a:ext cx="71438" cy="219075"/>
            </a:xfrm>
            <a:custGeom>
              <a:avLst/>
              <a:gdLst>
                <a:gd name="T0" fmla="*/ 23 w 45"/>
                <a:gd name="T1" fmla="*/ 67 h 138"/>
                <a:gd name="T2" fmla="*/ 0 w 45"/>
                <a:gd name="T3" fmla="*/ 0 h 138"/>
                <a:gd name="T4" fmla="*/ 0 w 45"/>
                <a:gd name="T5" fmla="*/ 0 h 138"/>
                <a:gd name="T6" fmla="*/ 23 w 45"/>
                <a:gd name="T7" fmla="*/ 67 h 138"/>
                <a:gd name="T8" fmla="*/ 45 w 45"/>
                <a:gd name="T9" fmla="*/ 115 h 138"/>
                <a:gd name="T10" fmla="*/ 43 w 45"/>
                <a:gd name="T11" fmla="*/ 138 h 138"/>
                <a:gd name="T12" fmla="*/ 45 w 45"/>
                <a:gd name="T13" fmla="*/ 115 h 138"/>
                <a:gd name="T14" fmla="*/ 23 w 45"/>
                <a:gd name="T15" fmla="*/ 6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138">
                  <a:moveTo>
                    <a:pt x="23" y="67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3" y="67"/>
                  </a:lnTo>
                  <a:lnTo>
                    <a:pt x="45" y="115"/>
                  </a:lnTo>
                  <a:lnTo>
                    <a:pt x="43" y="138"/>
                  </a:lnTo>
                  <a:lnTo>
                    <a:pt x="45" y="115"/>
                  </a:lnTo>
                  <a:lnTo>
                    <a:pt x="23" y="67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8" name="Freeform 598">
              <a:extLst>
                <a:ext uri="{FF2B5EF4-FFF2-40B4-BE49-F238E27FC236}">
                  <a16:creationId xmlns:a16="http://schemas.microsoft.com/office/drawing/2014/main" id="{38FC4326-CD3C-4F77-95F9-5527BE5FD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7113" y="6627813"/>
              <a:ext cx="7938" cy="0"/>
            </a:xfrm>
            <a:custGeom>
              <a:avLst/>
              <a:gdLst>
                <a:gd name="T0" fmla="*/ 1 w 5"/>
                <a:gd name="T1" fmla="*/ 5 w 5"/>
                <a:gd name="T2" fmla="*/ 5 w 5"/>
                <a:gd name="T3" fmla="*/ 0 w 5"/>
                <a:gd name="T4" fmla="*/ 1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5">
                  <a:moveTo>
                    <a:pt x="1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69" name="Freeform 599">
              <a:extLst>
                <a:ext uri="{FF2B5EF4-FFF2-40B4-BE49-F238E27FC236}">
                  <a16:creationId xmlns:a16="http://schemas.microsoft.com/office/drawing/2014/main" id="{EB96D9DC-5291-408F-A435-550DD4F8FB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1675" y="2195513"/>
              <a:ext cx="22225" cy="68263"/>
            </a:xfrm>
            <a:custGeom>
              <a:avLst/>
              <a:gdLst>
                <a:gd name="T0" fmla="*/ 9 w 14"/>
                <a:gd name="T1" fmla="*/ 24 h 43"/>
                <a:gd name="T2" fmla="*/ 0 w 14"/>
                <a:gd name="T3" fmla="*/ 9 h 43"/>
                <a:gd name="T4" fmla="*/ 14 w 14"/>
                <a:gd name="T5" fmla="*/ 0 h 43"/>
                <a:gd name="T6" fmla="*/ 14 w 14"/>
                <a:gd name="T7" fmla="*/ 0 h 43"/>
                <a:gd name="T8" fmla="*/ 0 w 14"/>
                <a:gd name="T9" fmla="*/ 9 h 43"/>
                <a:gd name="T10" fmla="*/ 9 w 14"/>
                <a:gd name="T11" fmla="*/ 24 h 43"/>
                <a:gd name="T12" fmla="*/ 5 w 14"/>
                <a:gd name="T13" fmla="*/ 43 h 43"/>
                <a:gd name="T14" fmla="*/ 5 w 14"/>
                <a:gd name="T15" fmla="*/ 43 h 43"/>
                <a:gd name="T16" fmla="*/ 9 w 14"/>
                <a:gd name="T17" fmla="*/ 2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43">
                  <a:moveTo>
                    <a:pt x="9" y="24"/>
                  </a:moveTo>
                  <a:lnTo>
                    <a:pt x="0" y="9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0" y="9"/>
                  </a:lnTo>
                  <a:lnTo>
                    <a:pt x="9" y="24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9" y="2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0" name="Freeform 600">
              <a:extLst>
                <a:ext uri="{FF2B5EF4-FFF2-40B4-BE49-F238E27FC236}">
                  <a16:creationId xmlns:a16="http://schemas.microsoft.com/office/drawing/2014/main" id="{07896F6D-E72C-4A96-A4F3-34D56E5D05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0888" y="1436688"/>
              <a:ext cx="120650" cy="166688"/>
            </a:xfrm>
            <a:custGeom>
              <a:avLst/>
              <a:gdLst>
                <a:gd name="T0" fmla="*/ 31 w 76"/>
                <a:gd name="T1" fmla="*/ 69 h 105"/>
                <a:gd name="T2" fmla="*/ 0 w 76"/>
                <a:gd name="T3" fmla="*/ 31 h 105"/>
                <a:gd name="T4" fmla="*/ 3 w 76"/>
                <a:gd name="T5" fmla="*/ 0 h 105"/>
                <a:gd name="T6" fmla="*/ 0 w 76"/>
                <a:gd name="T7" fmla="*/ 31 h 105"/>
                <a:gd name="T8" fmla="*/ 31 w 76"/>
                <a:gd name="T9" fmla="*/ 69 h 105"/>
                <a:gd name="T10" fmla="*/ 50 w 76"/>
                <a:gd name="T11" fmla="*/ 69 h 105"/>
                <a:gd name="T12" fmla="*/ 76 w 76"/>
                <a:gd name="T13" fmla="*/ 105 h 105"/>
                <a:gd name="T14" fmla="*/ 50 w 76"/>
                <a:gd name="T15" fmla="*/ 69 h 105"/>
                <a:gd name="T16" fmla="*/ 31 w 76"/>
                <a:gd name="T17" fmla="*/ 6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6" h="105">
                  <a:moveTo>
                    <a:pt x="31" y="69"/>
                  </a:moveTo>
                  <a:lnTo>
                    <a:pt x="0" y="31"/>
                  </a:lnTo>
                  <a:lnTo>
                    <a:pt x="3" y="0"/>
                  </a:lnTo>
                  <a:lnTo>
                    <a:pt x="0" y="31"/>
                  </a:lnTo>
                  <a:lnTo>
                    <a:pt x="31" y="69"/>
                  </a:lnTo>
                  <a:lnTo>
                    <a:pt x="50" y="69"/>
                  </a:lnTo>
                  <a:lnTo>
                    <a:pt x="76" y="105"/>
                  </a:lnTo>
                  <a:lnTo>
                    <a:pt x="50" y="69"/>
                  </a:lnTo>
                  <a:lnTo>
                    <a:pt x="31" y="6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1" name="Freeform 601">
              <a:extLst>
                <a:ext uri="{FF2B5EF4-FFF2-40B4-BE49-F238E27FC236}">
                  <a16:creationId xmlns:a16="http://schemas.microsoft.com/office/drawing/2014/main" id="{1E2E9FBC-AF20-4027-B89A-B2E135A1D3D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2463" y="2559051"/>
              <a:ext cx="3175" cy="317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2 w 2"/>
                <a:gd name="T5" fmla="*/ 0 h 2"/>
                <a:gd name="T6" fmla="*/ 2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2" name="Freeform 602">
              <a:extLst>
                <a:ext uri="{FF2B5EF4-FFF2-40B4-BE49-F238E27FC236}">
                  <a16:creationId xmlns:a16="http://schemas.microsoft.com/office/drawing/2014/main" id="{22C2C07A-71E1-438D-872E-9AF3FC26D5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113" y="5308601"/>
              <a:ext cx="14288" cy="4763"/>
            </a:xfrm>
            <a:custGeom>
              <a:avLst/>
              <a:gdLst>
                <a:gd name="T0" fmla="*/ 9 w 9"/>
                <a:gd name="T1" fmla="*/ 3 h 3"/>
                <a:gd name="T2" fmla="*/ 2 w 9"/>
                <a:gd name="T3" fmla="*/ 2 h 3"/>
                <a:gd name="T4" fmla="*/ 0 w 9"/>
                <a:gd name="T5" fmla="*/ 0 h 3"/>
                <a:gd name="T6" fmla="*/ 2 w 9"/>
                <a:gd name="T7" fmla="*/ 2 h 3"/>
                <a:gd name="T8" fmla="*/ 9 w 9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9" y="3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9" y="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3" name="Freeform 603">
              <a:extLst>
                <a:ext uri="{FF2B5EF4-FFF2-40B4-BE49-F238E27FC236}">
                  <a16:creationId xmlns:a16="http://schemas.microsoft.com/office/drawing/2014/main" id="{B25F88A2-3E68-43B2-ADB0-62369E8EFC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7863" y="2271713"/>
              <a:ext cx="26988" cy="22225"/>
            </a:xfrm>
            <a:custGeom>
              <a:avLst/>
              <a:gdLst>
                <a:gd name="T0" fmla="*/ 17 w 17"/>
                <a:gd name="T1" fmla="*/ 0 h 14"/>
                <a:gd name="T2" fmla="*/ 8 w 17"/>
                <a:gd name="T3" fmla="*/ 9 h 14"/>
                <a:gd name="T4" fmla="*/ 0 w 17"/>
                <a:gd name="T5" fmla="*/ 14 h 14"/>
                <a:gd name="T6" fmla="*/ 8 w 17"/>
                <a:gd name="T7" fmla="*/ 9 h 14"/>
                <a:gd name="T8" fmla="*/ 17 w 17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4">
                  <a:moveTo>
                    <a:pt x="17" y="0"/>
                  </a:moveTo>
                  <a:lnTo>
                    <a:pt x="8" y="9"/>
                  </a:lnTo>
                  <a:lnTo>
                    <a:pt x="0" y="14"/>
                  </a:lnTo>
                  <a:lnTo>
                    <a:pt x="8" y="9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4" name="Freeform 604">
              <a:extLst>
                <a:ext uri="{FF2B5EF4-FFF2-40B4-BE49-F238E27FC236}">
                  <a16:creationId xmlns:a16="http://schemas.microsoft.com/office/drawing/2014/main" id="{567C958C-24C1-41DC-A457-8FC0C88986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3575" y="2297113"/>
              <a:ext cx="30163" cy="242888"/>
            </a:xfrm>
            <a:custGeom>
              <a:avLst/>
              <a:gdLst>
                <a:gd name="T0" fmla="*/ 19 w 19"/>
                <a:gd name="T1" fmla="*/ 82 h 153"/>
                <a:gd name="T2" fmla="*/ 15 w 19"/>
                <a:gd name="T3" fmla="*/ 58 h 153"/>
                <a:gd name="T4" fmla="*/ 3 w 19"/>
                <a:gd name="T5" fmla="*/ 19 h 153"/>
                <a:gd name="T6" fmla="*/ 5 w 19"/>
                <a:gd name="T7" fmla="*/ 0 h 153"/>
                <a:gd name="T8" fmla="*/ 5 w 19"/>
                <a:gd name="T9" fmla="*/ 0 h 153"/>
                <a:gd name="T10" fmla="*/ 3 w 19"/>
                <a:gd name="T11" fmla="*/ 19 h 153"/>
                <a:gd name="T12" fmla="*/ 15 w 19"/>
                <a:gd name="T13" fmla="*/ 58 h 153"/>
                <a:gd name="T14" fmla="*/ 19 w 19"/>
                <a:gd name="T15" fmla="*/ 82 h 153"/>
                <a:gd name="T16" fmla="*/ 10 w 19"/>
                <a:gd name="T17" fmla="*/ 119 h 153"/>
                <a:gd name="T18" fmla="*/ 0 w 19"/>
                <a:gd name="T19" fmla="*/ 153 h 153"/>
                <a:gd name="T20" fmla="*/ 10 w 19"/>
                <a:gd name="T21" fmla="*/ 119 h 153"/>
                <a:gd name="T22" fmla="*/ 19 w 19"/>
                <a:gd name="T23" fmla="*/ 8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153">
                  <a:moveTo>
                    <a:pt x="19" y="82"/>
                  </a:moveTo>
                  <a:lnTo>
                    <a:pt x="15" y="58"/>
                  </a:lnTo>
                  <a:lnTo>
                    <a:pt x="3" y="19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19"/>
                  </a:lnTo>
                  <a:lnTo>
                    <a:pt x="15" y="58"/>
                  </a:lnTo>
                  <a:lnTo>
                    <a:pt x="19" y="82"/>
                  </a:lnTo>
                  <a:lnTo>
                    <a:pt x="10" y="119"/>
                  </a:lnTo>
                  <a:lnTo>
                    <a:pt x="0" y="153"/>
                  </a:lnTo>
                  <a:lnTo>
                    <a:pt x="10" y="119"/>
                  </a:lnTo>
                  <a:lnTo>
                    <a:pt x="19" y="8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5" name="Freeform 605">
              <a:extLst>
                <a:ext uri="{FF2B5EF4-FFF2-40B4-BE49-F238E27FC236}">
                  <a16:creationId xmlns:a16="http://schemas.microsoft.com/office/drawing/2014/main" id="{7FECD85D-9B09-4188-8FD7-7C519AC1D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913" y="5430838"/>
              <a:ext cx="15875" cy="38100"/>
            </a:xfrm>
            <a:custGeom>
              <a:avLst/>
              <a:gdLst>
                <a:gd name="T0" fmla="*/ 5 w 10"/>
                <a:gd name="T1" fmla="*/ 23 h 24"/>
                <a:gd name="T2" fmla="*/ 0 w 10"/>
                <a:gd name="T3" fmla="*/ 24 h 24"/>
                <a:gd name="T4" fmla="*/ 5 w 10"/>
                <a:gd name="T5" fmla="*/ 23 h 24"/>
                <a:gd name="T6" fmla="*/ 5 w 10"/>
                <a:gd name="T7" fmla="*/ 7 h 24"/>
                <a:gd name="T8" fmla="*/ 10 w 10"/>
                <a:gd name="T9" fmla="*/ 0 h 24"/>
                <a:gd name="T10" fmla="*/ 5 w 10"/>
                <a:gd name="T11" fmla="*/ 7 h 24"/>
                <a:gd name="T12" fmla="*/ 5 w 10"/>
                <a:gd name="T13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4">
                  <a:moveTo>
                    <a:pt x="5" y="23"/>
                  </a:moveTo>
                  <a:lnTo>
                    <a:pt x="0" y="24"/>
                  </a:lnTo>
                  <a:lnTo>
                    <a:pt x="5" y="23"/>
                  </a:lnTo>
                  <a:lnTo>
                    <a:pt x="5" y="7"/>
                  </a:lnTo>
                  <a:lnTo>
                    <a:pt x="10" y="0"/>
                  </a:lnTo>
                  <a:lnTo>
                    <a:pt x="5" y="7"/>
                  </a:lnTo>
                  <a:lnTo>
                    <a:pt x="5" y="2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6" name="Freeform 606">
              <a:extLst>
                <a:ext uri="{FF2B5EF4-FFF2-40B4-BE49-F238E27FC236}">
                  <a16:creationId xmlns:a16="http://schemas.microsoft.com/office/drawing/2014/main" id="{8F844514-B51A-41EA-BE56-CDD700E13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225" y="5486401"/>
              <a:ext cx="57150" cy="60325"/>
            </a:xfrm>
            <a:custGeom>
              <a:avLst/>
              <a:gdLst>
                <a:gd name="T0" fmla="*/ 33 w 36"/>
                <a:gd name="T1" fmla="*/ 17 h 38"/>
                <a:gd name="T2" fmla="*/ 36 w 36"/>
                <a:gd name="T3" fmla="*/ 34 h 38"/>
                <a:gd name="T4" fmla="*/ 26 w 36"/>
                <a:gd name="T5" fmla="*/ 38 h 38"/>
                <a:gd name="T6" fmla="*/ 36 w 36"/>
                <a:gd name="T7" fmla="*/ 34 h 38"/>
                <a:gd name="T8" fmla="*/ 33 w 36"/>
                <a:gd name="T9" fmla="*/ 17 h 38"/>
                <a:gd name="T10" fmla="*/ 9 w 36"/>
                <a:gd name="T11" fmla="*/ 12 h 38"/>
                <a:gd name="T12" fmla="*/ 0 w 36"/>
                <a:gd name="T13" fmla="*/ 0 h 38"/>
                <a:gd name="T14" fmla="*/ 9 w 36"/>
                <a:gd name="T15" fmla="*/ 12 h 38"/>
                <a:gd name="T16" fmla="*/ 33 w 36"/>
                <a:gd name="T17" fmla="*/ 1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8">
                  <a:moveTo>
                    <a:pt x="33" y="17"/>
                  </a:moveTo>
                  <a:lnTo>
                    <a:pt x="36" y="34"/>
                  </a:lnTo>
                  <a:lnTo>
                    <a:pt x="26" y="38"/>
                  </a:lnTo>
                  <a:lnTo>
                    <a:pt x="36" y="34"/>
                  </a:lnTo>
                  <a:lnTo>
                    <a:pt x="33" y="17"/>
                  </a:lnTo>
                  <a:lnTo>
                    <a:pt x="9" y="12"/>
                  </a:lnTo>
                  <a:lnTo>
                    <a:pt x="0" y="0"/>
                  </a:lnTo>
                  <a:lnTo>
                    <a:pt x="9" y="12"/>
                  </a:lnTo>
                  <a:lnTo>
                    <a:pt x="33" y="17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7" name="Freeform 607">
              <a:extLst>
                <a:ext uri="{FF2B5EF4-FFF2-40B4-BE49-F238E27FC236}">
                  <a16:creationId xmlns:a16="http://schemas.microsoft.com/office/drawing/2014/main" id="{CDAC35B8-B514-4DF5-A052-ACE8C981A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1975" y="5472113"/>
              <a:ext cx="19050" cy="6350"/>
            </a:xfrm>
            <a:custGeom>
              <a:avLst/>
              <a:gdLst>
                <a:gd name="T0" fmla="*/ 0 w 12"/>
                <a:gd name="T1" fmla="*/ 4 h 4"/>
                <a:gd name="T2" fmla="*/ 12 w 12"/>
                <a:gd name="T3" fmla="*/ 0 h 4"/>
                <a:gd name="T4" fmla="*/ 0 w 12"/>
                <a:gd name="T5" fmla="*/ 4 h 4"/>
                <a:gd name="T6" fmla="*/ 0 w 1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4">
                  <a:moveTo>
                    <a:pt x="0" y="4"/>
                  </a:moveTo>
                  <a:lnTo>
                    <a:pt x="12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8" name="Freeform 608">
              <a:extLst>
                <a:ext uri="{FF2B5EF4-FFF2-40B4-BE49-F238E27FC236}">
                  <a16:creationId xmlns:a16="http://schemas.microsoft.com/office/drawing/2014/main" id="{58E45AA8-96BC-4567-BB38-48775FF04F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075" y="5354638"/>
              <a:ext cx="87313" cy="87313"/>
            </a:xfrm>
            <a:custGeom>
              <a:avLst/>
              <a:gdLst>
                <a:gd name="T0" fmla="*/ 41 w 55"/>
                <a:gd name="T1" fmla="*/ 7 h 55"/>
                <a:gd name="T2" fmla="*/ 38 w 55"/>
                <a:gd name="T3" fmla="*/ 17 h 55"/>
                <a:gd name="T4" fmla="*/ 26 w 55"/>
                <a:gd name="T5" fmla="*/ 19 h 55"/>
                <a:gd name="T6" fmla="*/ 21 w 55"/>
                <a:gd name="T7" fmla="*/ 38 h 55"/>
                <a:gd name="T8" fmla="*/ 16 w 55"/>
                <a:gd name="T9" fmla="*/ 35 h 55"/>
                <a:gd name="T10" fmla="*/ 0 w 55"/>
                <a:gd name="T11" fmla="*/ 31 h 55"/>
                <a:gd name="T12" fmla="*/ 0 w 55"/>
                <a:gd name="T13" fmla="*/ 31 h 55"/>
                <a:gd name="T14" fmla="*/ 16 w 55"/>
                <a:gd name="T15" fmla="*/ 35 h 55"/>
                <a:gd name="T16" fmla="*/ 21 w 55"/>
                <a:gd name="T17" fmla="*/ 38 h 55"/>
                <a:gd name="T18" fmla="*/ 22 w 55"/>
                <a:gd name="T19" fmla="*/ 55 h 55"/>
                <a:gd name="T20" fmla="*/ 22 w 55"/>
                <a:gd name="T21" fmla="*/ 55 h 55"/>
                <a:gd name="T22" fmla="*/ 21 w 55"/>
                <a:gd name="T23" fmla="*/ 38 h 55"/>
                <a:gd name="T24" fmla="*/ 26 w 55"/>
                <a:gd name="T25" fmla="*/ 19 h 55"/>
                <a:gd name="T26" fmla="*/ 38 w 55"/>
                <a:gd name="T27" fmla="*/ 17 h 55"/>
                <a:gd name="T28" fmla="*/ 41 w 55"/>
                <a:gd name="T29" fmla="*/ 7 h 55"/>
                <a:gd name="T30" fmla="*/ 55 w 55"/>
                <a:gd name="T31" fmla="*/ 5 h 55"/>
                <a:gd name="T32" fmla="*/ 52 w 55"/>
                <a:gd name="T33" fmla="*/ 0 h 55"/>
                <a:gd name="T34" fmla="*/ 55 w 55"/>
                <a:gd name="T35" fmla="*/ 5 h 55"/>
                <a:gd name="T36" fmla="*/ 41 w 55"/>
                <a:gd name="T37" fmla="*/ 7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5" h="55">
                  <a:moveTo>
                    <a:pt x="41" y="7"/>
                  </a:moveTo>
                  <a:lnTo>
                    <a:pt x="38" y="17"/>
                  </a:lnTo>
                  <a:lnTo>
                    <a:pt x="26" y="19"/>
                  </a:lnTo>
                  <a:lnTo>
                    <a:pt x="21" y="38"/>
                  </a:lnTo>
                  <a:lnTo>
                    <a:pt x="16" y="35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16" y="35"/>
                  </a:lnTo>
                  <a:lnTo>
                    <a:pt x="21" y="38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1" y="38"/>
                  </a:lnTo>
                  <a:lnTo>
                    <a:pt x="26" y="19"/>
                  </a:lnTo>
                  <a:lnTo>
                    <a:pt x="38" y="17"/>
                  </a:lnTo>
                  <a:lnTo>
                    <a:pt x="41" y="7"/>
                  </a:lnTo>
                  <a:lnTo>
                    <a:pt x="55" y="5"/>
                  </a:lnTo>
                  <a:lnTo>
                    <a:pt x="52" y="0"/>
                  </a:lnTo>
                  <a:lnTo>
                    <a:pt x="55" y="5"/>
                  </a:lnTo>
                  <a:lnTo>
                    <a:pt x="41" y="7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79" name="Freeform 609">
              <a:extLst>
                <a:ext uri="{FF2B5EF4-FFF2-40B4-BE49-F238E27FC236}">
                  <a16:creationId xmlns:a16="http://schemas.microsoft.com/office/drawing/2014/main" id="{376CE3FE-4F3A-47EC-BE47-64EA36819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9875" y="5248276"/>
              <a:ext cx="7938" cy="3175"/>
            </a:xfrm>
            <a:custGeom>
              <a:avLst/>
              <a:gdLst>
                <a:gd name="T0" fmla="*/ 5 w 5"/>
                <a:gd name="T1" fmla="*/ 2 h 2"/>
                <a:gd name="T2" fmla="*/ 5 w 5"/>
                <a:gd name="T3" fmla="*/ 2 h 2"/>
                <a:gd name="T4" fmla="*/ 0 w 5"/>
                <a:gd name="T5" fmla="*/ 0 h 2"/>
                <a:gd name="T6" fmla="*/ 5 w 5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5" y="2"/>
                  </a:moveTo>
                  <a:lnTo>
                    <a:pt x="5" y="2"/>
                  </a:lnTo>
                  <a:lnTo>
                    <a:pt x="0" y="0"/>
                  </a:lnTo>
                  <a:lnTo>
                    <a:pt x="5" y="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0" name="Freeform 610">
              <a:extLst>
                <a:ext uri="{FF2B5EF4-FFF2-40B4-BE49-F238E27FC236}">
                  <a16:creationId xmlns:a16="http://schemas.microsoft.com/office/drawing/2014/main" id="{719588BD-C9EB-43DF-AAC0-F2A84E1BC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9950" y="4960938"/>
              <a:ext cx="14288" cy="22225"/>
            </a:xfrm>
            <a:custGeom>
              <a:avLst/>
              <a:gdLst>
                <a:gd name="T0" fmla="*/ 0 w 9"/>
                <a:gd name="T1" fmla="*/ 0 h 14"/>
                <a:gd name="T2" fmla="*/ 0 w 9"/>
                <a:gd name="T3" fmla="*/ 0 h 14"/>
                <a:gd name="T4" fmla="*/ 9 w 9"/>
                <a:gd name="T5" fmla="*/ 14 h 14"/>
                <a:gd name="T6" fmla="*/ 0 w 9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4">
                  <a:moveTo>
                    <a:pt x="0" y="0"/>
                  </a:moveTo>
                  <a:lnTo>
                    <a:pt x="0" y="0"/>
                  </a:lnTo>
                  <a:lnTo>
                    <a:pt x="9" y="1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1" name="Freeform 611">
              <a:extLst>
                <a:ext uri="{FF2B5EF4-FFF2-40B4-BE49-F238E27FC236}">
                  <a16:creationId xmlns:a16="http://schemas.microsoft.com/office/drawing/2014/main" id="{22926573-CC45-4860-AE24-B0DD3D386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7475" y="3938588"/>
              <a:ext cx="19050" cy="7938"/>
            </a:xfrm>
            <a:custGeom>
              <a:avLst/>
              <a:gdLst>
                <a:gd name="T0" fmla="*/ 0 w 12"/>
                <a:gd name="T1" fmla="*/ 5 h 5"/>
                <a:gd name="T2" fmla="*/ 0 w 12"/>
                <a:gd name="T3" fmla="*/ 5 h 5"/>
                <a:gd name="T4" fmla="*/ 12 w 12"/>
                <a:gd name="T5" fmla="*/ 0 h 5"/>
                <a:gd name="T6" fmla="*/ 12 w 12"/>
                <a:gd name="T7" fmla="*/ 0 h 5"/>
                <a:gd name="T8" fmla="*/ 0 w 12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5">
                  <a:moveTo>
                    <a:pt x="0" y="5"/>
                  </a:moveTo>
                  <a:lnTo>
                    <a:pt x="0" y="5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2" name="Freeform 612">
              <a:extLst>
                <a:ext uri="{FF2B5EF4-FFF2-40B4-BE49-F238E27FC236}">
                  <a16:creationId xmlns:a16="http://schemas.microsoft.com/office/drawing/2014/main" id="{113EBB0B-1D61-46D4-B144-588FB090C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175" y="5718176"/>
              <a:ext cx="44450" cy="19050"/>
            </a:xfrm>
            <a:custGeom>
              <a:avLst/>
              <a:gdLst>
                <a:gd name="T0" fmla="*/ 0 w 28"/>
                <a:gd name="T1" fmla="*/ 0 h 12"/>
                <a:gd name="T2" fmla="*/ 0 w 28"/>
                <a:gd name="T3" fmla="*/ 0 h 12"/>
                <a:gd name="T4" fmla="*/ 23 w 28"/>
                <a:gd name="T5" fmla="*/ 12 h 12"/>
                <a:gd name="T6" fmla="*/ 28 w 28"/>
                <a:gd name="T7" fmla="*/ 10 h 12"/>
                <a:gd name="T8" fmla="*/ 23 w 28"/>
                <a:gd name="T9" fmla="*/ 12 h 12"/>
                <a:gd name="T10" fmla="*/ 0 w 28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12">
                  <a:moveTo>
                    <a:pt x="0" y="0"/>
                  </a:moveTo>
                  <a:lnTo>
                    <a:pt x="0" y="0"/>
                  </a:lnTo>
                  <a:lnTo>
                    <a:pt x="23" y="12"/>
                  </a:lnTo>
                  <a:lnTo>
                    <a:pt x="28" y="10"/>
                  </a:lnTo>
                  <a:lnTo>
                    <a:pt x="23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3" name="Freeform 613">
              <a:extLst>
                <a:ext uri="{FF2B5EF4-FFF2-40B4-BE49-F238E27FC236}">
                  <a16:creationId xmlns:a16="http://schemas.microsoft.com/office/drawing/2014/main" id="{992956F8-289C-4E17-959B-774D6BB55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5691188"/>
              <a:ext cx="7938" cy="19050"/>
            </a:xfrm>
            <a:custGeom>
              <a:avLst/>
              <a:gdLst>
                <a:gd name="T0" fmla="*/ 5 w 5"/>
                <a:gd name="T1" fmla="*/ 12 h 12"/>
                <a:gd name="T2" fmla="*/ 0 w 5"/>
                <a:gd name="T3" fmla="*/ 10 h 12"/>
                <a:gd name="T4" fmla="*/ 5 w 5"/>
                <a:gd name="T5" fmla="*/ 12 h 12"/>
                <a:gd name="T6" fmla="*/ 5 w 5"/>
                <a:gd name="T7" fmla="*/ 0 h 12"/>
                <a:gd name="T8" fmla="*/ 5 w 5"/>
                <a:gd name="T9" fmla="*/ 0 h 12"/>
                <a:gd name="T10" fmla="*/ 5 w 5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12">
                  <a:moveTo>
                    <a:pt x="5" y="12"/>
                  </a:moveTo>
                  <a:lnTo>
                    <a:pt x="0" y="10"/>
                  </a:lnTo>
                  <a:lnTo>
                    <a:pt x="5" y="12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1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4" name="Freeform 614">
              <a:extLst>
                <a:ext uri="{FF2B5EF4-FFF2-40B4-BE49-F238E27FC236}">
                  <a16:creationId xmlns:a16="http://schemas.microsoft.com/office/drawing/2014/main" id="{26896645-229B-4869-BEBB-7B130F7A74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4738" y="5702301"/>
              <a:ext cx="52388" cy="15875"/>
            </a:xfrm>
            <a:custGeom>
              <a:avLst/>
              <a:gdLst>
                <a:gd name="T0" fmla="*/ 7 w 33"/>
                <a:gd name="T1" fmla="*/ 10 h 10"/>
                <a:gd name="T2" fmla="*/ 0 w 33"/>
                <a:gd name="T3" fmla="*/ 5 h 10"/>
                <a:gd name="T4" fmla="*/ 7 w 33"/>
                <a:gd name="T5" fmla="*/ 10 h 10"/>
                <a:gd name="T6" fmla="*/ 21 w 33"/>
                <a:gd name="T7" fmla="*/ 10 h 10"/>
                <a:gd name="T8" fmla="*/ 33 w 33"/>
                <a:gd name="T9" fmla="*/ 0 h 10"/>
                <a:gd name="T10" fmla="*/ 21 w 33"/>
                <a:gd name="T11" fmla="*/ 10 h 10"/>
                <a:gd name="T12" fmla="*/ 7 w 33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10">
                  <a:moveTo>
                    <a:pt x="7" y="10"/>
                  </a:moveTo>
                  <a:lnTo>
                    <a:pt x="0" y="5"/>
                  </a:lnTo>
                  <a:lnTo>
                    <a:pt x="7" y="10"/>
                  </a:lnTo>
                  <a:lnTo>
                    <a:pt x="21" y="10"/>
                  </a:lnTo>
                  <a:lnTo>
                    <a:pt x="33" y="0"/>
                  </a:lnTo>
                  <a:lnTo>
                    <a:pt x="21" y="10"/>
                  </a:lnTo>
                  <a:lnTo>
                    <a:pt x="7" y="1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5" name="Freeform 615">
              <a:extLst>
                <a:ext uri="{FF2B5EF4-FFF2-40B4-BE49-F238E27FC236}">
                  <a16:creationId xmlns:a16="http://schemas.microsoft.com/office/drawing/2014/main" id="{6216A9EC-0A06-47D4-BFC7-8B6DA4174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925" y="5681663"/>
              <a:ext cx="7938" cy="33338"/>
            </a:xfrm>
            <a:custGeom>
              <a:avLst/>
              <a:gdLst>
                <a:gd name="T0" fmla="*/ 0 w 5"/>
                <a:gd name="T1" fmla="*/ 0 h 21"/>
                <a:gd name="T2" fmla="*/ 5 w 5"/>
                <a:gd name="T3" fmla="*/ 21 h 21"/>
                <a:gd name="T4" fmla="*/ 5 w 5"/>
                <a:gd name="T5" fmla="*/ 21 h 21"/>
                <a:gd name="T6" fmla="*/ 0 w 5"/>
                <a:gd name="T7" fmla="*/ 0 h 21"/>
                <a:gd name="T8" fmla="*/ 0 w 5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1">
                  <a:moveTo>
                    <a:pt x="0" y="0"/>
                  </a:moveTo>
                  <a:lnTo>
                    <a:pt x="5" y="21"/>
                  </a:lnTo>
                  <a:lnTo>
                    <a:pt x="5" y="2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6" name="Freeform 616">
              <a:extLst>
                <a:ext uri="{FF2B5EF4-FFF2-40B4-BE49-F238E27FC236}">
                  <a16:creationId xmlns:a16="http://schemas.microsoft.com/office/drawing/2014/main" id="{8828AB97-CD42-49CF-8D12-7BC8B24DE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3775" y="5673726"/>
              <a:ext cx="11113" cy="30163"/>
            </a:xfrm>
            <a:custGeom>
              <a:avLst/>
              <a:gdLst>
                <a:gd name="T0" fmla="*/ 0 w 7"/>
                <a:gd name="T1" fmla="*/ 0 h 19"/>
                <a:gd name="T2" fmla="*/ 7 w 7"/>
                <a:gd name="T3" fmla="*/ 19 h 19"/>
                <a:gd name="T4" fmla="*/ 7 w 7"/>
                <a:gd name="T5" fmla="*/ 19 h 19"/>
                <a:gd name="T6" fmla="*/ 0 w 7"/>
                <a:gd name="T7" fmla="*/ 0 h 19"/>
                <a:gd name="T8" fmla="*/ 0 w 7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7" y="19"/>
                  </a:lnTo>
                  <a:lnTo>
                    <a:pt x="7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7" name="Freeform 617">
              <a:extLst>
                <a:ext uri="{FF2B5EF4-FFF2-40B4-BE49-F238E27FC236}">
                  <a16:creationId xmlns:a16="http://schemas.microsoft.com/office/drawing/2014/main" id="{7DC440B0-8046-47AC-825E-C08B95208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2525" y="5980113"/>
              <a:ext cx="19050" cy="144463"/>
            </a:xfrm>
            <a:custGeom>
              <a:avLst/>
              <a:gdLst>
                <a:gd name="T0" fmla="*/ 12 w 12"/>
                <a:gd name="T1" fmla="*/ 40 h 91"/>
                <a:gd name="T2" fmla="*/ 7 w 12"/>
                <a:gd name="T3" fmla="*/ 27 h 91"/>
                <a:gd name="T4" fmla="*/ 12 w 12"/>
                <a:gd name="T5" fmla="*/ 0 h 91"/>
                <a:gd name="T6" fmla="*/ 12 w 12"/>
                <a:gd name="T7" fmla="*/ 0 h 91"/>
                <a:gd name="T8" fmla="*/ 7 w 12"/>
                <a:gd name="T9" fmla="*/ 27 h 91"/>
                <a:gd name="T10" fmla="*/ 12 w 12"/>
                <a:gd name="T11" fmla="*/ 40 h 91"/>
                <a:gd name="T12" fmla="*/ 7 w 12"/>
                <a:gd name="T13" fmla="*/ 60 h 91"/>
                <a:gd name="T14" fmla="*/ 0 w 12"/>
                <a:gd name="T15" fmla="*/ 91 h 91"/>
                <a:gd name="T16" fmla="*/ 0 w 12"/>
                <a:gd name="T17" fmla="*/ 91 h 91"/>
                <a:gd name="T18" fmla="*/ 7 w 12"/>
                <a:gd name="T19" fmla="*/ 60 h 91"/>
                <a:gd name="T20" fmla="*/ 12 w 12"/>
                <a:gd name="T21" fmla="*/ 4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91">
                  <a:moveTo>
                    <a:pt x="12" y="40"/>
                  </a:moveTo>
                  <a:lnTo>
                    <a:pt x="7" y="27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7" y="27"/>
                  </a:lnTo>
                  <a:lnTo>
                    <a:pt x="12" y="40"/>
                  </a:lnTo>
                  <a:lnTo>
                    <a:pt x="7" y="60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7" y="60"/>
                  </a:lnTo>
                  <a:lnTo>
                    <a:pt x="12" y="4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8" name="Freeform 618">
              <a:extLst>
                <a:ext uri="{FF2B5EF4-FFF2-40B4-BE49-F238E27FC236}">
                  <a16:creationId xmlns:a16="http://schemas.microsoft.com/office/drawing/2014/main" id="{AC0E462A-6A3D-44DC-9DA4-B2FCAD843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9675" y="5734051"/>
              <a:ext cx="12700" cy="3175"/>
            </a:xfrm>
            <a:custGeom>
              <a:avLst/>
              <a:gdLst>
                <a:gd name="T0" fmla="*/ 0 w 8"/>
                <a:gd name="T1" fmla="*/ 0 h 2"/>
                <a:gd name="T2" fmla="*/ 5 w 8"/>
                <a:gd name="T3" fmla="*/ 2 h 2"/>
                <a:gd name="T4" fmla="*/ 8 w 8"/>
                <a:gd name="T5" fmla="*/ 0 h 2"/>
                <a:gd name="T6" fmla="*/ 5 w 8"/>
                <a:gd name="T7" fmla="*/ 2 h 2"/>
                <a:gd name="T8" fmla="*/ 0 w 8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0" y="0"/>
                  </a:moveTo>
                  <a:lnTo>
                    <a:pt x="5" y="2"/>
                  </a:lnTo>
                  <a:lnTo>
                    <a:pt x="8" y="0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89" name="Freeform 619">
              <a:extLst>
                <a:ext uri="{FF2B5EF4-FFF2-40B4-BE49-F238E27FC236}">
                  <a16:creationId xmlns:a16="http://schemas.microsoft.com/office/drawing/2014/main" id="{22094CA2-9B8D-46CF-83A2-A4BFA9F3E3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8375" y="5634038"/>
              <a:ext cx="19050" cy="34925"/>
            </a:xfrm>
            <a:custGeom>
              <a:avLst/>
              <a:gdLst>
                <a:gd name="T0" fmla="*/ 6 w 12"/>
                <a:gd name="T1" fmla="*/ 0 h 22"/>
                <a:gd name="T2" fmla="*/ 6 w 12"/>
                <a:gd name="T3" fmla="*/ 0 h 22"/>
                <a:gd name="T4" fmla="*/ 0 w 12"/>
                <a:gd name="T5" fmla="*/ 12 h 22"/>
                <a:gd name="T6" fmla="*/ 12 w 12"/>
                <a:gd name="T7" fmla="*/ 22 h 22"/>
                <a:gd name="T8" fmla="*/ 0 w 12"/>
                <a:gd name="T9" fmla="*/ 12 h 22"/>
                <a:gd name="T10" fmla="*/ 6 w 12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22">
                  <a:moveTo>
                    <a:pt x="6" y="0"/>
                  </a:moveTo>
                  <a:lnTo>
                    <a:pt x="6" y="0"/>
                  </a:lnTo>
                  <a:lnTo>
                    <a:pt x="0" y="12"/>
                  </a:lnTo>
                  <a:lnTo>
                    <a:pt x="12" y="22"/>
                  </a:lnTo>
                  <a:lnTo>
                    <a:pt x="0" y="1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90" name="Freeform 620">
              <a:extLst>
                <a:ext uri="{FF2B5EF4-FFF2-40B4-BE49-F238E27FC236}">
                  <a16:creationId xmlns:a16="http://schemas.microsoft.com/office/drawing/2014/main" id="{D818254E-7A51-40FC-9804-A4240B336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413" y="5691188"/>
              <a:ext cx="0" cy="4763"/>
            </a:xfrm>
            <a:custGeom>
              <a:avLst/>
              <a:gdLst>
                <a:gd name="T0" fmla="*/ 0 h 3"/>
                <a:gd name="T1" fmla="*/ 3 h 3"/>
                <a:gd name="T2" fmla="*/ 0 h 3"/>
                <a:gd name="T3" fmla="*/ 0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">
                  <a:moveTo>
                    <a:pt x="0" y="0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91" name="Freeform 621">
              <a:extLst>
                <a:ext uri="{FF2B5EF4-FFF2-40B4-BE49-F238E27FC236}">
                  <a16:creationId xmlns:a16="http://schemas.microsoft.com/office/drawing/2014/main" id="{7F4020BE-9B7A-418F-A4DE-CD2E52C2C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5778501"/>
              <a:ext cx="98425" cy="196850"/>
            </a:xfrm>
            <a:custGeom>
              <a:avLst/>
              <a:gdLst>
                <a:gd name="T0" fmla="*/ 19 w 62"/>
                <a:gd name="T1" fmla="*/ 56 h 124"/>
                <a:gd name="T2" fmla="*/ 51 w 62"/>
                <a:gd name="T3" fmla="*/ 15 h 124"/>
                <a:gd name="T4" fmla="*/ 62 w 62"/>
                <a:gd name="T5" fmla="*/ 0 h 124"/>
                <a:gd name="T6" fmla="*/ 51 w 62"/>
                <a:gd name="T7" fmla="*/ 15 h 124"/>
                <a:gd name="T8" fmla="*/ 19 w 62"/>
                <a:gd name="T9" fmla="*/ 56 h 124"/>
                <a:gd name="T10" fmla="*/ 15 w 62"/>
                <a:gd name="T11" fmla="*/ 99 h 124"/>
                <a:gd name="T12" fmla="*/ 0 w 62"/>
                <a:gd name="T13" fmla="*/ 124 h 124"/>
                <a:gd name="T14" fmla="*/ 15 w 62"/>
                <a:gd name="T15" fmla="*/ 99 h 124"/>
                <a:gd name="T16" fmla="*/ 19 w 62"/>
                <a:gd name="T17" fmla="*/ 56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2" h="124">
                  <a:moveTo>
                    <a:pt x="19" y="56"/>
                  </a:moveTo>
                  <a:lnTo>
                    <a:pt x="51" y="15"/>
                  </a:lnTo>
                  <a:lnTo>
                    <a:pt x="62" y="0"/>
                  </a:lnTo>
                  <a:lnTo>
                    <a:pt x="51" y="15"/>
                  </a:lnTo>
                  <a:lnTo>
                    <a:pt x="19" y="56"/>
                  </a:lnTo>
                  <a:lnTo>
                    <a:pt x="15" y="99"/>
                  </a:lnTo>
                  <a:lnTo>
                    <a:pt x="0" y="124"/>
                  </a:lnTo>
                  <a:lnTo>
                    <a:pt x="15" y="99"/>
                  </a:lnTo>
                  <a:lnTo>
                    <a:pt x="19" y="5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92" name="Freeform 622">
              <a:extLst>
                <a:ext uri="{FF2B5EF4-FFF2-40B4-BE49-F238E27FC236}">
                  <a16:creationId xmlns:a16="http://schemas.microsoft.com/office/drawing/2014/main" id="{2655007C-97A2-4EBB-869D-CAA107998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3413" y="5414963"/>
              <a:ext cx="20638" cy="103188"/>
            </a:xfrm>
            <a:custGeom>
              <a:avLst/>
              <a:gdLst>
                <a:gd name="T0" fmla="*/ 7 w 13"/>
                <a:gd name="T1" fmla="*/ 38 h 65"/>
                <a:gd name="T2" fmla="*/ 0 w 13"/>
                <a:gd name="T3" fmla="*/ 33 h 65"/>
                <a:gd name="T4" fmla="*/ 5 w 13"/>
                <a:gd name="T5" fmla="*/ 21 h 65"/>
                <a:gd name="T6" fmla="*/ 7 w 13"/>
                <a:gd name="T7" fmla="*/ 10 h 65"/>
                <a:gd name="T8" fmla="*/ 13 w 13"/>
                <a:gd name="T9" fmla="*/ 10 h 65"/>
                <a:gd name="T10" fmla="*/ 13 w 13"/>
                <a:gd name="T11" fmla="*/ 0 h 65"/>
                <a:gd name="T12" fmla="*/ 13 w 13"/>
                <a:gd name="T13" fmla="*/ 0 h 65"/>
                <a:gd name="T14" fmla="*/ 13 w 13"/>
                <a:gd name="T15" fmla="*/ 0 h 65"/>
                <a:gd name="T16" fmla="*/ 13 w 13"/>
                <a:gd name="T17" fmla="*/ 10 h 65"/>
                <a:gd name="T18" fmla="*/ 7 w 13"/>
                <a:gd name="T19" fmla="*/ 10 h 65"/>
                <a:gd name="T20" fmla="*/ 5 w 13"/>
                <a:gd name="T21" fmla="*/ 21 h 65"/>
                <a:gd name="T22" fmla="*/ 0 w 13"/>
                <a:gd name="T23" fmla="*/ 33 h 65"/>
                <a:gd name="T24" fmla="*/ 7 w 13"/>
                <a:gd name="T25" fmla="*/ 38 h 65"/>
                <a:gd name="T26" fmla="*/ 12 w 13"/>
                <a:gd name="T27" fmla="*/ 48 h 65"/>
                <a:gd name="T28" fmla="*/ 10 w 13"/>
                <a:gd name="T29" fmla="*/ 65 h 65"/>
                <a:gd name="T30" fmla="*/ 10 w 13"/>
                <a:gd name="T31" fmla="*/ 65 h 65"/>
                <a:gd name="T32" fmla="*/ 12 w 13"/>
                <a:gd name="T33" fmla="*/ 48 h 65"/>
                <a:gd name="T34" fmla="*/ 7 w 13"/>
                <a:gd name="T35" fmla="*/ 3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" h="65">
                  <a:moveTo>
                    <a:pt x="7" y="38"/>
                  </a:moveTo>
                  <a:lnTo>
                    <a:pt x="0" y="33"/>
                  </a:lnTo>
                  <a:lnTo>
                    <a:pt x="5" y="21"/>
                  </a:lnTo>
                  <a:lnTo>
                    <a:pt x="7" y="10"/>
                  </a:lnTo>
                  <a:lnTo>
                    <a:pt x="13" y="1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10"/>
                  </a:lnTo>
                  <a:lnTo>
                    <a:pt x="7" y="10"/>
                  </a:lnTo>
                  <a:lnTo>
                    <a:pt x="5" y="21"/>
                  </a:lnTo>
                  <a:lnTo>
                    <a:pt x="0" y="33"/>
                  </a:lnTo>
                  <a:lnTo>
                    <a:pt x="7" y="38"/>
                  </a:lnTo>
                  <a:lnTo>
                    <a:pt x="12" y="48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12" y="48"/>
                  </a:lnTo>
                  <a:lnTo>
                    <a:pt x="7" y="38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93" name="Freeform 623">
              <a:extLst>
                <a:ext uri="{FF2B5EF4-FFF2-40B4-BE49-F238E27FC236}">
                  <a16:creationId xmlns:a16="http://schemas.microsoft.com/office/drawing/2014/main" id="{F9275390-7239-4192-AF87-CD7293695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2313" y="5548313"/>
              <a:ext cx="41275" cy="55563"/>
            </a:xfrm>
            <a:custGeom>
              <a:avLst/>
              <a:gdLst>
                <a:gd name="T0" fmla="*/ 11 w 26"/>
                <a:gd name="T1" fmla="*/ 12 h 35"/>
                <a:gd name="T2" fmla="*/ 0 w 26"/>
                <a:gd name="T3" fmla="*/ 0 h 35"/>
                <a:gd name="T4" fmla="*/ 0 w 26"/>
                <a:gd name="T5" fmla="*/ 0 h 35"/>
                <a:gd name="T6" fmla="*/ 11 w 26"/>
                <a:gd name="T7" fmla="*/ 12 h 35"/>
                <a:gd name="T8" fmla="*/ 25 w 26"/>
                <a:gd name="T9" fmla="*/ 23 h 35"/>
                <a:gd name="T10" fmla="*/ 26 w 26"/>
                <a:gd name="T11" fmla="*/ 35 h 35"/>
                <a:gd name="T12" fmla="*/ 26 w 26"/>
                <a:gd name="T13" fmla="*/ 35 h 35"/>
                <a:gd name="T14" fmla="*/ 25 w 26"/>
                <a:gd name="T15" fmla="*/ 23 h 35"/>
                <a:gd name="T16" fmla="*/ 11 w 26"/>
                <a:gd name="T17" fmla="*/ 1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35">
                  <a:moveTo>
                    <a:pt x="11" y="1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1" y="12"/>
                  </a:lnTo>
                  <a:lnTo>
                    <a:pt x="25" y="23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5" y="23"/>
                  </a:lnTo>
                  <a:lnTo>
                    <a:pt x="11" y="1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94" name="Freeform 624">
              <a:extLst>
                <a:ext uri="{FF2B5EF4-FFF2-40B4-BE49-F238E27FC236}">
                  <a16:creationId xmlns:a16="http://schemas.microsoft.com/office/drawing/2014/main" id="{49CECC78-C238-4291-A803-6BFCEBF39D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1513" y="5518151"/>
              <a:ext cx="34925" cy="30163"/>
            </a:xfrm>
            <a:custGeom>
              <a:avLst/>
              <a:gdLst>
                <a:gd name="T0" fmla="*/ 0 w 22"/>
                <a:gd name="T1" fmla="*/ 0 h 19"/>
                <a:gd name="T2" fmla="*/ 0 w 22"/>
                <a:gd name="T3" fmla="*/ 0 h 19"/>
                <a:gd name="T4" fmla="*/ 14 w 22"/>
                <a:gd name="T5" fmla="*/ 5 h 19"/>
                <a:gd name="T6" fmla="*/ 22 w 22"/>
                <a:gd name="T7" fmla="*/ 19 h 19"/>
                <a:gd name="T8" fmla="*/ 22 w 22"/>
                <a:gd name="T9" fmla="*/ 19 h 19"/>
                <a:gd name="T10" fmla="*/ 14 w 22"/>
                <a:gd name="T11" fmla="*/ 5 h 19"/>
                <a:gd name="T12" fmla="*/ 0 w 22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9">
                  <a:moveTo>
                    <a:pt x="0" y="0"/>
                  </a:moveTo>
                  <a:lnTo>
                    <a:pt x="0" y="0"/>
                  </a:lnTo>
                  <a:lnTo>
                    <a:pt x="14" y="5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14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95" name="Freeform 625">
              <a:extLst>
                <a:ext uri="{FF2B5EF4-FFF2-40B4-BE49-F238E27FC236}">
                  <a16:creationId xmlns:a16="http://schemas.microsoft.com/office/drawing/2014/main" id="{8387A7D2-0856-4E41-BFF5-47A1EBA68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6900" y="5441951"/>
              <a:ext cx="19050" cy="25400"/>
            </a:xfrm>
            <a:custGeom>
              <a:avLst/>
              <a:gdLst>
                <a:gd name="T0" fmla="*/ 0 w 12"/>
                <a:gd name="T1" fmla="*/ 16 h 16"/>
                <a:gd name="T2" fmla="*/ 12 w 12"/>
                <a:gd name="T3" fmla="*/ 12 h 16"/>
                <a:gd name="T4" fmla="*/ 12 w 12"/>
                <a:gd name="T5" fmla="*/ 0 h 16"/>
                <a:gd name="T6" fmla="*/ 12 w 12"/>
                <a:gd name="T7" fmla="*/ 12 h 16"/>
                <a:gd name="T8" fmla="*/ 0 w 12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6">
                  <a:moveTo>
                    <a:pt x="0" y="16"/>
                  </a:moveTo>
                  <a:lnTo>
                    <a:pt x="12" y="12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96" name="Freeform 626">
              <a:extLst>
                <a:ext uri="{FF2B5EF4-FFF2-40B4-BE49-F238E27FC236}">
                  <a16:creationId xmlns:a16="http://schemas.microsoft.com/office/drawing/2014/main" id="{3BAE0FE7-309C-4FF2-991E-D241724BF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8050" y="5581651"/>
              <a:ext cx="49213" cy="42863"/>
            </a:xfrm>
            <a:custGeom>
              <a:avLst/>
              <a:gdLst>
                <a:gd name="T0" fmla="*/ 14 w 31"/>
                <a:gd name="T1" fmla="*/ 0 h 27"/>
                <a:gd name="T2" fmla="*/ 14 w 31"/>
                <a:gd name="T3" fmla="*/ 0 h 27"/>
                <a:gd name="T4" fmla="*/ 14 w 31"/>
                <a:gd name="T5" fmla="*/ 19 h 27"/>
                <a:gd name="T6" fmla="*/ 0 w 31"/>
                <a:gd name="T7" fmla="*/ 10 h 27"/>
                <a:gd name="T8" fmla="*/ 0 w 31"/>
                <a:gd name="T9" fmla="*/ 10 h 27"/>
                <a:gd name="T10" fmla="*/ 14 w 31"/>
                <a:gd name="T11" fmla="*/ 19 h 27"/>
                <a:gd name="T12" fmla="*/ 31 w 31"/>
                <a:gd name="T13" fmla="*/ 27 h 27"/>
                <a:gd name="T14" fmla="*/ 14 w 31"/>
                <a:gd name="T15" fmla="*/ 19 h 27"/>
                <a:gd name="T16" fmla="*/ 14 w 31"/>
                <a:gd name="T1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7">
                  <a:moveTo>
                    <a:pt x="14" y="0"/>
                  </a:moveTo>
                  <a:lnTo>
                    <a:pt x="14" y="0"/>
                  </a:lnTo>
                  <a:lnTo>
                    <a:pt x="14" y="19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4" y="19"/>
                  </a:lnTo>
                  <a:lnTo>
                    <a:pt x="31" y="27"/>
                  </a:lnTo>
                  <a:lnTo>
                    <a:pt x="14" y="19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97" name="Freeform 627">
              <a:extLst>
                <a:ext uri="{FF2B5EF4-FFF2-40B4-BE49-F238E27FC236}">
                  <a16:creationId xmlns:a16="http://schemas.microsoft.com/office/drawing/2014/main" id="{F729705F-7F45-488A-AB3B-D7BCD41CAF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075" y="5605463"/>
              <a:ext cx="7938" cy="14288"/>
            </a:xfrm>
            <a:custGeom>
              <a:avLst/>
              <a:gdLst>
                <a:gd name="T0" fmla="*/ 0 w 5"/>
                <a:gd name="T1" fmla="*/ 0 h 9"/>
                <a:gd name="T2" fmla="*/ 5 w 5"/>
                <a:gd name="T3" fmla="*/ 9 h 9"/>
                <a:gd name="T4" fmla="*/ 5 w 5"/>
                <a:gd name="T5" fmla="*/ 9 h 9"/>
                <a:gd name="T6" fmla="*/ 0 w 5"/>
                <a:gd name="T7" fmla="*/ 0 h 9"/>
                <a:gd name="T8" fmla="*/ 0 w 5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0" y="0"/>
                  </a:moveTo>
                  <a:lnTo>
                    <a:pt x="5" y="9"/>
                  </a:lnTo>
                  <a:lnTo>
                    <a:pt x="5" y="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98" name="Freeform 628">
              <a:extLst>
                <a:ext uri="{FF2B5EF4-FFF2-40B4-BE49-F238E27FC236}">
                  <a16:creationId xmlns:a16="http://schemas.microsoft.com/office/drawing/2014/main" id="{36291338-5E19-4917-AC61-EBEBAC5F6B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688" y="5586413"/>
              <a:ext cx="36513" cy="19050"/>
            </a:xfrm>
            <a:custGeom>
              <a:avLst/>
              <a:gdLst>
                <a:gd name="T0" fmla="*/ 18 w 23"/>
                <a:gd name="T1" fmla="*/ 2 h 12"/>
                <a:gd name="T2" fmla="*/ 0 w 23"/>
                <a:gd name="T3" fmla="*/ 0 h 12"/>
                <a:gd name="T4" fmla="*/ 0 w 23"/>
                <a:gd name="T5" fmla="*/ 0 h 12"/>
                <a:gd name="T6" fmla="*/ 18 w 23"/>
                <a:gd name="T7" fmla="*/ 2 h 12"/>
                <a:gd name="T8" fmla="*/ 23 w 23"/>
                <a:gd name="T9" fmla="*/ 12 h 12"/>
                <a:gd name="T10" fmla="*/ 23 w 23"/>
                <a:gd name="T11" fmla="*/ 12 h 12"/>
                <a:gd name="T12" fmla="*/ 18 w 23"/>
                <a:gd name="T13" fmla="*/ 2 h 12"/>
                <a:gd name="T14" fmla="*/ 18 w 23"/>
                <a:gd name="T1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12">
                  <a:moveTo>
                    <a:pt x="18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8" y="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18" y="2"/>
                  </a:lnTo>
                  <a:lnTo>
                    <a:pt x="18" y="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99" name="Freeform 629">
              <a:extLst>
                <a:ext uri="{FF2B5EF4-FFF2-40B4-BE49-F238E27FC236}">
                  <a16:creationId xmlns:a16="http://schemas.microsoft.com/office/drawing/2014/main" id="{08045302-227A-4F19-90B3-B3FA104D2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9000" y="4887913"/>
              <a:ext cx="85725" cy="30163"/>
            </a:xfrm>
            <a:custGeom>
              <a:avLst/>
              <a:gdLst>
                <a:gd name="T0" fmla="*/ 30 w 54"/>
                <a:gd name="T1" fmla="*/ 7 h 19"/>
                <a:gd name="T2" fmla="*/ 28 w 54"/>
                <a:gd name="T3" fmla="*/ 19 h 19"/>
                <a:gd name="T4" fmla="*/ 0 w 54"/>
                <a:gd name="T5" fmla="*/ 0 h 19"/>
                <a:gd name="T6" fmla="*/ 0 w 54"/>
                <a:gd name="T7" fmla="*/ 0 h 19"/>
                <a:gd name="T8" fmla="*/ 28 w 54"/>
                <a:gd name="T9" fmla="*/ 19 h 19"/>
                <a:gd name="T10" fmla="*/ 30 w 54"/>
                <a:gd name="T11" fmla="*/ 7 h 19"/>
                <a:gd name="T12" fmla="*/ 38 w 54"/>
                <a:gd name="T13" fmla="*/ 14 h 19"/>
                <a:gd name="T14" fmla="*/ 54 w 54"/>
                <a:gd name="T15" fmla="*/ 3 h 19"/>
                <a:gd name="T16" fmla="*/ 38 w 54"/>
                <a:gd name="T17" fmla="*/ 14 h 19"/>
                <a:gd name="T18" fmla="*/ 30 w 54"/>
                <a:gd name="T1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4" h="19">
                  <a:moveTo>
                    <a:pt x="30" y="7"/>
                  </a:moveTo>
                  <a:lnTo>
                    <a:pt x="28" y="19"/>
                  </a:lnTo>
                  <a:lnTo>
                    <a:pt x="0" y="0"/>
                  </a:lnTo>
                  <a:lnTo>
                    <a:pt x="0" y="0"/>
                  </a:lnTo>
                  <a:lnTo>
                    <a:pt x="28" y="19"/>
                  </a:lnTo>
                  <a:lnTo>
                    <a:pt x="30" y="7"/>
                  </a:lnTo>
                  <a:lnTo>
                    <a:pt x="38" y="14"/>
                  </a:lnTo>
                  <a:lnTo>
                    <a:pt x="54" y="3"/>
                  </a:lnTo>
                  <a:lnTo>
                    <a:pt x="38" y="14"/>
                  </a:lnTo>
                  <a:lnTo>
                    <a:pt x="30" y="7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00" name="Freeform 630">
              <a:extLst>
                <a:ext uri="{FF2B5EF4-FFF2-40B4-BE49-F238E27FC236}">
                  <a16:creationId xmlns:a16="http://schemas.microsoft.com/office/drawing/2014/main" id="{A2032532-AE22-4A6B-A06F-99C133FD3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1050" y="5597526"/>
              <a:ext cx="9525" cy="6350"/>
            </a:xfrm>
            <a:custGeom>
              <a:avLst/>
              <a:gdLst>
                <a:gd name="T0" fmla="*/ 0 w 6"/>
                <a:gd name="T1" fmla="*/ 0 h 4"/>
                <a:gd name="T2" fmla="*/ 6 w 6"/>
                <a:gd name="T3" fmla="*/ 4 h 4"/>
                <a:gd name="T4" fmla="*/ 6 w 6"/>
                <a:gd name="T5" fmla="*/ 4 h 4"/>
                <a:gd name="T6" fmla="*/ 0 w 6"/>
                <a:gd name="T7" fmla="*/ 0 h 4"/>
                <a:gd name="T8" fmla="*/ 0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6" y="4"/>
                  </a:lnTo>
                  <a:lnTo>
                    <a:pt x="6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01" name="Freeform 631">
              <a:extLst>
                <a:ext uri="{FF2B5EF4-FFF2-40B4-BE49-F238E27FC236}">
                  <a16:creationId xmlns:a16="http://schemas.microsoft.com/office/drawing/2014/main" id="{2545855C-2D59-404C-A671-8D79B453FC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1713" y="4718051"/>
              <a:ext cx="15875" cy="6350"/>
            </a:xfrm>
            <a:custGeom>
              <a:avLst/>
              <a:gdLst>
                <a:gd name="T0" fmla="*/ 10 w 10"/>
                <a:gd name="T1" fmla="*/ 4 h 4"/>
                <a:gd name="T2" fmla="*/ 0 w 10"/>
                <a:gd name="T3" fmla="*/ 0 h 4"/>
                <a:gd name="T4" fmla="*/ 0 w 10"/>
                <a:gd name="T5" fmla="*/ 0 h 4"/>
                <a:gd name="T6" fmla="*/ 10 w 10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4">
                  <a:moveTo>
                    <a:pt x="10" y="4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02" name="Freeform 632">
              <a:extLst>
                <a:ext uri="{FF2B5EF4-FFF2-40B4-BE49-F238E27FC236}">
                  <a16:creationId xmlns:a16="http://schemas.microsoft.com/office/drawing/2014/main" id="{31263EF2-D163-4900-ABA5-6F1956FAD8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150" y="5229226"/>
              <a:ext cx="20638" cy="3175"/>
            </a:xfrm>
            <a:custGeom>
              <a:avLst/>
              <a:gdLst>
                <a:gd name="T0" fmla="*/ 0 w 13"/>
                <a:gd name="T1" fmla="*/ 2 h 2"/>
                <a:gd name="T2" fmla="*/ 13 w 13"/>
                <a:gd name="T3" fmla="*/ 0 h 2"/>
                <a:gd name="T4" fmla="*/ 13 w 13"/>
                <a:gd name="T5" fmla="*/ 0 h 2"/>
                <a:gd name="T6" fmla="*/ 0 w 1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">
                  <a:moveTo>
                    <a:pt x="0" y="2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03" name="Freeform 633">
              <a:extLst>
                <a:ext uri="{FF2B5EF4-FFF2-40B4-BE49-F238E27FC236}">
                  <a16:creationId xmlns:a16="http://schemas.microsoft.com/office/drawing/2014/main" id="{4E6F562D-F508-4167-9199-AB4623FF1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600" y="4664076"/>
              <a:ext cx="14288" cy="38100"/>
            </a:xfrm>
            <a:custGeom>
              <a:avLst/>
              <a:gdLst>
                <a:gd name="T0" fmla="*/ 9 w 9"/>
                <a:gd name="T1" fmla="*/ 15 h 24"/>
                <a:gd name="T2" fmla="*/ 0 w 9"/>
                <a:gd name="T3" fmla="*/ 21 h 24"/>
                <a:gd name="T4" fmla="*/ 0 w 9"/>
                <a:gd name="T5" fmla="*/ 24 h 24"/>
                <a:gd name="T6" fmla="*/ 0 w 9"/>
                <a:gd name="T7" fmla="*/ 21 h 24"/>
                <a:gd name="T8" fmla="*/ 9 w 9"/>
                <a:gd name="T9" fmla="*/ 15 h 24"/>
                <a:gd name="T10" fmla="*/ 4 w 9"/>
                <a:gd name="T11" fmla="*/ 0 h 24"/>
                <a:gd name="T12" fmla="*/ 4 w 9"/>
                <a:gd name="T13" fmla="*/ 0 h 24"/>
                <a:gd name="T14" fmla="*/ 9 w 9"/>
                <a:gd name="T15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24">
                  <a:moveTo>
                    <a:pt x="9" y="15"/>
                  </a:moveTo>
                  <a:lnTo>
                    <a:pt x="0" y="21"/>
                  </a:lnTo>
                  <a:lnTo>
                    <a:pt x="0" y="24"/>
                  </a:lnTo>
                  <a:lnTo>
                    <a:pt x="0" y="21"/>
                  </a:lnTo>
                  <a:lnTo>
                    <a:pt x="9" y="15"/>
                  </a:lnTo>
                  <a:lnTo>
                    <a:pt x="4" y="0"/>
                  </a:lnTo>
                  <a:lnTo>
                    <a:pt x="4" y="0"/>
                  </a:lnTo>
                  <a:lnTo>
                    <a:pt x="9" y="1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04" name="Freeform 634">
              <a:extLst>
                <a:ext uri="{FF2B5EF4-FFF2-40B4-BE49-F238E27FC236}">
                  <a16:creationId xmlns:a16="http://schemas.microsoft.com/office/drawing/2014/main" id="{E1765BF8-625B-46FF-9865-7EB24D5D2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0" y="4579938"/>
              <a:ext cx="41275" cy="80963"/>
            </a:xfrm>
            <a:custGeom>
              <a:avLst/>
              <a:gdLst>
                <a:gd name="T0" fmla="*/ 23 w 26"/>
                <a:gd name="T1" fmla="*/ 22 h 51"/>
                <a:gd name="T2" fmla="*/ 17 w 26"/>
                <a:gd name="T3" fmla="*/ 51 h 51"/>
                <a:gd name="T4" fmla="*/ 0 w 26"/>
                <a:gd name="T5" fmla="*/ 51 h 51"/>
                <a:gd name="T6" fmla="*/ 17 w 26"/>
                <a:gd name="T7" fmla="*/ 51 h 51"/>
                <a:gd name="T8" fmla="*/ 23 w 26"/>
                <a:gd name="T9" fmla="*/ 22 h 51"/>
                <a:gd name="T10" fmla="*/ 24 w 26"/>
                <a:gd name="T11" fmla="*/ 7 h 51"/>
                <a:gd name="T12" fmla="*/ 26 w 26"/>
                <a:gd name="T13" fmla="*/ 0 h 51"/>
                <a:gd name="T14" fmla="*/ 24 w 26"/>
                <a:gd name="T15" fmla="*/ 7 h 51"/>
                <a:gd name="T16" fmla="*/ 23 w 26"/>
                <a:gd name="T17" fmla="*/ 2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1">
                  <a:moveTo>
                    <a:pt x="23" y="22"/>
                  </a:moveTo>
                  <a:lnTo>
                    <a:pt x="17" y="51"/>
                  </a:lnTo>
                  <a:lnTo>
                    <a:pt x="0" y="51"/>
                  </a:lnTo>
                  <a:lnTo>
                    <a:pt x="17" y="51"/>
                  </a:lnTo>
                  <a:lnTo>
                    <a:pt x="23" y="22"/>
                  </a:lnTo>
                  <a:lnTo>
                    <a:pt x="24" y="7"/>
                  </a:lnTo>
                  <a:lnTo>
                    <a:pt x="26" y="0"/>
                  </a:lnTo>
                  <a:lnTo>
                    <a:pt x="24" y="7"/>
                  </a:lnTo>
                  <a:lnTo>
                    <a:pt x="23" y="2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05" name="Freeform 635">
              <a:extLst>
                <a:ext uri="{FF2B5EF4-FFF2-40B4-BE49-F238E27FC236}">
                  <a16:creationId xmlns:a16="http://schemas.microsoft.com/office/drawing/2014/main" id="{5E959A48-5E15-4730-AF15-F075FD1116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4716463"/>
              <a:ext cx="15875" cy="76200"/>
            </a:xfrm>
            <a:custGeom>
              <a:avLst/>
              <a:gdLst>
                <a:gd name="T0" fmla="*/ 10 w 10"/>
                <a:gd name="T1" fmla="*/ 43 h 48"/>
                <a:gd name="T2" fmla="*/ 1 w 10"/>
                <a:gd name="T3" fmla="*/ 48 h 48"/>
                <a:gd name="T4" fmla="*/ 10 w 10"/>
                <a:gd name="T5" fmla="*/ 43 h 48"/>
                <a:gd name="T6" fmla="*/ 8 w 10"/>
                <a:gd name="T7" fmla="*/ 15 h 48"/>
                <a:gd name="T8" fmla="*/ 0 w 10"/>
                <a:gd name="T9" fmla="*/ 0 h 48"/>
                <a:gd name="T10" fmla="*/ 0 w 10"/>
                <a:gd name="T11" fmla="*/ 0 h 48"/>
                <a:gd name="T12" fmla="*/ 8 w 10"/>
                <a:gd name="T13" fmla="*/ 15 h 48"/>
                <a:gd name="T14" fmla="*/ 10 w 10"/>
                <a:gd name="T15" fmla="*/ 4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48">
                  <a:moveTo>
                    <a:pt x="10" y="43"/>
                  </a:moveTo>
                  <a:lnTo>
                    <a:pt x="1" y="48"/>
                  </a:lnTo>
                  <a:lnTo>
                    <a:pt x="10" y="43"/>
                  </a:lnTo>
                  <a:lnTo>
                    <a:pt x="8" y="15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15"/>
                  </a:lnTo>
                  <a:lnTo>
                    <a:pt x="10" y="4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06" name="Freeform 636">
              <a:extLst>
                <a:ext uri="{FF2B5EF4-FFF2-40B4-BE49-F238E27FC236}">
                  <a16:creationId xmlns:a16="http://schemas.microsoft.com/office/drawing/2014/main" id="{E48419F5-8EF4-4D86-961F-BE2786D12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888" y="4852988"/>
              <a:ext cx="12700" cy="11113"/>
            </a:xfrm>
            <a:custGeom>
              <a:avLst/>
              <a:gdLst>
                <a:gd name="T0" fmla="*/ 8 w 8"/>
                <a:gd name="T1" fmla="*/ 7 h 7"/>
                <a:gd name="T2" fmla="*/ 8 w 8"/>
                <a:gd name="T3" fmla="*/ 7 h 7"/>
                <a:gd name="T4" fmla="*/ 0 w 8"/>
                <a:gd name="T5" fmla="*/ 0 h 7"/>
                <a:gd name="T6" fmla="*/ 8 w 8"/>
                <a:gd name="T7" fmla="*/ 7 h 7"/>
                <a:gd name="T8" fmla="*/ 8 w 8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7">
                  <a:moveTo>
                    <a:pt x="8" y="7"/>
                  </a:moveTo>
                  <a:lnTo>
                    <a:pt x="8" y="7"/>
                  </a:lnTo>
                  <a:lnTo>
                    <a:pt x="0" y="0"/>
                  </a:lnTo>
                  <a:lnTo>
                    <a:pt x="8" y="7"/>
                  </a:lnTo>
                  <a:lnTo>
                    <a:pt x="8" y="7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07" name="Freeform 637">
              <a:extLst>
                <a:ext uri="{FF2B5EF4-FFF2-40B4-BE49-F238E27FC236}">
                  <a16:creationId xmlns:a16="http://schemas.microsoft.com/office/drawing/2014/main" id="{0F6C2131-9D57-4DEE-8C63-A296212B5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2138" y="2479676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2 h 2"/>
                <a:gd name="T4" fmla="*/ 4 w 4"/>
                <a:gd name="T5" fmla="*/ 0 h 2"/>
                <a:gd name="T6" fmla="*/ 4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08" name="Freeform 638">
              <a:extLst>
                <a:ext uri="{FF2B5EF4-FFF2-40B4-BE49-F238E27FC236}">
                  <a16:creationId xmlns:a16="http://schemas.microsoft.com/office/drawing/2014/main" id="{D05E7AAC-0442-4815-85BA-59944455D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950" y="4800601"/>
              <a:ext cx="39688" cy="34925"/>
            </a:xfrm>
            <a:custGeom>
              <a:avLst/>
              <a:gdLst>
                <a:gd name="T0" fmla="*/ 6 w 25"/>
                <a:gd name="T1" fmla="*/ 14 h 22"/>
                <a:gd name="T2" fmla="*/ 0 w 25"/>
                <a:gd name="T3" fmla="*/ 22 h 22"/>
                <a:gd name="T4" fmla="*/ 6 w 25"/>
                <a:gd name="T5" fmla="*/ 14 h 22"/>
                <a:gd name="T6" fmla="*/ 19 w 25"/>
                <a:gd name="T7" fmla="*/ 12 h 22"/>
                <a:gd name="T8" fmla="*/ 25 w 25"/>
                <a:gd name="T9" fmla="*/ 0 h 22"/>
                <a:gd name="T10" fmla="*/ 19 w 25"/>
                <a:gd name="T11" fmla="*/ 12 h 22"/>
                <a:gd name="T12" fmla="*/ 6 w 25"/>
                <a:gd name="T13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2">
                  <a:moveTo>
                    <a:pt x="6" y="14"/>
                  </a:moveTo>
                  <a:lnTo>
                    <a:pt x="0" y="22"/>
                  </a:lnTo>
                  <a:lnTo>
                    <a:pt x="6" y="14"/>
                  </a:lnTo>
                  <a:lnTo>
                    <a:pt x="19" y="12"/>
                  </a:lnTo>
                  <a:lnTo>
                    <a:pt x="25" y="0"/>
                  </a:lnTo>
                  <a:lnTo>
                    <a:pt x="19" y="12"/>
                  </a:lnTo>
                  <a:lnTo>
                    <a:pt x="6" y="1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09" name="Freeform 639">
              <a:extLst>
                <a:ext uri="{FF2B5EF4-FFF2-40B4-BE49-F238E27FC236}">
                  <a16:creationId xmlns:a16="http://schemas.microsoft.com/office/drawing/2014/main" id="{BF686C75-F884-472E-A477-8A4B26A71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9025" y="6413501"/>
              <a:ext cx="396875" cy="287338"/>
            </a:xfrm>
            <a:custGeom>
              <a:avLst/>
              <a:gdLst>
                <a:gd name="T0" fmla="*/ 235 w 250"/>
                <a:gd name="T1" fmla="*/ 4 h 181"/>
                <a:gd name="T2" fmla="*/ 226 w 250"/>
                <a:gd name="T3" fmla="*/ 9 h 181"/>
                <a:gd name="T4" fmla="*/ 219 w 250"/>
                <a:gd name="T5" fmla="*/ 11 h 181"/>
                <a:gd name="T6" fmla="*/ 205 w 250"/>
                <a:gd name="T7" fmla="*/ 21 h 181"/>
                <a:gd name="T8" fmla="*/ 205 w 250"/>
                <a:gd name="T9" fmla="*/ 26 h 181"/>
                <a:gd name="T10" fmla="*/ 190 w 250"/>
                <a:gd name="T11" fmla="*/ 38 h 181"/>
                <a:gd name="T12" fmla="*/ 176 w 250"/>
                <a:gd name="T13" fmla="*/ 50 h 181"/>
                <a:gd name="T14" fmla="*/ 166 w 250"/>
                <a:gd name="T15" fmla="*/ 55 h 181"/>
                <a:gd name="T16" fmla="*/ 152 w 250"/>
                <a:gd name="T17" fmla="*/ 52 h 181"/>
                <a:gd name="T18" fmla="*/ 147 w 250"/>
                <a:gd name="T19" fmla="*/ 47 h 181"/>
                <a:gd name="T20" fmla="*/ 135 w 250"/>
                <a:gd name="T21" fmla="*/ 49 h 181"/>
                <a:gd name="T22" fmla="*/ 116 w 250"/>
                <a:gd name="T23" fmla="*/ 47 h 181"/>
                <a:gd name="T24" fmla="*/ 107 w 250"/>
                <a:gd name="T25" fmla="*/ 42 h 181"/>
                <a:gd name="T26" fmla="*/ 99 w 250"/>
                <a:gd name="T27" fmla="*/ 40 h 181"/>
                <a:gd name="T28" fmla="*/ 90 w 250"/>
                <a:gd name="T29" fmla="*/ 42 h 181"/>
                <a:gd name="T30" fmla="*/ 81 w 250"/>
                <a:gd name="T31" fmla="*/ 35 h 181"/>
                <a:gd name="T32" fmla="*/ 69 w 250"/>
                <a:gd name="T33" fmla="*/ 30 h 181"/>
                <a:gd name="T34" fmla="*/ 42 w 250"/>
                <a:gd name="T35" fmla="*/ 31 h 181"/>
                <a:gd name="T36" fmla="*/ 43 w 250"/>
                <a:gd name="T37" fmla="*/ 40 h 181"/>
                <a:gd name="T38" fmla="*/ 42 w 250"/>
                <a:gd name="T39" fmla="*/ 45 h 181"/>
                <a:gd name="T40" fmla="*/ 19 w 250"/>
                <a:gd name="T41" fmla="*/ 57 h 181"/>
                <a:gd name="T42" fmla="*/ 4 w 250"/>
                <a:gd name="T43" fmla="*/ 66 h 181"/>
                <a:gd name="T44" fmla="*/ 0 w 250"/>
                <a:gd name="T45" fmla="*/ 80 h 181"/>
                <a:gd name="T46" fmla="*/ 6 w 250"/>
                <a:gd name="T47" fmla="*/ 92 h 181"/>
                <a:gd name="T48" fmla="*/ 30 w 250"/>
                <a:gd name="T49" fmla="*/ 104 h 181"/>
                <a:gd name="T50" fmla="*/ 31 w 250"/>
                <a:gd name="T51" fmla="*/ 116 h 181"/>
                <a:gd name="T52" fmla="*/ 21 w 250"/>
                <a:gd name="T53" fmla="*/ 129 h 181"/>
                <a:gd name="T54" fmla="*/ 26 w 250"/>
                <a:gd name="T55" fmla="*/ 141 h 181"/>
                <a:gd name="T56" fmla="*/ 38 w 250"/>
                <a:gd name="T57" fmla="*/ 152 h 181"/>
                <a:gd name="T58" fmla="*/ 38 w 250"/>
                <a:gd name="T59" fmla="*/ 159 h 181"/>
                <a:gd name="T60" fmla="*/ 42 w 250"/>
                <a:gd name="T61" fmla="*/ 178 h 181"/>
                <a:gd name="T62" fmla="*/ 250 w 250"/>
                <a:gd name="T63" fmla="*/ 181 h 181"/>
                <a:gd name="T64" fmla="*/ 245 w 250"/>
                <a:gd name="T65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0" h="181">
                  <a:moveTo>
                    <a:pt x="238" y="2"/>
                  </a:moveTo>
                  <a:lnTo>
                    <a:pt x="235" y="4"/>
                  </a:lnTo>
                  <a:lnTo>
                    <a:pt x="233" y="4"/>
                  </a:lnTo>
                  <a:lnTo>
                    <a:pt x="226" y="9"/>
                  </a:lnTo>
                  <a:lnTo>
                    <a:pt x="221" y="7"/>
                  </a:lnTo>
                  <a:lnTo>
                    <a:pt x="219" y="11"/>
                  </a:lnTo>
                  <a:lnTo>
                    <a:pt x="209" y="18"/>
                  </a:lnTo>
                  <a:lnTo>
                    <a:pt x="205" y="21"/>
                  </a:lnTo>
                  <a:lnTo>
                    <a:pt x="204" y="24"/>
                  </a:lnTo>
                  <a:lnTo>
                    <a:pt x="205" y="26"/>
                  </a:lnTo>
                  <a:lnTo>
                    <a:pt x="204" y="31"/>
                  </a:lnTo>
                  <a:lnTo>
                    <a:pt x="190" y="38"/>
                  </a:lnTo>
                  <a:lnTo>
                    <a:pt x="185" y="43"/>
                  </a:lnTo>
                  <a:lnTo>
                    <a:pt x="176" y="50"/>
                  </a:lnTo>
                  <a:lnTo>
                    <a:pt x="169" y="55"/>
                  </a:lnTo>
                  <a:lnTo>
                    <a:pt x="166" y="55"/>
                  </a:lnTo>
                  <a:lnTo>
                    <a:pt x="155" y="54"/>
                  </a:lnTo>
                  <a:lnTo>
                    <a:pt x="152" y="52"/>
                  </a:lnTo>
                  <a:lnTo>
                    <a:pt x="150" y="47"/>
                  </a:lnTo>
                  <a:lnTo>
                    <a:pt x="147" y="47"/>
                  </a:lnTo>
                  <a:lnTo>
                    <a:pt x="138" y="49"/>
                  </a:lnTo>
                  <a:lnTo>
                    <a:pt x="135" y="49"/>
                  </a:lnTo>
                  <a:lnTo>
                    <a:pt x="135" y="47"/>
                  </a:lnTo>
                  <a:lnTo>
                    <a:pt x="116" y="47"/>
                  </a:lnTo>
                  <a:lnTo>
                    <a:pt x="109" y="45"/>
                  </a:lnTo>
                  <a:lnTo>
                    <a:pt x="107" y="42"/>
                  </a:lnTo>
                  <a:lnTo>
                    <a:pt x="105" y="40"/>
                  </a:lnTo>
                  <a:lnTo>
                    <a:pt x="99" y="40"/>
                  </a:lnTo>
                  <a:lnTo>
                    <a:pt x="92" y="40"/>
                  </a:lnTo>
                  <a:lnTo>
                    <a:pt x="90" y="42"/>
                  </a:lnTo>
                  <a:lnTo>
                    <a:pt x="86" y="40"/>
                  </a:lnTo>
                  <a:lnTo>
                    <a:pt x="81" y="35"/>
                  </a:lnTo>
                  <a:lnTo>
                    <a:pt x="73" y="30"/>
                  </a:lnTo>
                  <a:lnTo>
                    <a:pt x="69" y="30"/>
                  </a:lnTo>
                  <a:lnTo>
                    <a:pt x="59" y="30"/>
                  </a:lnTo>
                  <a:lnTo>
                    <a:pt x="42" y="31"/>
                  </a:lnTo>
                  <a:lnTo>
                    <a:pt x="43" y="35"/>
                  </a:lnTo>
                  <a:lnTo>
                    <a:pt x="43" y="40"/>
                  </a:lnTo>
                  <a:lnTo>
                    <a:pt x="43" y="42"/>
                  </a:lnTo>
                  <a:lnTo>
                    <a:pt x="42" y="45"/>
                  </a:lnTo>
                  <a:lnTo>
                    <a:pt x="30" y="50"/>
                  </a:lnTo>
                  <a:lnTo>
                    <a:pt x="19" y="57"/>
                  </a:lnTo>
                  <a:lnTo>
                    <a:pt x="11" y="61"/>
                  </a:lnTo>
                  <a:lnTo>
                    <a:pt x="4" y="66"/>
                  </a:lnTo>
                  <a:lnTo>
                    <a:pt x="2" y="71"/>
                  </a:lnTo>
                  <a:lnTo>
                    <a:pt x="0" y="80"/>
                  </a:lnTo>
                  <a:lnTo>
                    <a:pt x="0" y="85"/>
                  </a:lnTo>
                  <a:lnTo>
                    <a:pt x="6" y="92"/>
                  </a:lnTo>
                  <a:lnTo>
                    <a:pt x="16" y="95"/>
                  </a:lnTo>
                  <a:lnTo>
                    <a:pt x="30" y="104"/>
                  </a:lnTo>
                  <a:lnTo>
                    <a:pt x="33" y="112"/>
                  </a:lnTo>
                  <a:lnTo>
                    <a:pt x="31" y="116"/>
                  </a:lnTo>
                  <a:lnTo>
                    <a:pt x="25" y="124"/>
                  </a:lnTo>
                  <a:lnTo>
                    <a:pt x="21" y="129"/>
                  </a:lnTo>
                  <a:lnTo>
                    <a:pt x="21" y="133"/>
                  </a:lnTo>
                  <a:lnTo>
                    <a:pt x="26" y="141"/>
                  </a:lnTo>
                  <a:lnTo>
                    <a:pt x="33" y="147"/>
                  </a:lnTo>
                  <a:lnTo>
                    <a:pt x="38" y="152"/>
                  </a:lnTo>
                  <a:lnTo>
                    <a:pt x="40" y="155"/>
                  </a:lnTo>
                  <a:lnTo>
                    <a:pt x="38" y="159"/>
                  </a:lnTo>
                  <a:lnTo>
                    <a:pt x="38" y="172"/>
                  </a:lnTo>
                  <a:lnTo>
                    <a:pt x="42" y="178"/>
                  </a:lnTo>
                  <a:lnTo>
                    <a:pt x="43" y="181"/>
                  </a:lnTo>
                  <a:lnTo>
                    <a:pt x="250" y="181"/>
                  </a:lnTo>
                  <a:lnTo>
                    <a:pt x="250" y="2"/>
                  </a:lnTo>
                  <a:lnTo>
                    <a:pt x="245" y="0"/>
                  </a:lnTo>
                  <a:lnTo>
                    <a:pt x="238" y="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0" name="Freeform 640">
              <a:extLst>
                <a:ext uri="{FF2B5EF4-FFF2-40B4-BE49-F238E27FC236}">
                  <a16:creationId xmlns:a16="http://schemas.microsoft.com/office/drawing/2014/main" id="{11DFB969-29F9-4842-921B-DDC167B33A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8150" y="5351463"/>
              <a:ext cx="28575" cy="14288"/>
            </a:xfrm>
            <a:custGeom>
              <a:avLst/>
              <a:gdLst>
                <a:gd name="T0" fmla="*/ 0 w 18"/>
                <a:gd name="T1" fmla="*/ 0 h 9"/>
                <a:gd name="T2" fmla="*/ 0 w 18"/>
                <a:gd name="T3" fmla="*/ 0 h 9"/>
                <a:gd name="T4" fmla="*/ 14 w 18"/>
                <a:gd name="T5" fmla="*/ 2 h 9"/>
                <a:gd name="T6" fmla="*/ 18 w 18"/>
                <a:gd name="T7" fmla="*/ 9 h 9"/>
                <a:gd name="T8" fmla="*/ 18 w 18"/>
                <a:gd name="T9" fmla="*/ 9 h 9"/>
                <a:gd name="T10" fmla="*/ 14 w 18"/>
                <a:gd name="T11" fmla="*/ 2 h 9"/>
                <a:gd name="T12" fmla="*/ 0 w 1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9">
                  <a:moveTo>
                    <a:pt x="0" y="0"/>
                  </a:moveTo>
                  <a:lnTo>
                    <a:pt x="0" y="0"/>
                  </a:lnTo>
                  <a:lnTo>
                    <a:pt x="14" y="2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4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1" name="Freeform 641">
              <a:extLst>
                <a:ext uri="{FF2B5EF4-FFF2-40B4-BE49-F238E27FC236}">
                  <a16:creationId xmlns:a16="http://schemas.microsoft.com/office/drawing/2014/main" id="{25AE346F-B496-4CDF-8BFC-7FA098AE09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8938" y="5302251"/>
              <a:ext cx="41275" cy="63500"/>
            </a:xfrm>
            <a:custGeom>
              <a:avLst/>
              <a:gdLst>
                <a:gd name="T0" fmla="*/ 25 w 26"/>
                <a:gd name="T1" fmla="*/ 16 h 40"/>
                <a:gd name="T2" fmla="*/ 14 w 26"/>
                <a:gd name="T3" fmla="*/ 9 h 40"/>
                <a:gd name="T4" fmla="*/ 4 w 26"/>
                <a:gd name="T5" fmla="*/ 7 h 40"/>
                <a:gd name="T6" fmla="*/ 7 w 26"/>
                <a:gd name="T7" fmla="*/ 0 h 40"/>
                <a:gd name="T8" fmla="*/ 0 w 26"/>
                <a:gd name="T9" fmla="*/ 0 h 40"/>
                <a:gd name="T10" fmla="*/ 7 w 26"/>
                <a:gd name="T11" fmla="*/ 0 h 40"/>
                <a:gd name="T12" fmla="*/ 4 w 26"/>
                <a:gd name="T13" fmla="*/ 7 h 40"/>
                <a:gd name="T14" fmla="*/ 14 w 26"/>
                <a:gd name="T15" fmla="*/ 9 h 40"/>
                <a:gd name="T16" fmla="*/ 25 w 26"/>
                <a:gd name="T17" fmla="*/ 16 h 40"/>
                <a:gd name="T18" fmla="*/ 21 w 26"/>
                <a:gd name="T19" fmla="*/ 31 h 40"/>
                <a:gd name="T20" fmla="*/ 26 w 26"/>
                <a:gd name="T21" fmla="*/ 40 h 40"/>
                <a:gd name="T22" fmla="*/ 26 w 26"/>
                <a:gd name="T23" fmla="*/ 40 h 40"/>
                <a:gd name="T24" fmla="*/ 21 w 26"/>
                <a:gd name="T25" fmla="*/ 31 h 40"/>
                <a:gd name="T26" fmla="*/ 25 w 26"/>
                <a:gd name="T27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40">
                  <a:moveTo>
                    <a:pt x="25" y="16"/>
                  </a:moveTo>
                  <a:lnTo>
                    <a:pt x="14" y="9"/>
                  </a:lnTo>
                  <a:lnTo>
                    <a:pt x="4" y="7"/>
                  </a:lnTo>
                  <a:lnTo>
                    <a:pt x="7" y="0"/>
                  </a:lnTo>
                  <a:lnTo>
                    <a:pt x="0" y="0"/>
                  </a:lnTo>
                  <a:lnTo>
                    <a:pt x="7" y="0"/>
                  </a:lnTo>
                  <a:lnTo>
                    <a:pt x="4" y="7"/>
                  </a:lnTo>
                  <a:lnTo>
                    <a:pt x="14" y="9"/>
                  </a:lnTo>
                  <a:lnTo>
                    <a:pt x="25" y="16"/>
                  </a:lnTo>
                  <a:lnTo>
                    <a:pt x="21" y="31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1" y="31"/>
                  </a:lnTo>
                  <a:lnTo>
                    <a:pt x="25" y="1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2" name="Freeform 642">
              <a:extLst>
                <a:ext uri="{FF2B5EF4-FFF2-40B4-BE49-F238E27FC236}">
                  <a16:creationId xmlns:a16="http://schemas.microsoft.com/office/drawing/2014/main" id="{B0A43FC1-F7CD-48FC-AC3C-1A5B107DB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5354638"/>
              <a:ext cx="15875" cy="6350"/>
            </a:xfrm>
            <a:custGeom>
              <a:avLst/>
              <a:gdLst>
                <a:gd name="T0" fmla="*/ 0 w 10"/>
                <a:gd name="T1" fmla="*/ 4 h 4"/>
                <a:gd name="T2" fmla="*/ 10 w 10"/>
                <a:gd name="T3" fmla="*/ 0 h 4"/>
                <a:gd name="T4" fmla="*/ 10 w 10"/>
                <a:gd name="T5" fmla="*/ 0 h 4"/>
                <a:gd name="T6" fmla="*/ 0 w 10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4">
                  <a:moveTo>
                    <a:pt x="0" y="4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3" name="Freeform 643">
              <a:extLst>
                <a:ext uri="{FF2B5EF4-FFF2-40B4-BE49-F238E27FC236}">
                  <a16:creationId xmlns:a16="http://schemas.microsoft.com/office/drawing/2014/main" id="{7B00DE93-15FC-4998-8972-7CDC90C93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4963" y="5270501"/>
              <a:ext cx="34925" cy="46038"/>
            </a:xfrm>
            <a:custGeom>
              <a:avLst/>
              <a:gdLst>
                <a:gd name="T0" fmla="*/ 2 w 22"/>
                <a:gd name="T1" fmla="*/ 5 h 29"/>
                <a:gd name="T2" fmla="*/ 0 w 22"/>
                <a:gd name="T3" fmla="*/ 0 h 29"/>
                <a:gd name="T4" fmla="*/ 2 w 22"/>
                <a:gd name="T5" fmla="*/ 5 h 29"/>
                <a:gd name="T6" fmla="*/ 14 w 22"/>
                <a:gd name="T7" fmla="*/ 19 h 29"/>
                <a:gd name="T8" fmla="*/ 22 w 22"/>
                <a:gd name="T9" fmla="*/ 29 h 29"/>
                <a:gd name="T10" fmla="*/ 22 w 22"/>
                <a:gd name="T11" fmla="*/ 29 h 29"/>
                <a:gd name="T12" fmla="*/ 14 w 22"/>
                <a:gd name="T13" fmla="*/ 19 h 29"/>
                <a:gd name="T14" fmla="*/ 2 w 22"/>
                <a:gd name="T15" fmla="*/ 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9">
                  <a:moveTo>
                    <a:pt x="2" y="5"/>
                  </a:moveTo>
                  <a:lnTo>
                    <a:pt x="0" y="0"/>
                  </a:lnTo>
                  <a:lnTo>
                    <a:pt x="2" y="5"/>
                  </a:lnTo>
                  <a:lnTo>
                    <a:pt x="14" y="1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14" y="19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4" name="Freeform 644">
              <a:extLst>
                <a:ext uri="{FF2B5EF4-FFF2-40B4-BE49-F238E27FC236}">
                  <a16:creationId xmlns:a16="http://schemas.microsoft.com/office/drawing/2014/main" id="{C2693B27-6F4F-4BFC-A946-C53AD34CC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0" y="4337051"/>
              <a:ext cx="25400" cy="12700"/>
            </a:xfrm>
            <a:custGeom>
              <a:avLst/>
              <a:gdLst>
                <a:gd name="T0" fmla="*/ 16 w 16"/>
                <a:gd name="T1" fmla="*/ 0 h 8"/>
                <a:gd name="T2" fmla="*/ 4 w 16"/>
                <a:gd name="T3" fmla="*/ 0 h 8"/>
                <a:gd name="T4" fmla="*/ 0 w 16"/>
                <a:gd name="T5" fmla="*/ 8 h 8"/>
                <a:gd name="T6" fmla="*/ 11 w 16"/>
                <a:gd name="T7" fmla="*/ 8 h 8"/>
                <a:gd name="T8" fmla="*/ 16 w 16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8">
                  <a:moveTo>
                    <a:pt x="16" y="0"/>
                  </a:moveTo>
                  <a:lnTo>
                    <a:pt x="4" y="0"/>
                  </a:lnTo>
                  <a:lnTo>
                    <a:pt x="0" y="8"/>
                  </a:lnTo>
                  <a:lnTo>
                    <a:pt x="11" y="8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5" name="Freeform 645">
              <a:extLst>
                <a:ext uri="{FF2B5EF4-FFF2-40B4-BE49-F238E27FC236}">
                  <a16:creationId xmlns:a16="http://schemas.microsoft.com/office/drawing/2014/main" id="{BD95FA91-04A8-431C-9D4D-3D0A5256A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2800" y="5403851"/>
              <a:ext cx="155575" cy="215900"/>
            </a:xfrm>
            <a:custGeom>
              <a:avLst/>
              <a:gdLst>
                <a:gd name="T0" fmla="*/ 74 w 98"/>
                <a:gd name="T1" fmla="*/ 131 h 136"/>
                <a:gd name="T2" fmla="*/ 74 w 98"/>
                <a:gd name="T3" fmla="*/ 112 h 136"/>
                <a:gd name="T4" fmla="*/ 74 w 98"/>
                <a:gd name="T5" fmla="*/ 112 h 136"/>
                <a:gd name="T6" fmla="*/ 74 w 98"/>
                <a:gd name="T7" fmla="*/ 112 h 136"/>
                <a:gd name="T8" fmla="*/ 81 w 98"/>
                <a:gd name="T9" fmla="*/ 93 h 136"/>
                <a:gd name="T10" fmla="*/ 88 w 98"/>
                <a:gd name="T11" fmla="*/ 90 h 136"/>
                <a:gd name="T12" fmla="*/ 98 w 98"/>
                <a:gd name="T13" fmla="*/ 86 h 136"/>
                <a:gd name="T14" fmla="*/ 95 w 98"/>
                <a:gd name="T15" fmla="*/ 69 h 136"/>
                <a:gd name="T16" fmla="*/ 71 w 98"/>
                <a:gd name="T17" fmla="*/ 64 h 136"/>
                <a:gd name="T18" fmla="*/ 62 w 98"/>
                <a:gd name="T19" fmla="*/ 52 h 136"/>
                <a:gd name="T20" fmla="*/ 55 w 98"/>
                <a:gd name="T21" fmla="*/ 43 h 136"/>
                <a:gd name="T22" fmla="*/ 48 w 98"/>
                <a:gd name="T23" fmla="*/ 24 h 136"/>
                <a:gd name="T24" fmla="*/ 48 w 98"/>
                <a:gd name="T25" fmla="*/ 24 h 136"/>
                <a:gd name="T26" fmla="*/ 48 w 98"/>
                <a:gd name="T27" fmla="*/ 24 h 136"/>
                <a:gd name="T28" fmla="*/ 47 w 98"/>
                <a:gd name="T29" fmla="*/ 7 h 136"/>
                <a:gd name="T30" fmla="*/ 42 w 98"/>
                <a:gd name="T31" fmla="*/ 4 h 136"/>
                <a:gd name="T32" fmla="*/ 26 w 98"/>
                <a:gd name="T33" fmla="*/ 0 h 136"/>
                <a:gd name="T34" fmla="*/ 30 w 98"/>
                <a:gd name="T35" fmla="*/ 10 h 136"/>
                <a:gd name="T36" fmla="*/ 19 w 98"/>
                <a:gd name="T37" fmla="*/ 16 h 136"/>
                <a:gd name="T38" fmla="*/ 17 w 98"/>
                <a:gd name="T39" fmla="*/ 17 h 136"/>
                <a:gd name="T40" fmla="*/ 12 w 98"/>
                <a:gd name="T41" fmla="*/ 24 h 136"/>
                <a:gd name="T42" fmla="*/ 12 w 98"/>
                <a:gd name="T43" fmla="*/ 40 h 136"/>
                <a:gd name="T44" fmla="*/ 7 w 98"/>
                <a:gd name="T45" fmla="*/ 41 h 136"/>
                <a:gd name="T46" fmla="*/ 5 w 98"/>
                <a:gd name="T47" fmla="*/ 41 h 136"/>
                <a:gd name="T48" fmla="*/ 0 w 98"/>
                <a:gd name="T49" fmla="*/ 52 h 136"/>
                <a:gd name="T50" fmla="*/ 4 w 98"/>
                <a:gd name="T51" fmla="*/ 60 h 136"/>
                <a:gd name="T52" fmla="*/ 0 w 98"/>
                <a:gd name="T53" fmla="*/ 71 h 136"/>
                <a:gd name="T54" fmla="*/ 9 w 98"/>
                <a:gd name="T55" fmla="*/ 83 h 136"/>
                <a:gd name="T56" fmla="*/ 19 w 98"/>
                <a:gd name="T57" fmla="*/ 95 h 136"/>
                <a:gd name="T58" fmla="*/ 17 w 98"/>
                <a:gd name="T59" fmla="*/ 108 h 136"/>
                <a:gd name="T60" fmla="*/ 11 w 98"/>
                <a:gd name="T61" fmla="*/ 117 h 136"/>
                <a:gd name="T62" fmla="*/ 11 w 98"/>
                <a:gd name="T63" fmla="*/ 117 h 136"/>
                <a:gd name="T64" fmla="*/ 11 w 98"/>
                <a:gd name="T65" fmla="*/ 117 h 136"/>
                <a:gd name="T66" fmla="*/ 16 w 98"/>
                <a:gd name="T67" fmla="*/ 127 h 136"/>
                <a:gd name="T68" fmla="*/ 26 w 98"/>
                <a:gd name="T69" fmla="*/ 127 h 136"/>
                <a:gd name="T70" fmla="*/ 26 w 98"/>
                <a:gd name="T71" fmla="*/ 127 h 136"/>
                <a:gd name="T72" fmla="*/ 26 w 98"/>
                <a:gd name="T73" fmla="*/ 127 h 136"/>
                <a:gd name="T74" fmla="*/ 31 w 98"/>
                <a:gd name="T75" fmla="*/ 136 h 136"/>
                <a:gd name="T76" fmla="*/ 45 w 98"/>
                <a:gd name="T77" fmla="*/ 134 h 136"/>
                <a:gd name="T78" fmla="*/ 60 w 98"/>
                <a:gd name="T79" fmla="*/ 122 h 136"/>
                <a:gd name="T80" fmla="*/ 60 w 98"/>
                <a:gd name="T81" fmla="*/ 122 h 136"/>
                <a:gd name="T82" fmla="*/ 60 w 98"/>
                <a:gd name="T83" fmla="*/ 122 h 136"/>
                <a:gd name="T84" fmla="*/ 74 w 98"/>
                <a:gd name="T85" fmla="*/ 13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8" h="136">
                  <a:moveTo>
                    <a:pt x="74" y="131"/>
                  </a:moveTo>
                  <a:lnTo>
                    <a:pt x="74" y="112"/>
                  </a:lnTo>
                  <a:lnTo>
                    <a:pt x="74" y="112"/>
                  </a:lnTo>
                  <a:lnTo>
                    <a:pt x="74" y="112"/>
                  </a:lnTo>
                  <a:lnTo>
                    <a:pt x="81" y="93"/>
                  </a:lnTo>
                  <a:lnTo>
                    <a:pt x="88" y="90"/>
                  </a:lnTo>
                  <a:lnTo>
                    <a:pt x="98" y="86"/>
                  </a:lnTo>
                  <a:lnTo>
                    <a:pt x="95" y="69"/>
                  </a:lnTo>
                  <a:lnTo>
                    <a:pt x="71" y="64"/>
                  </a:lnTo>
                  <a:lnTo>
                    <a:pt x="62" y="52"/>
                  </a:lnTo>
                  <a:lnTo>
                    <a:pt x="55" y="43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7" y="7"/>
                  </a:lnTo>
                  <a:lnTo>
                    <a:pt x="42" y="4"/>
                  </a:lnTo>
                  <a:lnTo>
                    <a:pt x="26" y="0"/>
                  </a:lnTo>
                  <a:lnTo>
                    <a:pt x="30" y="10"/>
                  </a:lnTo>
                  <a:lnTo>
                    <a:pt x="19" y="16"/>
                  </a:lnTo>
                  <a:lnTo>
                    <a:pt x="17" y="17"/>
                  </a:lnTo>
                  <a:lnTo>
                    <a:pt x="12" y="24"/>
                  </a:lnTo>
                  <a:lnTo>
                    <a:pt x="12" y="40"/>
                  </a:lnTo>
                  <a:lnTo>
                    <a:pt x="7" y="41"/>
                  </a:lnTo>
                  <a:lnTo>
                    <a:pt x="5" y="41"/>
                  </a:lnTo>
                  <a:lnTo>
                    <a:pt x="0" y="52"/>
                  </a:lnTo>
                  <a:lnTo>
                    <a:pt x="4" y="60"/>
                  </a:lnTo>
                  <a:lnTo>
                    <a:pt x="0" y="71"/>
                  </a:lnTo>
                  <a:lnTo>
                    <a:pt x="9" y="83"/>
                  </a:lnTo>
                  <a:lnTo>
                    <a:pt x="19" y="95"/>
                  </a:lnTo>
                  <a:lnTo>
                    <a:pt x="17" y="108"/>
                  </a:lnTo>
                  <a:lnTo>
                    <a:pt x="11" y="117"/>
                  </a:lnTo>
                  <a:lnTo>
                    <a:pt x="11" y="117"/>
                  </a:lnTo>
                  <a:lnTo>
                    <a:pt x="11" y="117"/>
                  </a:lnTo>
                  <a:lnTo>
                    <a:pt x="16" y="127"/>
                  </a:lnTo>
                  <a:lnTo>
                    <a:pt x="26" y="127"/>
                  </a:lnTo>
                  <a:lnTo>
                    <a:pt x="26" y="127"/>
                  </a:lnTo>
                  <a:lnTo>
                    <a:pt x="26" y="127"/>
                  </a:lnTo>
                  <a:lnTo>
                    <a:pt x="31" y="136"/>
                  </a:lnTo>
                  <a:lnTo>
                    <a:pt x="45" y="134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74" y="131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6" name="Freeform 646">
              <a:extLst>
                <a:ext uri="{FF2B5EF4-FFF2-40B4-BE49-F238E27FC236}">
                  <a16:creationId xmlns:a16="http://schemas.microsoft.com/office/drawing/2014/main" id="{3E9604E9-BC2F-48A2-98FD-CFB8CB035C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4014788"/>
              <a:ext cx="15875" cy="26988"/>
            </a:xfrm>
            <a:custGeom>
              <a:avLst/>
              <a:gdLst>
                <a:gd name="T0" fmla="*/ 0 w 10"/>
                <a:gd name="T1" fmla="*/ 5 h 17"/>
                <a:gd name="T2" fmla="*/ 10 w 10"/>
                <a:gd name="T3" fmla="*/ 17 h 17"/>
                <a:gd name="T4" fmla="*/ 5 w 10"/>
                <a:gd name="T5" fmla="*/ 0 h 17"/>
                <a:gd name="T6" fmla="*/ 0 w 10"/>
                <a:gd name="T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7">
                  <a:moveTo>
                    <a:pt x="0" y="5"/>
                  </a:moveTo>
                  <a:lnTo>
                    <a:pt x="10" y="17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7" name="Freeform 647">
              <a:extLst>
                <a:ext uri="{FF2B5EF4-FFF2-40B4-BE49-F238E27FC236}">
                  <a16:creationId xmlns:a16="http://schemas.microsoft.com/office/drawing/2014/main" id="{9039B146-7B0C-4F6C-8C97-6AC10FFAA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4925" y="3760788"/>
              <a:ext cx="22225" cy="34925"/>
            </a:xfrm>
            <a:custGeom>
              <a:avLst/>
              <a:gdLst>
                <a:gd name="T0" fmla="*/ 5 w 14"/>
                <a:gd name="T1" fmla="*/ 0 h 22"/>
                <a:gd name="T2" fmla="*/ 0 w 14"/>
                <a:gd name="T3" fmla="*/ 5 h 22"/>
                <a:gd name="T4" fmla="*/ 14 w 14"/>
                <a:gd name="T5" fmla="*/ 22 h 22"/>
                <a:gd name="T6" fmla="*/ 14 w 14"/>
                <a:gd name="T7" fmla="*/ 22 h 22"/>
                <a:gd name="T8" fmla="*/ 12 w 14"/>
                <a:gd name="T9" fmla="*/ 17 h 22"/>
                <a:gd name="T10" fmla="*/ 9 w 14"/>
                <a:gd name="T11" fmla="*/ 10 h 22"/>
                <a:gd name="T12" fmla="*/ 5 w 14"/>
                <a:gd name="T13" fmla="*/ 0 h 22"/>
                <a:gd name="T14" fmla="*/ 5 w 14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2">
                  <a:moveTo>
                    <a:pt x="5" y="0"/>
                  </a:moveTo>
                  <a:lnTo>
                    <a:pt x="0" y="5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2" y="17"/>
                  </a:lnTo>
                  <a:lnTo>
                    <a:pt x="9" y="1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8" name="Freeform 648">
              <a:extLst>
                <a:ext uri="{FF2B5EF4-FFF2-40B4-BE49-F238E27FC236}">
                  <a16:creationId xmlns:a16="http://schemas.microsoft.com/office/drawing/2014/main" id="{8A7B589D-C280-4159-A87B-71E972AE9F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5950" y="4492626"/>
              <a:ext cx="38100" cy="57150"/>
            </a:xfrm>
            <a:custGeom>
              <a:avLst/>
              <a:gdLst>
                <a:gd name="T0" fmla="*/ 9 w 24"/>
                <a:gd name="T1" fmla="*/ 17 h 36"/>
                <a:gd name="T2" fmla="*/ 0 w 24"/>
                <a:gd name="T3" fmla="*/ 29 h 36"/>
                <a:gd name="T4" fmla="*/ 5 w 24"/>
                <a:gd name="T5" fmla="*/ 36 h 36"/>
                <a:gd name="T6" fmla="*/ 24 w 24"/>
                <a:gd name="T7" fmla="*/ 22 h 36"/>
                <a:gd name="T8" fmla="*/ 24 w 24"/>
                <a:gd name="T9" fmla="*/ 8 h 36"/>
                <a:gd name="T10" fmla="*/ 16 w 24"/>
                <a:gd name="T11" fmla="*/ 0 h 36"/>
                <a:gd name="T12" fmla="*/ 9 w 24"/>
                <a:gd name="T13" fmla="*/ 1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6">
                  <a:moveTo>
                    <a:pt x="9" y="17"/>
                  </a:moveTo>
                  <a:lnTo>
                    <a:pt x="0" y="29"/>
                  </a:lnTo>
                  <a:lnTo>
                    <a:pt x="5" y="36"/>
                  </a:lnTo>
                  <a:lnTo>
                    <a:pt x="24" y="22"/>
                  </a:lnTo>
                  <a:lnTo>
                    <a:pt x="24" y="8"/>
                  </a:lnTo>
                  <a:lnTo>
                    <a:pt x="16" y="0"/>
                  </a:lnTo>
                  <a:lnTo>
                    <a:pt x="9" y="17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19" name="Freeform 649">
              <a:extLst>
                <a:ext uri="{FF2B5EF4-FFF2-40B4-BE49-F238E27FC236}">
                  <a16:creationId xmlns:a16="http://schemas.microsoft.com/office/drawing/2014/main" id="{976E4DF1-2BEE-4A4B-BA77-E8F71D0B1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4525" y="4456113"/>
              <a:ext cx="46038" cy="33338"/>
            </a:xfrm>
            <a:custGeom>
              <a:avLst/>
              <a:gdLst>
                <a:gd name="T0" fmla="*/ 10 w 29"/>
                <a:gd name="T1" fmla="*/ 21 h 21"/>
                <a:gd name="T2" fmla="*/ 29 w 29"/>
                <a:gd name="T3" fmla="*/ 4 h 21"/>
                <a:gd name="T4" fmla="*/ 20 w 29"/>
                <a:gd name="T5" fmla="*/ 0 h 21"/>
                <a:gd name="T6" fmla="*/ 0 w 29"/>
                <a:gd name="T7" fmla="*/ 16 h 21"/>
                <a:gd name="T8" fmla="*/ 10 w 29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21">
                  <a:moveTo>
                    <a:pt x="10" y="21"/>
                  </a:moveTo>
                  <a:lnTo>
                    <a:pt x="29" y="4"/>
                  </a:lnTo>
                  <a:lnTo>
                    <a:pt x="20" y="0"/>
                  </a:lnTo>
                  <a:lnTo>
                    <a:pt x="0" y="16"/>
                  </a:lnTo>
                  <a:lnTo>
                    <a:pt x="10" y="21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0" name="Freeform 650">
              <a:extLst>
                <a:ext uri="{FF2B5EF4-FFF2-40B4-BE49-F238E27FC236}">
                  <a16:creationId xmlns:a16="http://schemas.microsoft.com/office/drawing/2014/main" id="{51F860A3-701D-45D5-B90A-D261321109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3263" y="4410076"/>
              <a:ext cx="68263" cy="38100"/>
            </a:xfrm>
            <a:custGeom>
              <a:avLst/>
              <a:gdLst>
                <a:gd name="T0" fmla="*/ 4 w 43"/>
                <a:gd name="T1" fmla="*/ 24 h 24"/>
                <a:gd name="T2" fmla="*/ 16 w 43"/>
                <a:gd name="T3" fmla="*/ 19 h 24"/>
                <a:gd name="T4" fmla="*/ 25 w 43"/>
                <a:gd name="T5" fmla="*/ 14 h 24"/>
                <a:gd name="T6" fmla="*/ 43 w 43"/>
                <a:gd name="T7" fmla="*/ 9 h 24"/>
                <a:gd name="T8" fmla="*/ 42 w 43"/>
                <a:gd name="T9" fmla="*/ 0 h 24"/>
                <a:gd name="T10" fmla="*/ 16 w 43"/>
                <a:gd name="T11" fmla="*/ 7 h 24"/>
                <a:gd name="T12" fmla="*/ 9 w 43"/>
                <a:gd name="T13" fmla="*/ 7 h 24"/>
                <a:gd name="T14" fmla="*/ 0 w 43"/>
                <a:gd name="T15" fmla="*/ 14 h 24"/>
                <a:gd name="T16" fmla="*/ 4 w 43"/>
                <a:gd name="T1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24">
                  <a:moveTo>
                    <a:pt x="4" y="24"/>
                  </a:moveTo>
                  <a:lnTo>
                    <a:pt x="16" y="19"/>
                  </a:lnTo>
                  <a:lnTo>
                    <a:pt x="25" y="14"/>
                  </a:lnTo>
                  <a:lnTo>
                    <a:pt x="43" y="9"/>
                  </a:lnTo>
                  <a:lnTo>
                    <a:pt x="42" y="0"/>
                  </a:lnTo>
                  <a:lnTo>
                    <a:pt x="16" y="7"/>
                  </a:lnTo>
                  <a:lnTo>
                    <a:pt x="9" y="7"/>
                  </a:lnTo>
                  <a:lnTo>
                    <a:pt x="0" y="14"/>
                  </a:lnTo>
                  <a:lnTo>
                    <a:pt x="4" y="2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1" name="Freeform 651">
              <a:extLst>
                <a:ext uri="{FF2B5EF4-FFF2-40B4-BE49-F238E27FC236}">
                  <a16:creationId xmlns:a16="http://schemas.microsoft.com/office/drawing/2014/main" id="{8B74E65D-07CE-438A-B15B-5E02C0CD28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3750" y="4402138"/>
              <a:ext cx="55563" cy="15875"/>
            </a:xfrm>
            <a:custGeom>
              <a:avLst/>
              <a:gdLst>
                <a:gd name="T0" fmla="*/ 19 w 35"/>
                <a:gd name="T1" fmla="*/ 10 h 10"/>
                <a:gd name="T2" fmla="*/ 33 w 35"/>
                <a:gd name="T3" fmla="*/ 8 h 10"/>
                <a:gd name="T4" fmla="*/ 35 w 35"/>
                <a:gd name="T5" fmla="*/ 0 h 10"/>
                <a:gd name="T6" fmla="*/ 19 w 35"/>
                <a:gd name="T7" fmla="*/ 2 h 10"/>
                <a:gd name="T8" fmla="*/ 0 w 35"/>
                <a:gd name="T9" fmla="*/ 0 h 10"/>
                <a:gd name="T10" fmla="*/ 2 w 35"/>
                <a:gd name="T11" fmla="*/ 10 h 10"/>
                <a:gd name="T12" fmla="*/ 19 w 35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0">
                  <a:moveTo>
                    <a:pt x="19" y="10"/>
                  </a:moveTo>
                  <a:lnTo>
                    <a:pt x="33" y="8"/>
                  </a:lnTo>
                  <a:lnTo>
                    <a:pt x="35" y="0"/>
                  </a:lnTo>
                  <a:lnTo>
                    <a:pt x="19" y="2"/>
                  </a:lnTo>
                  <a:lnTo>
                    <a:pt x="0" y="0"/>
                  </a:lnTo>
                  <a:lnTo>
                    <a:pt x="2" y="10"/>
                  </a:lnTo>
                  <a:lnTo>
                    <a:pt x="19" y="1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2" name="Freeform 652">
              <a:extLst>
                <a:ext uri="{FF2B5EF4-FFF2-40B4-BE49-F238E27FC236}">
                  <a16:creationId xmlns:a16="http://schemas.microsoft.com/office/drawing/2014/main" id="{54C0C652-217B-4B84-97BD-31B738C862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7413" y="4386263"/>
              <a:ext cx="34925" cy="19050"/>
            </a:xfrm>
            <a:custGeom>
              <a:avLst/>
              <a:gdLst>
                <a:gd name="T0" fmla="*/ 22 w 22"/>
                <a:gd name="T1" fmla="*/ 0 h 12"/>
                <a:gd name="T2" fmla="*/ 0 w 22"/>
                <a:gd name="T3" fmla="*/ 5 h 12"/>
                <a:gd name="T4" fmla="*/ 0 w 22"/>
                <a:gd name="T5" fmla="*/ 12 h 12"/>
                <a:gd name="T6" fmla="*/ 22 w 22"/>
                <a:gd name="T7" fmla="*/ 6 h 12"/>
                <a:gd name="T8" fmla="*/ 22 w 2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2">
                  <a:moveTo>
                    <a:pt x="22" y="0"/>
                  </a:moveTo>
                  <a:lnTo>
                    <a:pt x="0" y="5"/>
                  </a:lnTo>
                  <a:lnTo>
                    <a:pt x="0" y="12"/>
                  </a:lnTo>
                  <a:lnTo>
                    <a:pt x="22" y="6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3" name="Freeform 653">
              <a:extLst>
                <a:ext uri="{FF2B5EF4-FFF2-40B4-BE49-F238E27FC236}">
                  <a16:creationId xmlns:a16="http://schemas.microsoft.com/office/drawing/2014/main" id="{7E00DB01-9375-433E-8C8C-51331038B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3775" y="4357688"/>
              <a:ext cx="19050" cy="14288"/>
            </a:xfrm>
            <a:custGeom>
              <a:avLst/>
              <a:gdLst>
                <a:gd name="T0" fmla="*/ 2 w 12"/>
                <a:gd name="T1" fmla="*/ 0 h 9"/>
                <a:gd name="T2" fmla="*/ 0 w 12"/>
                <a:gd name="T3" fmla="*/ 9 h 9"/>
                <a:gd name="T4" fmla="*/ 12 w 12"/>
                <a:gd name="T5" fmla="*/ 0 h 9"/>
                <a:gd name="T6" fmla="*/ 2 w 12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2" y="0"/>
                  </a:moveTo>
                  <a:lnTo>
                    <a:pt x="0" y="9"/>
                  </a:lnTo>
                  <a:lnTo>
                    <a:pt x="1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4" name="Freeform 654">
              <a:extLst>
                <a:ext uri="{FF2B5EF4-FFF2-40B4-BE49-F238E27FC236}">
                  <a16:creationId xmlns:a16="http://schemas.microsoft.com/office/drawing/2014/main" id="{83731195-3A33-46DF-B330-3B08BDEE3A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413" y="4311651"/>
              <a:ext cx="22225" cy="7938"/>
            </a:xfrm>
            <a:custGeom>
              <a:avLst/>
              <a:gdLst>
                <a:gd name="T0" fmla="*/ 14 w 14"/>
                <a:gd name="T1" fmla="*/ 0 h 5"/>
                <a:gd name="T2" fmla="*/ 0 w 14"/>
                <a:gd name="T3" fmla="*/ 2 h 5"/>
                <a:gd name="T4" fmla="*/ 8 w 14"/>
                <a:gd name="T5" fmla="*/ 5 h 5"/>
                <a:gd name="T6" fmla="*/ 14 w 1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5">
                  <a:moveTo>
                    <a:pt x="14" y="0"/>
                  </a:moveTo>
                  <a:lnTo>
                    <a:pt x="0" y="2"/>
                  </a:lnTo>
                  <a:lnTo>
                    <a:pt x="8" y="5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5" name="Freeform 655">
              <a:extLst>
                <a:ext uri="{FF2B5EF4-FFF2-40B4-BE49-F238E27FC236}">
                  <a16:creationId xmlns:a16="http://schemas.microsoft.com/office/drawing/2014/main" id="{A0CC42CD-780D-4069-84A9-4C8EDEEE13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6338" y="4298951"/>
              <a:ext cx="26988" cy="15875"/>
            </a:xfrm>
            <a:custGeom>
              <a:avLst/>
              <a:gdLst>
                <a:gd name="T0" fmla="*/ 17 w 17"/>
                <a:gd name="T1" fmla="*/ 0 h 10"/>
                <a:gd name="T2" fmla="*/ 0 w 17"/>
                <a:gd name="T3" fmla="*/ 3 h 10"/>
                <a:gd name="T4" fmla="*/ 0 w 17"/>
                <a:gd name="T5" fmla="*/ 10 h 10"/>
                <a:gd name="T6" fmla="*/ 16 w 17"/>
                <a:gd name="T7" fmla="*/ 6 h 10"/>
                <a:gd name="T8" fmla="*/ 17 w 17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0">
                  <a:moveTo>
                    <a:pt x="17" y="0"/>
                  </a:moveTo>
                  <a:lnTo>
                    <a:pt x="0" y="3"/>
                  </a:lnTo>
                  <a:lnTo>
                    <a:pt x="0" y="10"/>
                  </a:lnTo>
                  <a:lnTo>
                    <a:pt x="16" y="6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6" name="Freeform 656">
              <a:extLst>
                <a:ext uri="{FF2B5EF4-FFF2-40B4-BE49-F238E27FC236}">
                  <a16:creationId xmlns:a16="http://schemas.microsoft.com/office/drawing/2014/main" id="{E1351229-7D15-42A7-AB95-88FA1FCD8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1038" y="1978026"/>
              <a:ext cx="120650" cy="225425"/>
            </a:xfrm>
            <a:custGeom>
              <a:avLst/>
              <a:gdLst>
                <a:gd name="T0" fmla="*/ 38 w 76"/>
                <a:gd name="T1" fmla="*/ 31 h 142"/>
                <a:gd name="T2" fmla="*/ 31 w 76"/>
                <a:gd name="T3" fmla="*/ 36 h 142"/>
                <a:gd name="T4" fmla="*/ 24 w 76"/>
                <a:gd name="T5" fmla="*/ 39 h 142"/>
                <a:gd name="T6" fmla="*/ 14 w 76"/>
                <a:gd name="T7" fmla="*/ 39 h 142"/>
                <a:gd name="T8" fmla="*/ 0 w 76"/>
                <a:gd name="T9" fmla="*/ 43 h 142"/>
                <a:gd name="T10" fmla="*/ 2 w 76"/>
                <a:gd name="T11" fmla="*/ 53 h 142"/>
                <a:gd name="T12" fmla="*/ 9 w 76"/>
                <a:gd name="T13" fmla="*/ 58 h 142"/>
                <a:gd name="T14" fmla="*/ 19 w 76"/>
                <a:gd name="T15" fmla="*/ 58 h 142"/>
                <a:gd name="T16" fmla="*/ 19 w 76"/>
                <a:gd name="T17" fmla="*/ 67 h 142"/>
                <a:gd name="T18" fmla="*/ 28 w 76"/>
                <a:gd name="T19" fmla="*/ 72 h 142"/>
                <a:gd name="T20" fmla="*/ 35 w 76"/>
                <a:gd name="T21" fmla="*/ 65 h 142"/>
                <a:gd name="T22" fmla="*/ 43 w 76"/>
                <a:gd name="T23" fmla="*/ 60 h 142"/>
                <a:gd name="T24" fmla="*/ 47 w 76"/>
                <a:gd name="T25" fmla="*/ 86 h 142"/>
                <a:gd name="T26" fmla="*/ 47 w 76"/>
                <a:gd name="T27" fmla="*/ 99 h 142"/>
                <a:gd name="T28" fmla="*/ 43 w 76"/>
                <a:gd name="T29" fmla="*/ 113 h 142"/>
                <a:gd name="T30" fmla="*/ 43 w 76"/>
                <a:gd name="T31" fmla="*/ 120 h 142"/>
                <a:gd name="T32" fmla="*/ 38 w 76"/>
                <a:gd name="T33" fmla="*/ 132 h 142"/>
                <a:gd name="T34" fmla="*/ 47 w 76"/>
                <a:gd name="T35" fmla="*/ 142 h 142"/>
                <a:gd name="T36" fmla="*/ 52 w 76"/>
                <a:gd name="T37" fmla="*/ 122 h 142"/>
                <a:gd name="T38" fmla="*/ 59 w 76"/>
                <a:gd name="T39" fmla="*/ 111 h 142"/>
                <a:gd name="T40" fmla="*/ 61 w 76"/>
                <a:gd name="T41" fmla="*/ 99 h 142"/>
                <a:gd name="T42" fmla="*/ 61 w 76"/>
                <a:gd name="T43" fmla="*/ 86 h 142"/>
                <a:gd name="T44" fmla="*/ 62 w 76"/>
                <a:gd name="T45" fmla="*/ 77 h 142"/>
                <a:gd name="T46" fmla="*/ 71 w 76"/>
                <a:gd name="T47" fmla="*/ 86 h 142"/>
                <a:gd name="T48" fmla="*/ 76 w 76"/>
                <a:gd name="T49" fmla="*/ 77 h 142"/>
                <a:gd name="T50" fmla="*/ 69 w 76"/>
                <a:gd name="T51" fmla="*/ 67 h 142"/>
                <a:gd name="T52" fmla="*/ 59 w 76"/>
                <a:gd name="T53" fmla="*/ 62 h 142"/>
                <a:gd name="T54" fmla="*/ 59 w 76"/>
                <a:gd name="T55" fmla="*/ 53 h 142"/>
                <a:gd name="T56" fmla="*/ 71 w 76"/>
                <a:gd name="T57" fmla="*/ 48 h 142"/>
                <a:gd name="T58" fmla="*/ 73 w 76"/>
                <a:gd name="T59" fmla="*/ 36 h 142"/>
                <a:gd name="T60" fmla="*/ 62 w 76"/>
                <a:gd name="T61" fmla="*/ 36 h 142"/>
                <a:gd name="T62" fmla="*/ 64 w 76"/>
                <a:gd name="T63" fmla="*/ 29 h 142"/>
                <a:gd name="T64" fmla="*/ 76 w 76"/>
                <a:gd name="T65" fmla="*/ 22 h 142"/>
                <a:gd name="T66" fmla="*/ 71 w 76"/>
                <a:gd name="T67" fmla="*/ 15 h 142"/>
                <a:gd name="T68" fmla="*/ 74 w 76"/>
                <a:gd name="T69" fmla="*/ 7 h 142"/>
                <a:gd name="T70" fmla="*/ 64 w 76"/>
                <a:gd name="T71" fmla="*/ 15 h 142"/>
                <a:gd name="T72" fmla="*/ 61 w 76"/>
                <a:gd name="T73" fmla="*/ 10 h 142"/>
                <a:gd name="T74" fmla="*/ 57 w 76"/>
                <a:gd name="T75" fmla="*/ 0 h 142"/>
                <a:gd name="T76" fmla="*/ 50 w 76"/>
                <a:gd name="T77" fmla="*/ 0 h 142"/>
                <a:gd name="T78" fmla="*/ 40 w 76"/>
                <a:gd name="T79" fmla="*/ 20 h 142"/>
                <a:gd name="T80" fmla="*/ 38 w 76"/>
                <a:gd name="T81" fmla="*/ 31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6" h="142">
                  <a:moveTo>
                    <a:pt x="38" y="31"/>
                  </a:moveTo>
                  <a:lnTo>
                    <a:pt x="31" y="36"/>
                  </a:lnTo>
                  <a:lnTo>
                    <a:pt x="24" y="39"/>
                  </a:lnTo>
                  <a:lnTo>
                    <a:pt x="14" y="39"/>
                  </a:lnTo>
                  <a:lnTo>
                    <a:pt x="0" y="43"/>
                  </a:lnTo>
                  <a:lnTo>
                    <a:pt x="2" y="53"/>
                  </a:lnTo>
                  <a:lnTo>
                    <a:pt x="9" y="58"/>
                  </a:lnTo>
                  <a:lnTo>
                    <a:pt x="19" y="58"/>
                  </a:lnTo>
                  <a:lnTo>
                    <a:pt x="19" y="67"/>
                  </a:lnTo>
                  <a:lnTo>
                    <a:pt x="28" y="72"/>
                  </a:lnTo>
                  <a:lnTo>
                    <a:pt x="35" y="65"/>
                  </a:lnTo>
                  <a:lnTo>
                    <a:pt x="43" y="60"/>
                  </a:lnTo>
                  <a:lnTo>
                    <a:pt x="47" y="86"/>
                  </a:lnTo>
                  <a:lnTo>
                    <a:pt x="47" y="99"/>
                  </a:lnTo>
                  <a:lnTo>
                    <a:pt x="43" y="113"/>
                  </a:lnTo>
                  <a:lnTo>
                    <a:pt x="43" y="120"/>
                  </a:lnTo>
                  <a:lnTo>
                    <a:pt x="38" y="132"/>
                  </a:lnTo>
                  <a:lnTo>
                    <a:pt x="47" y="142"/>
                  </a:lnTo>
                  <a:lnTo>
                    <a:pt x="52" y="122"/>
                  </a:lnTo>
                  <a:lnTo>
                    <a:pt x="59" y="111"/>
                  </a:lnTo>
                  <a:lnTo>
                    <a:pt x="61" y="99"/>
                  </a:lnTo>
                  <a:lnTo>
                    <a:pt x="61" y="86"/>
                  </a:lnTo>
                  <a:lnTo>
                    <a:pt x="62" y="77"/>
                  </a:lnTo>
                  <a:lnTo>
                    <a:pt x="71" y="86"/>
                  </a:lnTo>
                  <a:lnTo>
                    <a:pt x="76" y="77"/>
                  </a:lnTo>
                  <a:lnTo>
                    <a:pt x="69" y="67"/>
                  </a:lnTo>
                  <a:lnTo>
                    <a:pt x="59" y="62"/>
                  </a:lnTo>
                  <a:lnTo>
                    <a:pt x="59" y="53"/>
                  </a:lnTo>
                  <a:lnTo>
                    <a:pt x="71" y="48"/>
                  </a:lnTo>
                  <a:lnTo>
                    <a:pt x="73" y="36"/>
                  </a:lnTo>
                  <a:lnTo>
                    <a:pt x="62" y="36"/>
                  </a:lnTo>
                  <a:lnTo>
                    <a:pt x="64" y="29"/>
                  </a:lnTo>
                  <a:lnTo>
                    <a:pt x="76" y="22"/>
                  </a:lnTo>
                  <a:lnTo>
                    <a:pt x="71" y="15"/>
                  </a:lnTo>
                  <a:lnTo>
                    <a:pt x="74" y="7"/>
                  </a:lnTo>
                  <a:lnTo>
                    <a:pt x="64" y="15"/>
                  </a:lnTo>
                  <a:lnTo>
                    <a:pt x="61" y="10"/>
                  </a:lnTo>
                  <a:lnTo>
                    <a:pt x="57" y="0"/>
                  </a:lnTo>
                  <a:lnTo>
                    <a:pt x="50" y="0"/>
                  </a:lnTo>
                  <a:lnTo>
                    <a:pt x="40" y="20"/>
                  </a:lnTo>
                  <a:lnTo>
                    <a:pt x="38" y="31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7" name="Freeform 657">
              <a:extLst>
                <a:ext uri="{FF2B5EF4-FFF2-40B4-BE49-F238E27FC236}">
                  <a16:creationId xmlns:a16="http://schemas.microsoft.com/office/drawing/2014/main" id="{70BEE854-D9CB-414F-988D-9BCD34FA79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3950" y="3533776"/>
              <a:ext cx="73025" cy="114300"/>
            </a:xfrm>
            <a:custGeom>
              <a:avLst/>
              <a:gdLst>
                <a:gd name="T0" fmla="*/ 39 w 46"/>
                <a:gd name="T1" fmla="*/ 0 h 72"/>
                <a:gd name="T2" fmla="*/ 22 w 46"/>
                <a:gd name="T3" fmla="*/ 12 h 72"/>
                <a:gd name="T4" fmla="*/ 10 w 46"/>
                <a:gd name="T5" fmla="*/ 29 h 72"/>
                <a:gd name="T6" fmla="*/ 15 w 46"/>
                <a:gd name="T7" fmla="*/ 38 h 72"/>
                <a:gd name="T8" fmla="*/ 7 w 46"/>
                <a:gd name="T9" fmla="*/ 40 h 72"/>
                <a:gd name="T10" fmla="*/ 0 w 46"/>
                <a:gd name="T11" fmla="*/ 48 h 72"/>
                <a:gd name="T12" fmla="*/ 0 w 46"/>
                <a:gd name="T13" fmla="*/ 67 h 72"/>
                <a:gd name="T14" fmla="*/ 12 w 46"/>
                <a:gd name="T15" fmla="*/ 72 h 72"/>
                <a:gd name="T16" fmla="*/ 17 w 46"/>
                <a:gd name="T17" fmla="*/ 57 h 72"/>
                <a:gd name="T18" fmla="*/ 24 w 46"/>
                <a:gd name="T19" fmla="*/ 48 h 72"/>
                <a:gd name="T20" fmla="*/ 34 w 46"/>
                <a:gd name="T21" fmla="*/ 26 h 72"/>
                <a:gd name="T22" fmla="*/ 46 w 46"/>
                <a:gd name="T23" fmla="*/ 5 h 72"/>
                <a:gd name="T24" fmla="*/ 39 w 46"/>
                <a:gd name="T2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72">
                  <a:moveTo>
                    <a:pt x="39" y="0"/>
                  </a:moveTo>
                  <a:lnTo>
                    <a:pt x="22" y="12"/>
                  </a:lnTo>
                  <a:lnTo>
                    <a:pt x="10" y="29"/>
                  </a:lnTo>
                  <a:lnTo>
                    <a:pt x="15" y="38"/>
                  </a:lnTo>
                  <a:lnTo>
                    <a:pt x="7" y="40"/>
                  </a:lnTo>
                  <a:lnTo>
                    <a:pt x="0" y="48"/>
                  </a:lnTo>
                  <a:lnTo>
                    <a:pt x="0" y="67"/>
                  </a:lnTo>
                  <a:lnTo>
                    <a:pt x="12" y="72"/>
                  </a:lnTo>
                  <a:lnTo>
                    <a:pt x="17" y="57"/>
                  </a:lnTo>
                  <a:lnTo>
                    <a:pt x="24" y="48"/>
                  </a:lnTo>
                  <a:lnTo>
                    <a:pt x="34" y="26"/>
                  </a:lnTo>
                  <a:lnTo>
                    <a:pt x="46" y="5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8" name="Freeform 658">
              <a:extLst>
                <a:ext uri="{FF2B5EF4-FFF2-40B4-BE49-F238E27FC236}">
                  <a16:creationId xmlns:a16="http://schemas.microsoft.com/office/drawing/2014/main" id="{5F3FFCAD-E92E-40AF-B43F-54F7EC2FAA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3760788"/>
              <a:ext cx="65088" cy="53975"/>
            </a:xfrm>
            <a:custGeom>
              <a:avLst/>
              <a:gdLst>
                <a:gd name="T0" fmla="*/ 9 w 41"/>
                <a:gd name="T1" fmla="*/ 10 h 34"/>
                <a:gd name="T2" fmla="*/ 0 w 41"/>
                <a:gd name="T3" fmla="*/ 26 h 34"/>
                <a:gd name="T4" fmla="*/ 12 w 41"/>
                <a:gd name="T5" fmla="*/ 34 h 34"/>
                <a:gd name="T6" fmla="*/ 12 w 41"/>
                <a:gd name="T7" fmla="*/ 34 h 34"/>
                <a:gd name="T8" fmla="*/ 28 w 41"/>
                <a:gd name="T9" fmla="*/ 32 h 34"/>
                <a:gd name="T10" fmla="*/ 40 w 41"/>
                <a:gd name="T11" fmla="*/ 27 h 34"/>
                <a:gd name="T12" fmla="*/ 41 w 41"/>
                <a:gd name="T13" fmla="*/ 8 h 34"/>
                <a:gd name="T14" fmla="*/ 28 w 41"/>
                <a:gd name="T15" fmla="*/ 8 h 34"/>
                <a:gd name="T16" fmla="*/ 17 w 41"/>
                <a:gd name="T17" fmla="*/ 0 h 34"/>
                <a:gd name="T18" fmla="*/ 9 w 41"/>
                <a:gd name="T19" fmla="*/ 1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34">
                  <a:moveTo>
                    <a:pt x="9" y="10"/>
                  </a:moveTo>
                  <a:lnTo>
                    <a:pt x="0" y="26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28" y="32"/>
                  </a:lnTo>
                  <a:lnTo>
                    <a:pt x="40" y="27"/>
                  </a:lnTo>
                  <a:lnTo>
                    <a:pt x="41" y="8"/>
                  </a:lnTo>
                  <a:lnTo>
                    <a:pt x="28" y="8"/>
                  </a:lnTo>
                  <a:lnTo>
                    <a:pt x="17" y="0"/>
                  </a:lnTo>
                  <a:lnTo>
                    <a:pt x="9" y="1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29" name="Freeform 659">
              <a:extLst>
                <a:ext uri="{FF2B5EF4-FFF2-40B4-BE49-F238E27FC236}">
                  <a16:creationId xmlns:a16="http://schemas.microsoft.com/office/drawing/2014/main" id="{E67D2E0F-3CDF-45DE-BD6B-6815F3269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2538" y="3670301"/>
              <a:ext cx="68263" cy="98425"/>
            </a:xfrm>
            <a:custGeom>
              <a:avLst/>
              <a:gdLst>
                <a:gd name="T0" fmla="*/ 15 w 43"/>
                <a:gd name="T1" fmla="*/ 0 h 62"/>
                <a:gd name="T2" fmla="*/ 0 w 43"/>
                <a:gd name="T3" fmla="*/ 14 h 62"/>
                <a:gd name="T4" fmla="*/ 0 w 43"/>
                <a:gd name="T5" fmla="*/ 22 h 62"/>
                <a:gd name="T6" fmla="*/ 8 w 43"/>
                <a:gd name="T7" fmla="*/ 33 h 62"/>
                <a:gd name="T8" fmla="*/ 5 w 43"/>
                <a:gd name="T9" fmla="*/ 46 h 62"/>
                <a:gd name="T10" fmla="*/ 13 w 43"/>
                <a:gd name="T11" fmla="*/ 57 h 62"/>
                <a:gd name="T12" fmla="*/ 26 w 43"/>
                <a:gd name="T13" fmla="*/ 62 h 62"/>
                <a:gd name="T14" fmla="*/ 34 w 43"/>
                <a:gd name="T15" fmla="*/ 62 h 62"/>
                <a:gd name="T16" fmla="*/ 36 w 43"/>
                <a:gd name="T17" fmla="*/ 50 h 62"/>
                <a:gd name="T18" fmla="*/ 43 w 43"/>
                <a:gd name="T19" fmla="*/ 38 h 62"/>
                <a:gd name="T20" fmla="*/ 29 w 43"/>
                <a:gd name="T21" fmla="*/ 27 h 62"/>
                <a:gd name="T22" fmla="*/ 32 w 43"/>
                <a:gd name="T23" fmla="*/ 22 h 62"/>
                <a:gd name="T24" fmla="*/ 15 w 43"/>
                <a:gd name="T2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62">
                  <a:moveTo>
                    <a:pt x="15" y="0"/>
                  </a:moveTo>
                  <a:lnTo>
                    <a:pt x="0" y="14"/>
                  </a:lnTo>
                  <a:lnTo>
                    <a:pt x="0" y="22"/>
                  </a:lnTo>
                  <a:lnTo>
                    <a:pt x="8" y="33"/>
                  </a:lnTo>
                  <a:lnTo>
                    <a:pt x="5" y="46"/>
                  </a:lnTo>
                  <a:lnTo>
                    <a:pt x="13" y="57"/>
                  </a:lnTo>
                  <a:lnTo>
                    <a:pt x="26" y="62"/>
                  </a:lnTo>
                  <a:lnTo>
                    <a:pt x="34" y="62"/>
                  </a:lnTo>
                  <a:lnTo>
                    <a:pt x="36" y="50"/>
                  </a:lnTo>
                  <a:lnTo>
                    <a:pt x="43" y="38"/>
                  </a:lnTo>
                  <a:lnTo>
                    <a:pt x="29" y="27"/>
                  </a:lnTo>
                  <a:lnTo>
                    <a:pt x="32" y="22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0" name="Freeform 660">
              <a:extLst>
                <a:ext uri="{FF2B5EF4-FFF2-40B4-BE49-F238E27FC236}">
                  <a16:creationId xmlns:a16="http://schemas.microsoft.com/office/drawing/2014/main" id="{45A8AEF8-C8D2-42B7-B9F6-4659A7AC5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0150" y="3629026"/>
              <a:ext cx="65088" cy="139700"/>
            </a:xfrm>
            <a:custGeom>
              <a:avLst/>
              <a:gdLst>
                <a:gd name="T0" fmla="*/ 9 w 41"/>
                <a:gd name="T1" fmla="*/ 23 h 88"/>
                <a:gd name="T2" fmla="*/ 0 w 41"/>
                <a:gd name="T3" fmla="*/ 48 h 88"/>
                <a:gd name="T4" fmla="*/ 0 w 41"/>
                <a:gd name="T5" fmla="*/ 76 h 88"/>
                <a:gd name="T6" fmla="*/ 12 w 41"/>
                <a:gd name="T7" fmla="*/ 88 h 88"/>
                <a:gd name="T8" fmla="*/ 21 w 41"/>
                <a:gd name="T9" fmla="*/ 60 h 88"/>
                <a:gd name="T10" fmla="*/ 26 w 41"/>
                <a:gd name="T11" fmla="*/ 41 h 88"/>
                <a:gd name="T12" fmla="*/ 26 w 41"/>
                <a:gd name="T13" fmla="*/ 26 h 88"/>
                <a:gd name="T14" fmla="*/ 41 w 41"/>
                <a:gd name="T15" fmla="*/ 17 h 88"/>
                <a:gd name="T16" fmla="*/ 33 w 41"/>
                <a:gd name="T17" fmla="*/ 0 h 88"/>
                <a:gd name="T18" fmla="*/ 9 w 41"/>
                <a:gd name="T19" fmla="*/ 23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88">
                  <a:moveTo>
                    <a:pt x="9" y="23"/>
                  </a:moveTo>
                  <a:lnTo>
                    <a:pt x="0" y="48"/>
                  </a:lnTo>
                  <a:lnTo>
                    <a:pt x="0" y="76"/>
                  </a:lnTo>
                  <a:lnTo>
                    <a:pt x="12" y="88"/>
                  </a:lnTo>
                  <a:lnTo>
                    <a:pt x="21" y="60"/>
                  </a:lnTo>
                  <a:lnTo>
                    <a:pt x="26" y="41"/>
                  </a:lnTo>
                  <a:lnTo>
                    <a:pt x="26" y="26"/>
                  </a:lnTo>
                  <a:lnTo>
                    <a:pt x="41" y="17"/>
                  </a:lnTo>
                  <a:lnTo>
                    <a:pt x="33" y="0"/>
                  </a:lnTo>
                  <a:lnTo>
                    <a:pt x="9" y="2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1" name="Freeform 661">
              <a:extLst>
                <a:ext uri="{FF2B5EF4-FFF2-40B4-BE49-F238E27FC236}">
                  <a16:creationId xmlns:a16="http://schemas.microsoft.com/office/drawing/2014/main" id="{452F7DAB-BCC2-4856-97FA-D62765C39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7950" y="4103688"/>
              <a:ext cx="90488" cy="120650"/>
            </a:xfrm>
            <a:custGeom>
              <a:avLst/>
              <a:gdLst>
                <a:gd name="T0" fmla="*/ 21 w 57"/>
                <a:gd name="T1" fmla="*/ 9 h 76"/>
                <a:gd name="T2" fmla="*/ 15 w 57"/>
                <a:gd name="T3" fmla="*/ 28 h 76"/>
                <a:gd name="T4" fmla="*/ 2 w 57"/>
                <a:gd name="T5" fmla="*/ 33 h 76"/>
                <a:gd name="T6" fmla="*/ 2 w 57"/>
                <a:gd name="T7" fmla="*/ 49 h 76"/>
                <a:gd name="T8" fmla="*/ 0 w 57"/>
                <a:gd name="T9" fmla="*/ 74 h 76"/>
                <a:gd name="T10" fmla="*/ 0 w 57"/>
                <a:gd name="T11" fmla="*/ 74 h 76"/>
                <a:gd name="T12" fmla="*/ 12 w 57"/>
                <a:gd name="T13" fmla="*/ 76 h 76"/>
                <a:gd name="T14" fmla="*/ 19 w 57"/>
                <a:gd name="T15" fmla="*/ 64 h 76"/>
                <a:gd name="T16" fmla="*/ 33 w 57"/>
                <a:gd name="T17" fmla="*/ 54 h 76"/>
                <a:gd name="T18" fmla="*/ 48 w 57"/>
                <a:gd name="T19" fmla="*/ 47 h 76"/>
                <a:gd name="T20" fmla="*/ 57 w 57"/>
                <a:gd name="T21" fmla="*/ 35 h 76"/>
                <a:gd name="T22" fmla="*/ 53 w 57"/>
                <a:gd name="T23" fmla="*/ 23 h 76"/>
                <a:gd name="T24" fmla="*/ 36 w 57"/>
                <a:gd name="T25" fmla="*/ 18 h 76"/>
                <a:gd name="T26" fmla="*/ 41 w 57"/>
                <a:gd name="T27" fmla="*/ 0 h 76"/>
                <a:gd name="T28" fmla="*/ 21 w 57"/>
                <a:gd name="T29" fmla="*/ 9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76">
                  <a:moveTo>
                    <a:pt x="21" y="9"/>
                  </a:moveTo>
                  <a:lnTo>
                    <a:pt x="15" y="28"/>
                  </a:lnTo>
                  <a:lnTo>
                    <a:pt x="2" y="33"/>
                  </a:lnTo>
                  <a:lnTo>
                    <a:pt x="2" y="49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12" y="76"/>
                  </a:lnTo>
                  <a:lnTo>
                    <a:pt x="19" y="64"/>
                  </a:lnTo>
                  <a:lnTo>
                    <a:pt x="33" y="54"/>
                  </a:lnTo>
                  <a:lnTo>
                    <a:pt x="48" y="47"/>
                  </a:lnTo>
                  <a:lnTo>
                    <a:pt x="57" y="35"/>
                  </a:lnTo>
                  <a:lnTo>
                    <a:pt x="53" y="23"/>
                  </a:lnTo>
                  <a:lnTo>
                    <a:pt x="36" y="18"/>
                  </a:lnTo>
                  <a:lnTo>
                    <a:pt x="41" y="0"/>
                  </a:lnTo>
                  <a:lnTo>
                    <a:pt x="21" y="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2" name="Freeform 662">
              <a:extLst>
                <a:ext uri="{FF2B5EF4-FFF2-40B4-BE49-F238E27FC236}">
                  <a16:creationId xmlns:a16="http://schemas.microsoft.com/office/drawing/2014/main" id="{1DB28D5C-272C-44B9-9E80-AB11386AA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7088" y="3684588"/>
              <a:ext cx="19050" cy="31750"/>
            </a:xfrm>
            <a:custGeom>
              <a:avLst/>
              <a:gdLst>
                <a:gd name="T0" fmla="*/ 7 w 12"/>
                <a:gd name="T1" fmla="*/ 6 h 20"/>
                <a:gd name="T2" fmla="*/ 0 w 12"/>
                <a:gd name="T3" fmla="*/ 15 h 20"/>
                <a:gd name="T4" fmla="*/ 5 w 12"/>
                <a:gd name="T5" fmla="*/ 20 h 20"/>
                <a:gd name="T6" fmla="*/ 12 w 12"/>
                <a:gd name="T7" fmla="*/ 20 h 20"/>
                <a:gd name="T8" fmla="*/ 12 w 12"/>
                <a:gd name="T9" fmla="*/ 8 h 20"/>
                <a:gd name="T10" fmla="*/ 9 w 12"/>
                <a:gd name="T11" fmla="*/ 0 h 20"/>
                <a:gd name="T12" fmla="*/ 7 w 12"/>
                <a:gd name="T13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0">
                  <a:moveTo>
                    <a:pt x="7" y="6"/>
                  </a:moveTo>
                  <a:lnTo>
                    <a:pt x="0" y="15"/>
                  </a:lnTo>
                  <a:lnTo>
                    <a:pt x="5" y="20"/>
                  </a:lnTo>
                  <a:lnTo>
                    <a:pt x="12" y="20"/>
                  </a:lnTo>
                  <a:lnTo>
                    <a:pt x="12" y="8"/>
                  </a:lnTo>
                  <a:lnTo>
                    <a:pt x="9" y="0"/>
                  </a:lnTo>
                  <a:lnTo>
                    <a:pt x="7" y="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3" name="Freeform 663">
              <a:extLst>
                <a:ext uri="{FF2B5EF4-FFF2-40B4-BE49-F238E27FC236}">
                  <a16:creationId xmlns:a16="http://schemas.microsoft.com/office/drawing/2014/main" id="{B2D99A76-68EE-4FB8-B711-5AE88DFB79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913" y="6097588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2 h 2"/>
                <a:gd name="T4" fmla="*/ 0 w 4"/>
                <a:gd name="T5" fmla="*/ 2 h 2"/>
                <a:gd name="T6" fmla="*/ 0 w 4"/>
                <a:gd name="T7" fmla="*/ 2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4" name="Freeform 664">
              <a:extLst>
                <a:ext uri="{FF2B5EF4-FFF2-40B4-BE49-F238E27FC236}">
                  <a16:creationId xmlns:a16="http://schemas.microsoft.com/office/drawing/2014/main" id="{853D700A-778D-4136-BC8E-C3F35BCA16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13" y="6089651"/>
              <a:ext cx="12700" cy="7938"/>
            </a:xfrm>
            <a:custGeom>
              <a:avLst/>
              <a:gdLst>
                <a:gd name="T0" fmla="*/ 0 w 8"/>
                <a:gd name="T1" fmla="*/ 0 h 5"/>
                <a:gd name="T2" fmla="*/ 0 w 8"/>
                <a:gd name="T3" fmla="*/ 0 h 5"/>
                <a:gd name="T4" fmla="*/ 8 w 8"/>
                <a:gd name="T5" fmla="*/ 5 h 5"/>
                <a:gd name="T6" fmla="*/ 0 w 8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5">
                  <a:moveTo>
                    <a:pt x="0" y="0"/>
                  </a:moveTo>
                  <a:lnTo>
                    <a:pt x="0" y="0"/>
                  </a:lnTo>
                  <a:lnTo>
                    <a:pt x="8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5" name="Freeform 665">
              <a:extLst>
                <a:ext uri="{FF2B5EF4-FFF2-40B4-BE49-F238E27FC236}">
                  <a16:creationId xmlns:a16="http://schemas.microsoft.com/office/drawing/2014/main" id="{F1087B5D-0F84-462E-8045-D766B10B00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075" y="6089651"/>
              <a:ext cx="874713" cy="606425"/>
            </a:xfrm>
            <a:custGeom>
              <a:avLst/>
              <a:gdLst>
                <a:gd name="T0" fmla="*/ 336 w 551"/>
                <a:gd name="T1" fmla="*/ 14 h 382"/>
                <a:gd name="T2" fmla="*/ 334 w 551"/>
                <a:gd name="T3" fmla="*/ 20 h 382"/>
                <a:gd name="T4" fmla="*/ 315 w 551"/>
                <a:gd name="T5" fmla="*/ 0 h 382"/>
                <a:gd name="T6" fmla="*/ 317 w 551"/>
                <a:gd name="T7" fmla="*/ 26 h 382"/>
                <a:gd name="T8" fmla="*/ 317 w 551"/>
                <a:gd name="T9" fmla="*/ 36 h 382"/>
                <a:gd name="T10" fmla="*/ 274 w 551"/>
                <a:gd name="T11" fmla="*/ 34 h 382"/>
                <a:gd name="T12" fmla="*/ 317 w 551"/>
                <a:gd name="T13" fmla="*/ 36 h 382"/>
                <a:gd name="T14" fmla="*/ 272 w 551"/>
                <a:gd name="T15" fmla="*/ 34 h 382"/>
                <a:gd name="T16" fmla="*/ 255 w 551"/>
                <a:gd name="T17" fmla="*/ 39 h 382"/>
                <a:gd name="T18" fmla="*/ 227 w 551"/>
                <a:gd name="T19" fmla="*/ 38 h 382"/>
                <a:gd name="T20" fmla="*/ 148 w 551"/>
                <a:gd name="T21" fmla="*/ 67 h 382"/>
                <a:gd name="T22" fmla="*/ 126 w 551"/>
                <a:gd name="T23" fmla="*/ 75 h 382"/>
                <a:gd name="T24" fmla="*/ 90 w 551"/>
                <a:gd name="T25" fmla="*/ 120 h 382"/>
                <a:gd name="T26" fmla="*/ 26 w 551"/>
                <a:gd name="T27" fmla="*/ 208 h 382"/>
                <a:gd name="T28" fmla="*/ 16 w 551"/>
                <a:gd name="T29" fmla="*/ 275 h 382"/>
                <a:gd name="T30" fmla="*/ 38 w 551"/>
                <a:gd name="T31" fmla="*/ 271 h 382"/>
                <a:gd name="T32" fmla="*/ 83 w 551"/>
                <a:gd name="T33" fmla="*/ 237 h 382"/>
                <a:gd name="T34" fmla="*/ 114 w 551"/>
                <a:gd name="T35" fmla="*/ 292 h 382"/>
                <a:gd name="T36" fmla="*/ 141 w 551"/>
                <a:gd name="T37" fmla="*/ 325 h 382"/>
                <a:gd name="T38" fmla="*/ 177 w 551"/>
                <a:gd name="T39" fmla="*/ 337 h 382"/>
                <a:gd name="T40" fmla="*/ 207 w 551"/>
                <a:gd name="T41" fmla="*/ 304 h 382"/>
                <a:gd name="T42" fmla="*/ 215 w 551"/>
                <a:gd name="T43" fmla="*/ 261 h 382"/>
                <a:gd name="T44" fmla="*/ 262 w 551"/>
                <a:gd name="T45" fmla="*/ 237 h 382"/>
                <a:gd name="T46" fmla="*/ 260 w 551"/>
                <a:gd name="T47" fmla="*/ 268 h 382"/>
                <a:gd name="T48" fmla="*/ 291 w 551"/>
                <a:gd name="T49" fmla="*/ 302 h 382"/>
                <a:gd name="T50" fmla="*/ 277 w 551"/>
                <a:gd name="T51" fmla="*/ 340 h 382"/>
                <a:gd name="T52" fmla="*/ 274 w 551"/>
                <a:gd name="T53" fmla="*/ 376 h 382"/>
                <a:gd name="T54" fmla="*/ 281 w 551"/>
                <a:gd name="T55" fmla="*/ 345 h 382"/>
                <a:gd name="T56" fmla="*/ 306 w 551"/>
                <a:gd name="T57" fmla="*/ 304 h 382"/>
                <a:gd name="T58" fmla="*/ 308 w 551"/>
                <a:gd name="T59" fmla="*/ 330 h 382"/>
                <a:gd name="T60" fmla="*/ 327 w 551"/>
                <a:gd name="T61" fmla="*/ 354 h 382"/>
                <a:gd name="T62" fmla="*/ 341 w 551"/>
                <a:gd name="T63" fmla="*/ 352 h 382"/>
                <a:gd name="T64" fmla="*/ 336 w 551"/>
                <a:gd name="T65" fmla="*/ 320 h 382"/>
                <a:gd name="T66" fmla="*/ 379 w 551"/>
                <a:gd name="T67" fmla="*/ 268 h 382"/>
                <a:gd name="T68" fmla="*/ 379 w 551"/>
                <a:gd name="T69" fmla="*/ 232 h 382"/>
                <a:gd name="T70" fmla="*/ 405 w 551"/>
                <a:gd name="T71" fmla="*/ 235 h 382"/>
                <a:gd name="T72" fmla="*/ 411 w 551"/>
                <a:gd name="T73" fmla="*/ 271 h 382"/>
                <a:gd name="T74" fmla="*/ 436 w 551"/>
                <a:gd name="T75" fmla="*/ 275 h 382"/>
                <a:gd name="T76" fmla="*/ 458 w 551"/>
                <a:gd name="T77" fmla="*/ 261 h 382"/>
                <a:gd name="T78" fmla="*/ 480 w 551"/>
                <a:gd name="T79" fmla="*/ 287 h 382"/>
                <a:gd name="T80" fmla="*/ 503 w 551"/>
                <a:gd name="T81" fmla="*/ 278 h 382"/>
                <a:gd name="T82" fmla="*/ 491 w 551"/>
                <a:gd name="T83" fmla="*/ 247 h 382"/>
                <a:gd name="T84" fmla="*/ 518 w 551"/>
                <a:gd name="T85" fmla="*/ 208 h 382"/>
                <a:gd name="T86" fmla="*/ 547 w 551"/>
                <a:gd name="T87" fmla="*/ 223 h 382"/>
                <a:gd name="T88" fmla="*/ 539 w 551"/>
                <a:gd name="T89" fmla="*/ 180 h 382"/>
                <a:gd name="T90" fmla="*/ 544 w 551"/>
                <a:gd name="T91" fmla="*/ 144 h 382"/>
                <a:gd name="T92" fmla="*/ 523 w 551"/>
                <a:gd name="T93" fmla="*/ 155 h 382"/>
                <a:gd name="T94" fmla="*/ 489 w 551"/>
                <a:gd name="T95" fmla="*/ 167 h 382"/>
                <a:gd name="T96" fmla="*/ 454 w 551"/>
                <a:gd name="T97" fmla="*/ 130 h 382"/>
                <a:gd name="T98" fmla="*/ 429 w 551"/>
                <a:gd name="T99" fmla="*/ 101 h 382"/>
                <a:gd name="T100" fmla="*/ 422 w 551"/>
                <a:gd name="T101" fmla="*/ 62 h 382"/>
                <a:gd name="T102" fmla="*/ 367 w 551"/>
                <a:gd name="T103" fmla="*/ 20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1" h="382">
                  <a:moveTo>
                    <a:pt x="367" y="20"/>
                  </a:moveTo>
                  <a:lnTo>
                    <a:pt x="351" y="27"/>
                  </a:lnTo>
                  <a:lnTo>
                    <a:pt x="344" y="20"/>
                  </a:lnTo>
                  <a:lnTo>
                    <a:pt x="336" y="12"/>
                  </a:lnTo>
                  <a:lnTo>
                    <a:pt x="336" y="14"/>
                  </a:lnTo>
                  <a:lnTo>
                    <a:pt x="336" y="14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4" y="20"/>
                  </a:lnTo>
                  <a:lnTo>
                    <a:pt x="332" y="22"/>
                  </a:lnTo>
                  <a:lnTo>
                    <a:pt x="327" y="7"/>
                  </a:lnTo>
                  <a:lnTo>
                    <a:pt x="315" y="0"/>
                  </a:lnTo>
                  <a:lnTo>
                    <a:pt x="301" y="7"/>
                  </a:lnTo>
                  <a:lnTo>
                    <a:pt x="294" y="20"/>
                  </a:lnTo>
                  <a:lnTo>
                    <a:pt x="305" y="31"/>
                  </a:lnTo>
                  <a:lnTo>
                    <a:pt x="317" y="26"/>
                  </a:lnTo>
                  <a:lnTo>
                    <a:pt x="317" y="26"/>
                  </a:lnTo>
                  <a:lnTo>
                    <a:pt x="317" y="26"/>
                  </a:lnTo>
                  <a:lnTo>
                    <a:pt x="317" y="36"/>
                  </a:lnTo>
                  <a:lnTo>
                    <a:pt x="317" y="36"/>
                  </a:lnTo>
                  <a:lnTo>
                    <a:pt x="317" y="36"/>
                  </a:lnTo>
                  <a:lnTo>
                    <a:pt x="317" y="36"/>
                  </a:lnTo>
                  <a:lnTo>
                    <a:pt x="308" y="39"/>
                  </a:lnTo>
                  <a:lnTo>
                    <a:pt x="296" y="41"/>
                  </a:lnTo>
                  <a:lnTo>
                    <a:pt x="281" y="34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81" y="34"/>
                  </a:lnTo>
                  <a:lnTo>
                    <a:pt x="296" y="41"/>
                  </a:lnTo>
                  <a:lnTo>
                    <a:pt x="308" y="39"/>
                  </a:lnTo>
                  <a:lnTo>
                    <a:pt x="317" y="36"/>
                  </a:lnTo>
                  <a:lnTo>
                    <a:pt x="317" y="36"/>
                  </a:lnTo>
                  <a:lnTo>
                    <a:pt x="308" y="41"/>
                  </a:lnTo>
                  <a:lnTo>
                    <a:pt x="294" y="43"/>
                  </a:lnTo>
                  <a:lnTo>
                    <a:pt x="279" y="34"/>
                  </a:lnTo>
                  <a:lnTo>
                    <a:pt x="272" y="34"/>
                  </a:lnTo>
                  <a:lnTo>
                    <a:pt x="272" y="34"/>
                  </a:lnTo>
                  <a:lnTo>
                    <a:pt x="272" y="34"/>
                  </a:lnTo>
                  <a:lnTo>
                    <a:pt x="263" y="34"/>
                  </a:lnTo>
                  <a:lnTo>
                    <a:pt x="265" y="34"/>
                  </a:lnTo>
                  <a:lnTo>
                    <a:pt x="265" y="34"/>
                  </a:lnTo>
                  <a:lnTo>
                    <a:pt x="255" y="39"/>
                  </a:lnTo>
                  <a:lnTo>
                    <a:pt x="246" y="41"/>
                  </a:lnTo>
                  <a:lnTo>
                    <a:pt x="255" y="39"/>
                  </a:lnTo>
                  <a:lnTo>
                    <a:pt x="255" y="41"/>
                  </a:lnTo>
                  <a:lnTo>
                    <a:pt x="232" y="44"/>
                  </a:lnTo>
                  <a:lnTo>
                    <a:pt x="227" y="38"/>
                  </a:lnTo>
                  <a:lnTo>
                    <a:pt x="205" y="44"/>
                  </a:lnTo>
                  <a:lnTo>
                    <a:pt x="195" y="38"/>
                  </a:lnTo>
                  <a:lnTo>
                    <a:pt x="181" y="55"/>
                  </a:lnTo>
                  <a:lnTo>
                    <a:pt x="165" y="69"/>
                  </a:lnTo>
                  <a:lnTo>
                    <a:pt x="148" y="67"/>
                  </a:lnTo>
                  <a:lnTo>
                    <a:pt x="143" y="57"/>
                  </a:lnTo>
                  <a:lnTo>
                    <a:pt x="122" y="58"/>
                  </a:lnTo>
                  <a:lnTo>
                    <a:pt x="110" y="67"/>
                  </a:lnTo>
                  <a:lnTo>
                    <a:pt x="112" y="81"/>
                  </a:lnTo>
                  <a:lnTo>
                    <a:pt x="126" y="75"/>
                  </a:lnTo>
                  <a:lnTo>
                    <a:pt x="129" y="84"/>
                  </a:lnTo>
                  <a:lnTo>
                    <a:pt x="115" y="91"/>
                  </a:lnTo>
                  <a:lnTo>
                    <a:pt x="115" y="100"/>
                  </a:lnTo>
                  <a:lnTo>
                    <a:pt x="102" y="115"/>
                  </a:lnTo>
                  <a:lnTo>
                    <a:pt x="90" y="120"/>
                  </a:lnTo>
                  <a:lnTo>
                    <a:pt x="86" y="137"/>
                  </a:lnTo>
                  <a:lnTo>
                    <a:pt x="55" y="153"/>
                  </a:lnTo>
                  <a:lnTo>
                    <a:pt x="59" y="161"/>
                  </a:lnTo>
                  <a:lnTo>
                    <a:pt x="57" y="184"/>
                  </a:lnTo>
                  <a:lnTo>
                    <a:pt x="26" y="208"/>
                  </a:lnTo>
                  <a:lnTo>
                    <a:pt x="19" y="215"/>
                  </a:lnTo>
                  <a:lnTo>
                    <a:pt x="24" y="225"/>
                  </a:lnTo>
                  <a:lnTo>
                    <a:pt x="16" y="239"/>
                  </a:lnTo>
                  <a:lnTo>
                    <a:pt x="24" y="251"/>
                  </a:lnTo>
                  <a:lnTo>
                    <a:pt x="16" y="275"/>
                  </a:lnTo>
                  <a:lnTo>
                    <a:pt x="0" y="280"/>
                  </a:lnTo>
                  <a:lnTo>
                    <a:pt x="2" y="292"/>
                  </a:lnTo>
                  <a:lnTo>
                    <a:pt x="19" y="290"/>
                  </a:lnTo>
                  <a:lnTo>
                    <a:pt x="38" y="280"/>
                  </a:lnTo>
                  <a:lnTo>
                    <a:pt x="38" y="271"/>
                  </a:lnTo>
                  <a:lnTo>
                    <a:pt x="29" y="265"/>
                  </a:lnTo>
                  <a:lnTo>
                    <a:pt x="34" y="254"/>
                  </a:lnTo>
                  <a:lnTo>
                    <a:pt x="45" y="249"/>
                  </a:lnTo>
                  <a:lnTo>
                    <a:pt x="64" y="235"/>
                  </a:lnTo>
                  <a:lnTo>
                    <a:pt x="83" y="237"/>
                  </a:lnTo>
                  <a:lnTo>
                    <a:pt x="100" y="246"/>
                  </a:lnTo>
                  <a:lnTo>
                    <a:pt x="95" y="256"/>
                  </a:lnTo>
                  <a:lnTo>
                    <a:pt x="107" y="266"/>
                  </a:lnTo>
                  <a:lnTo>
                    <a:pt x="98" y="289"/>
                  </a:lnTo>
                  <a:lnTo>
                    <a:pt x="114" y="292"/>
                  </a:lnTo>
                  <a:lnTo>
                    <a:pt x="114" y="306"/>
                  </a:lnTo>
                  <a:lnTo>
                    <a:pt x="127" y="327"/>
                  </a:lnTo>
                  <a:lnTo>
                    <a:pt x="131" y="325"/>
                  </a:lnTo>
                  <a:lnTo>
                    <a:pt x="138" y="323"/>
                  </a:lnTo>
                  <a:lnTo>
                    <a:pt x="141" y="325"/>
                  </a:lnTo>
                  <a:lnTo>
                    <a:pt x="148" y="332"/>
                  </a:lnTo>
                  <a:lnTo>
                    <a:pt x="152" y="333"/>
                  </a:lnTo>
                  <a:lnTo>
                    <a:pt x="160" y="335"/>
                  </a:lnTo>
                  <a:lnTo>
                    <a:pt x="170" y="337"/>
                  </a:lnTo>
                  <a:lnTo>
                    <a:pt x="177" y="337"/>
                  </a:lnTo>
                  <a:lnTo>
                    <a:pt x="183" y="332"/>
                  </a:lnTo>
                  <a:lnTo>
                    <a:pt x="195" y="320"/>
                  </a:lnTo>
                  <a:lnTo>
                    <a:pt x="200" y="314"/>
                  </a:lnTo>
                  <a:lnTo>
                    <a:pt x="203" y="309"/>
                  </a:lnTo>
                  <a:lnTo>
                    <a:pt x="207" y="304"/>
                  </a:lnTo>
                  <a:lnTo>
                    <a:pt x="207" y="296"/>
                  </a:lnTo>
                  <a:lnTo>
                    <a:pt x="213" y="282"/>
                  </a:lnTo>
                  <a:lnTo>
                    <a:pt x="210" y="266"/>
                  </a:lnTo>
                  <a:lnTo>
                    <a:pt x="210" y="265"/>
                  </a:lnTo>
                  <a:lnTo>
                    <a:pt x="215" y="261"/>
                  </a:lnTo>
                  <a:lnTo>
                    <a:pt x="219" y="263"/>
                  </a:lnTo>
                  <a:lnTo>
                    <a:pt x="226" y="261"/>
                  </a:lnTo>
                  <a:lnTo>
                    <a:pt x="244" y="241"/>
                  </a:lnTo>
                  <a:lnTo>
                    <a:pt x="260" y="237"/>
                  </a:lnTo>
                  <a:lnTo>
                    <a:pt x="262" y="237"/>
                  </a:lnTo>
                  <a:lnTo>
                    <a:pt x="263" y="242"/>
                  </a:lnTo>
                  <a:lnTo>
                    <a:pt x="262" y="249"/>
                  </a:lnTo>
                  <a:lnTo>
                    <a:pt x="262" y="256"/>
                  </a:lnTo>
                  <a:lnTo>
                    <a:pt x="260" y="265"/>
                  </a:lnTo>
                  <a:lnTo>
                    <a:pt x="260" y="268"/>
                  </a:lnTo>
                  <a:lnTo>
                    <a:pt x="260" y="271"/>
                  </a:lnTo>
                  <a:lnTo>
                    <a:pt x="269" y="280"/>
                  </a:lnTo>
                  <a:lnTo>
                    <a:pt x="279" y="292"/>
                  </a:lnTo>
                  <a:lnTo>
                    <a:pt x="286" y="301"/>
                  </a:lnTo>
                  <a:lnTo>
                    <a:pt x="291" y="302"/>
                  </a:lnTo>
                  <a:lnTo>
                    <a:pt x="298" y="304"/>
                  </a:lnTo>
                  <a:lnTo>
                    <a:pt x="301" y="304"/>
                  </a:lnTo>
                  <a:lnTo>
                    <a:pt x="291" y="316"/>
                  </a:lnTo>
                  <a:lnTo>
                    <a:pt x="286" y="333"/>
                  </a:lnTo>
                  <a:lnTo>
                    <a:pt x="277" y="340"/>
                  </a:lnTo>
                  <a:lnTo>
                    <a:pt x="274" y="340"/>
                  </a:lnTo>
                  <a:lnTo>
                    <a:pt x="269" y="342"/>
                  </a:lnTo>
                  <a:lnTo>
                    <a:pt x="269" y="344"/>
                  </a:lnTo>
                  <a:lnTo>
                    <a:pt x="272" y="354"/>
                  </a:lnTo>
                  <a:lnTo>
                    <a:pt x="274" y="376"/>
                  </a:lnTo>
                  <a:lnTo>
                    <a:pt x="275" y="382"/>
                  </a:lnTo>
                  <a:lnTo>
                    <a:pt x="279" y="382"/>
                  </a:lnTo>
                  <a:lnTo>
                    <a:pt x="281" y="376"/>
                  </a:lnTo>
                  <a:lnTo>
                    <a:pt x="279" y="352"/>
                  </a:lnTo>
                  <a:lnTo>
                    <a:pt x="281" y="345"/>
                  </a:lnTo>
                  <a:lnTo>
                    <a:pt x="291" y="337"/>
                  </a:lnTo>
                  <a:lnTo>
                    <a:pt x="294" y="328"/>
                  </a:lnTo>
                  <a:lnTo>
                    <a:pt x="296" y="325"/>
                  </a:lnTo>
                  <a:lnTo>
                    <a:pt x="298" y="318"/>
                  </a:lnTo>
                  <a:lnTo>
                    <a:pt x="306" y="304"/>
                  </a:lnTo>
                  <a:lnTo>
                    <a:pt x="308" y="304"/>
                  </a:lnTo>
                  <a:lnTo>
                    <a:pt x="310" y="308"/>
                  </a:lnTo>
                  <a:lnTo>
                    <a:pt x="310" y="311"/>
                  </a:lnTo>
                  <a:lnTo>
                    <a:pt x="308" y="321"/>
                  </a:lnTo>
                  <a:lnTo>
                    <a:pt x="308" y="330"/>
                  </a:lnTo>
                  <a:lnTo>
                    <a:pt x="312" y="332"/>
                  </a:lnTo>
                  <a:lnTo>
                    <a:pt x="313" y="333"/>
                  </a:lnTo>
                  <a:lnTo>
                    <a:pt x="317" y="337"/>
                  </a:lnTo>
                  <a:lnTo>
                    <a:pt x="318" y="339"/>
                  </a:lnTo>
                  <a:lnTo>
                    <a:pt x="327" y="354"/>
                  </a:lnTo>
                  <a:lnTo>
                    <a:pt x="331" y="357"/>
                  </a:lnTo>
                  <a:lnTo>
                    <a:pt x="334" y="357"/>
                  </a:lnTo>
                  <a:lnTo>
                    <a:pt x="339" y="356"/>
                  </a:lnTo>
                  <a:lnTo>
                    <a:pt x="341" y="356"/>
                  </a:lnTo>
                  <a:lnTo>
                    <a:pt x="341" y="352"/>
                  </a:lnTo>
                  <a:lnTo>
                    <a:pt x="341" y="345"/>
                  </a:lnTo>
                  <a:lnTo>
                    <a:pt x="334" y="337"/>
                  </a:lnTo>
                  <a:lnTo>
                    <a:pt x="334" y="330"/>
                  </a:lnTo>
                  <a:lnTo>
                    <a:pt x="336" y="327"/>
                  </a:lnTo>
                  <a:lnTo>
                    <a:pt x="336" y="320"/>
                  </a:lnTo>
                  <a:lnTo>
                    <a:pt x="336" y="320"/>
                  </a:lnTo>
                  <a:lnTo>
                    <a:pt x="339" y="314"/>
                  </a:lnTo>
                  <a:lnTo>
                    <a:pt x="341" y="314"/>
                  </a:lnTo>
                  <a:lnTo>
                    <a:pt x="349" y="306"/>
                  </a:lnTo>
                  <a:lnTo>
                    <a:pt x="379" y="268"/>
                  </a:lnTo>
                  <a:lnTo>
                    <a:pt x="379" y="254"/>
                  </a:lnTo>
                  <a:lnTo>
                    <a:pt x="375" y="251"/>
                  </a:lnTo>
                  <a:lnTo>
                    <a:pt x="375" y="239"/>
                  </a:lnTo>
                  <a:lnTo>
                    <a:pt x="377" y="234"/>
                  </a:lnTo>
                  <a:lnTo>
                    <a:pt x="379" y="232"/>
                  </a:lnTo>
                  <a:lnTo>
                    <a:pt x="384" y="230"/>
                  </a:lnTo>
                  <a:lnTo>
                    <a:pt x="394" y="232"/>
                  </a:lnTo>
                  <a:lnTo>
                    <a:pt x="394" y="234"/>
                  </a:lnTo>
                  <a:lnTo>
                    <a:pt x="398" y="237"/>
                  </a:lnTo>
                  <a:lnTo>
                    <a:pt x="405" y="235"/>
                  </a:lnTo>
                  <a:lnTo>
                    <a:pt x="405" y="237"/>
                  </a:lnTo>
                  <a:lnTo>
                    <a:pt x="405" y="249"/>
                  </a:lnTo>
                  <a:lnTo>
                    <a:pt x="405" y="256"/>
                  </a:lnTo>
                  <a:lnTo>
                    <a:pt x="408" y="266"/>
                  </a:lnTo>
                  <a:lnTo>
                    <a:pt x="411" y="271"/>
                  </a:lnTo>
                  <a:lnTo>
                    <a:pt x="413" y="275"/>
                  </a:lnTo>
                  <a:lnTo>
                    <a:pt x="417" y="277"/>
                  </a:lnTo>
                  <a:lnTo>
                    <a:pt x="418" y="277"/>
                  </a:lnTo>
                  <a:lnTo>
                    <a:pt x="432" y="277"/>
                  </a:lnTo>
                  <a:lnTo>
                    <a:pt x="436" y="275"/>
                  </a:lnTo>
                  <a:lnTo>
                    <a:pt x="439" y="270"/>
                  </a:lnTo>
                  <a:lnTo>
                    <a:pt x="441" y="268"/>
                  </a:lnTo>
                  <a:lnTo>
                    <a:pt x="453" y="266"/>
                  </a:lnTo>
                  <a:lnTo>
                    <a:pt x="454" y="266"/>
                  </a:lnTo>
                  <a:lnTo>
                    <a:pt x="458" y="261"/>
                  </a:lnTo>
                  <a:lnTo>
                    <a:pt x="465" y="261"/>
                  </a:lnTo>
                  <a:lnTo>
                    <a:pt x="472" y="263"/>
                  </a:lnTo>
                  <a:lnTo>
                    <a:pt x="475" y="268"/>
                  </a:lnTo>
                  <a:lnTo>
                    <a:pt x="480" y="285"/>
                  </a:lnTo>
                  <a:lnTo>
                    <a:pt x="480" y="287"/>
                  </a:lnTo>
                  <a:lnTo>
                    <a:pt x="489" y="290"/>
                  </a:lnTo>
                  <a:lnTo>
                    <a:pt x="496" y="289"/>
                  </a:lnTo>
                  <a:lnTo>
                    <a:pt x="501" y="284"/>
                  </a:lnTo>
                  <a:lnTo>
                    <a:pt x="503" y="280"/>
                  </a:lnTo>
                  <a:lnTo>
                    <a:pt x="503" y="278"/>
                  </a:lnTo>
                  <a:lnTo>
                    <a:pt x="501" y="275"/>
                  </a:lnTo>
                  <a:lnTo>
                    <a:pt x="496" y="271"/>
                  </a:lnTo>
                  <a:lnTo>
                    <a:pt x="494" y="268"/>
                  </a:lnTo>
                  <a:lnTo>
                    <a:pt x="496" y="249"/>
                  </a:lnTo>
                  <a:lnTo>
                    <a:pt x="491" y="247"/>
                  </a:lnTo>
                  <a:lnTo>
                    <a:pt x="485" y="230"/>
                  </a:lnTo>
                  <a:lnTo>
                    <a:pt x="497" y="213"/>
                  </a:lnTo>
                  <a:lnTo>
                    <a:pt x="504" y="211"/>
                  </a:lnTo>
                  <a:lnTo>
                    <a:pt x="511" y="206"/>
                  </a:lnTo>
                  <a:lnTo>
                    <a:pt x="518" y="208"/>
                  </a:lnTo>
                  <a:lnTo>
                    <a:pt x="520" y="211"/>
                  </a:lnTo>
                  <a:lnTo>
                    <a:pt x="523" y="222"/>
                  </a:lnTo>
                  <a:lnTo>
                    <a:pt x="541" y="230"/>
                  </a:lnTo>
                  <a:lnTo>
                    <a:pt x="546" y="228"/>
                  </a:lnTo>
                  <a:lnTo>
                    <a:pt x="547" y="223"/>
                  </a:lnTo>
                  <a:lnTo>
                    <a:pt x="544" y="215"/>
                  </a:lnTo>
                  <a:lnTo>
                    <a:pt x="537" y="199"/>
                  </a:lnTo>
                  <a:lnTo>
                    <a:pt x="537" y="194"/>
                  </a:lnTo>
                  <a:lnTo>
                    <a:pt x="537" y="187"/>
                  </a:lnTo>
                  <a:lnTo>
                    <a:pt x="539" y="180"/>
                  </a:lnTo>
                  <a:lnTo>
                    <a:pt x="542" y="173"/>
                  </a:lnTo>
                  <a:lnTo>
                    <a:pt x="551" y="165"/>
                  </a:lnTo>
                  <a:lnTo>
                    <a:pt x="549" y="167"/>
                  </a:lnTo>
                  <a:lnTo>
                    <a:pt x="546" y="155"/>
                  </a:lnTo>
                  <a:lnTo>
                    <a:pt x="544" y="144"/>
                  </a:lnTo>
                  <a:lnTo>
                    <a:pt x="542" y="141"/>
                  </a:lnTo>
                  <a:lnTo>
                    <a:pt x="539" y="137"/>
                  </a:lnTo>
                  <a:lnTo>
                    <a:pt x="537" y="137"/>
                  </a:lnTo>
                  <a:lnTo>
                    <a:pt x="523" y="151"/>
                  </a:lnTo>
                  <a:lnTo>
                    <a:pt x="523" y="155"/>
                  </a:lnTo>
                  <a:lnTo>
                    <a:pt x="522" y="156"/>
                  </a:lnTo>
                  <a:lnTo>
                    <a:pt x="513" y="163"/>
                  </a:lnTo>
                  <a:lnTo>
                    <a:pt x="499" y="168"/>
                  </a:lnTo>
                  <a:lnTo>
                    <a:pt x="497" y="168"/>
                  </a:lnTo>
                  <a:lnTo>
                    <a:pt x="489" y="167"/>
                  </a:lnTo>
                  <a:lnTo>
                    <a:pt x="479" y="163"/>
                  </a:lnTo>
                  <a:lnTo>
                    <a:pt x="472" y="158"/>
                  </a:lnTo>
                  <a:lnTo>
                    <a:pt x="470" y="156"/>
                  </a:lnTo>
                  <a:lnTo>
                    <a:pt x="463" y="141"/>
                  </a:lnTo>
                  <a:lnTo>
                    <a:pt x="454" y="130"/>
                  </a:lnTo>
                  <a:lnTo>
                    <a:pt x="444" y="122"/>
                  </a:lnTo>
                  <a:lnTo>
                    <a:pt x="432" y="118"/>
                  </a:lnTo>
                  <a:lnTo>
                    <a:pt x="430" y="117"/>
                  </a:lnTo>
                  <a:lnTo>
                    <a:pt x="430" y="108"/>
                  </a:lnTo>
                  <a:lnTo>
                    <a:pt x="429" y="101"/>
                  </a:lnTo>
                  <a:lnTo>
                    <a:pt x="425" y="86"/>
                  </a:lnTo>
                  <a:lnTo>
                    <a:pt x="423" y="81"/>
                  </a:lnTo>
                  <a:lnTo>
                    <a:pt x="425" y="74"/>
                  </a:lnTo>
                  <a:lnTo>
                    <a:pt x="417" y="67"/>
                  </a:lnTo>
                  <a:lnTo>
                    <a:pt x="422" y="62"/>
                  </a:lnTo>
                  <a:lnTo>
                    <a:pt x="427" y="43"/>
                  </a:lnTo>
                  <a:lnTo>
                    <a:pt x="430" y="39"/>
                  </a:lnTo>
                  <a:lnTo>
                    <a:pt x="432" y="39"/>
                  </a:lnTo>
                  <a:lnTo>
                    <a:pt x="430" y="38"/>
                  </a:lnTo>
                  <a:lnTo>
                    <a:pt x="367" y="2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6" name="Freeform 666">
              <a:extLst>
                <a:ext uri="{FF2B5EF4-FFF2-40B4-BE49-F238E27FC236}">
                  <a16:creationId xmlns:a16="http://schemas.microsoft.com/office/drawing/2014/main" id="{1A0FF326-DA0A-45E1-8C1D-53166D0C8B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5875" y="6143626"/>
              <a:ext cx="71438" cy="14288"/>
            </a:xfrm>
            <a:custGeom>
              <a:avLst/>
              <a:gdLst>
                <a:gd name="T0" fmla="*/ 0 w 45"/>
                <a:gd name="T1" fmla="*/ 0 h 9"/>
                <a:gd name="T2" fmla="*/ 7 w 45"/>
                <a:gd name="T3" fmla="*/ 0 h 9"/>
                <a:gd name="T4" fmla="*/ 22 w 45"/>
                <a:gd name="T5" fmla="*/ 9 h 9"/>
                <a:gd name="T6" fmla="*/ 36 w 45"/>
                <a:gd name="T7" fmla="*/ 7 h 9"/>
                <a:gd name="T8" fmla="*/ 45 w 45"/>
                <a:gd name="T9" fmla="*/ 2 h 9"/>
                <a:gd name="T10" fmla="*/ 45 w 45"/>
                <a:gd name="T11" fmla="*/ 2 h 9"/>
                <a:gd name="T12" fmla="*/ 36 w 45"/>
                <a:gd name="T13" fmla="*/ 5 h 9"/>
                <a:gd name="T14" fmla="*/ 24 w 45"/>
                <a:gd name="T15" fmla="*/ 7 h 9"/>
                <a:gd name="T16" fmla="*/ 9 w 45"/>
                <a:gd name="T17" fmla="*/ 0 h 9"/>
                <a:gd name="T18" fmla="*/ 2 w 45"/>
                <a:gd name="T19" fmla="*/ 0 h 9"/>
                <a:gd name="T20" fmla="*/ 0 w 45"/>
                <a:gd name="T21" fmla="*/ 0 h 9"/>
                <a:gd name="T22" fmla="*/ 0 w 45"/>
                <a:gd name="T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9">
                  <a:moveTo>
                    <a:pt x="0" y="0"/>
                  </a:moveTo>
                  <a:lnTo>
                    <a:pt x="7" y="0"/>
                  </a:lnTo>
                  <a:lnTo>
                    <a:pt x="22" y="9"/>
                  </a:lnTo>
                  <a:lnTo>
                    <a:pt x="36" y="7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36" y="5"/>
                  </a:lnTo>
                  <a:lnTo>
                    <a:pt x="24" y="7"/>
                  </a:lnTo>
                  <a:lnTo>
                    <a:pt x="9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7" name="Freeform 667">
              <a:extLst>
                <a:ext uri="{FF2B5EF4-FFF2-40B4-BE49-F238E27FC236}">
                  <a16:creationId xmlns:a16="http://schemas.microsoft.com/office/drawing/2014/main" id="{0A2BADE4-CE35-493B-A40D-A8F6D82BE9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913" y="6089651"/>
              <a:ext cx="52388" cy="34925"/>
            </a:xfrm>
            <a:custGeom>
              <a:avLst/>
              <a:gdLst>
                <a:gd name="T0" fmla="*/ 0 w 33"/>
                <a:gd name="T1" fmla="*/ 7 h 22"/>
                <a:gd name="T2" fmla="*/ 0 w 33"/>
                <a:gd name="T3" fmla="*/ 7 h 22"/>
                <a:gd name="T4" fmla="*/ 14 w 33"/>
                <a:gd name="T5" fmla="*/ 0 h 22"/>
                <a:gd name="T6" fmla="*/ 26 w 33"/>
                <a:gd name="T7" fmla="*/ 7 h 22"/>
                <a:gd name="T8" fmla="*/ 31 w 33"/>
                <a:gd name="T9" fmla="*/ 22 h 22"/>
                <a:gd name="T10" fmla="*/ 33 w 33"/>
                <a:gd name="T11" fmla="*/ 20 h 22"/>
                <a:gd name="T12" fmla="*/ 26 w 33"/>
                <a:gd name="T13" fmla="*/ 7 h 22"/>
                <a:gd name="T14" fmla="*/ 24 w 33"/>
                <a:gd name="T15" fmla="*/ 5 h 22"/>
                <a:gd name="T16" fmla="*/ 16 w 33"/>
                <a:gd name="T17" fmla="*/ 0 h 22"/>
                <a:gd name="T18" fmla="*/ 4 w 33"/>
                <a:gd name="T19" fmla="*/ 5 h 22"/>
                <a:gd name="T20" fmla="*/ 0 w 33"/>
                <a:gd name="T21" fmla="*/ 7 h 22"/>
                <a:gd name="T22" fmla="*/ 0 w 33"/>
                <a:gd name="T23" fmla="*/ 7 h 22"/>
                <a:gd name="T24" fmla="*/ 0 w 33"/>
                <a:gd name="T25" fmla="*/ 7 h 22"/>
                <a:gd name="T26" fmla="*/ 0 w 33"/>
                <a:gd name="T2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22">
                  <a:moveTo>
                    <a:pt x="0" y="7"/>
                  </a:moveTo>
                  <a:lnTo>
                    <a:pt x="0" y="7"/>
                  </a:lnTo>
                  <a:lnTo>
                    <a:pt x="14" y="0"/>
                  </a:lnTo>
                  <a:lnTo>
                    <a:pt x="26" y="7"/>
                  </a:lnTo>
                  <a:lnTo>
                    <a:pt x="31" y="22"/>
                  </a:lnTo>
                  <a:lnTo>
                    <a:pt x="33" y="20"/>
                  </a:lnTo>
                  <a:lnTo>
                    <a:pt x="26" y="7"/>
                  </a:lnTo>
                  <a:lnTo>
                    <a:pt x="24" y="5"/>
                  </a:lnTo>
                  <a:lnTo>
                    <a:pt x="16" y="0"/>
                  </a:lnTo>
                  <a:lnTo>
                    <a:pt x="4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8" name="Freeform 668">
              <a:extLst>
                <a:ext uri="{FF2B5EF4-FFF2-40B4-BE49-F238E27FC236}">
                  <a16:creationId xmlns:a16="http://schemas.microsoft.com/office/drawing/2014/main" id="{BA8B3765-8AC7-4C1C-A3EB-702083A18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1588" y="6143626"/>
              <a:ext cx="17463" cy="0"/>
            </a:xfrm>
            <a:custGeom>
              <a:avLst/>
              <a:gdLst>
                <a:gd name="T0" fmla="*/ 9 w 11"/>
                <a:gd name="T1" fmla="*/ 9 w 11"/>
                <a:gd name="T2" fmla="*/ 11 w 11"/>
                <a:gd name="T3" fmla="*/ 11 w 11"/>
                <a:gd name="T4" fmla="*/ 11 w 11"/>
                <a:gd name="T5" fmla="*/ 2 w 11"/>
                <a:gd name="T6" fmla="*/ 0 w 11"/>
                <a:gd name="T7" fmla="*/ 9 w 1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</a:cxnLst>
              <a:rect l="0" t="0" r="r" b="b"/>
              <a:pathLst>
                <a:path w="11">
                  <a:moveTo>
                    <a:pt x="9" y="0"/>
                  </a:moveTo>
                  <a:lnTo>
                    <a:pt x="9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39" name="Rectangle 669">
              <a:extLst>
                <a:ext uri="{FF2B5EF4-FFF2-40B4-BE49-F238E27FC236}">
                  <a16:creationId xmlns:a16="http://schemas.microsoft.com/office/drawing/2014/main" id="{310F709A-1934-40D3-B7A9-38D47D17C0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5875" y="6143626"/>
              <a:ext cx="3175" cy="1588"/>
            </a:xfrm>
            <a:prstGeom prst="rect">
              <a:avLst/>
            </a:prstGeom>
            <a:grpFill/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40" name="Freeform 670">
              <a:extLst>
                <a:ext uri="{FF2B5EF4-FFF2-40B4-BE49-F238E27FC236}">
                  <a16:creationId xmlns:a16="http://schemas.microsoft.com/office/drawing/2014/main" id="{610014DB-2D16-4192-B2D1-3B5DF1125C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4300" y="6111876"/>
              <a:ext cx="3175" cy="9525"/>
            </a:xfrm>
            <a:custGeom>
              <a:avLst/>
              <a:gdLst>
                <a:gd name="T0" fmla="*/ 2 w 2"/>
                <a:gd name="T1" fmla="*/ 0 h 6"/>
                <a:gd name="T2" fmla="*/ 2 w 2"/>
                <a:gd name="T3" fmla="*/ 0 h 6"/>
                <a:gd name="T4" fmla="*/ 0 w 2"/>
                <a:gd name="T5" fmla="*/ 6 h 6"/>
                <a:gd name="T6" fmla="*/ 2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2" y="0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41" name="Rectangle 671">
              <a:extLst>
                <a:ext uri="{FF2B5EF4-FFF2-40B4-BE49-F238E27FC236}">
                  <a16:creationId xmlns:a16="http://schemas.microsoft.com/office/drawing/2014/main" id="{B07F994B-0465-4512-B1AB-5D1C57A905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4300" y="6121401"/>
              <a:ext cx="1588" cy="1588"/>
            </a:xfrm>
            <a:prstGeom prst="rect">
              <a:avLst/>
            </a:prstGeom>
            <a:grpFill/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42" name="Rectangle 672">
              <a:extLst>
                <a:ext uri="{FF2B5EF4-FFF2-40B4-BE49-F238E27FC236}">
                  <a16:creationId xmlns:a16="http://schemas.microsoft.com/office/drawing/2014/main" id="{33514F19-FBEA-4D39-B889-469F2DA9FC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97313" y="6146801"/>
              <a:ext cx="1588" cy="1588"/>
            </a:xfrm>
            <a:prstGeom prst="rect">
              <a:avLst/>
            </a:prstGeom>
            <a:grpFill/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43" name="Freeform 673">
              <a:extLst>
                <a:ext uri="{FF2B5EF4-FFF2-40B4-BE49-F238E27FC236}">
                  <a16:creationId xmlns:a16="http://schemas.microsoft.com/office/drawing/2014/main" id="{6C9BA122-B303-4988-962F-8CA8EACC2C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6100763"/>
              <a:ext cx="36513" cy="38100"/>
            </a:xfrm>
            <a:custGeom>
              <a:avLst/>
              <a:gdLst>
                <a:gd name="T0" fmla="*/ 0 w 23"/>
                <a:gd name="T1" fmla="*/ 13 h 24"/>
                <a:gd name="T2" fmla="*/ 11 w 23"/>
                <a:gd name="T3" fmla="*/ 24 h 24"/>
                <a:gd name="T4" fmla="*/ 23 w 23"/>
                <a:gd name="T5" fmla="*/ 19 h 24"/>
                <a:gd name="T6" fmla="*/ 23 w 23"/>
                <a:gd name="T7" fmla="*/ 19 h 24"/>
                <a:gd name="T8" fmla="*/ 11 w 23"/>
                <a:gd name="T9" fmla="*/ 24 h 24"/>
                <a:gd name="T10" fmla="*/ 0 w 23"/>
                <a:gd name="T11" fmla="*/ 13 h 24"/>
                <a:gd name="T12" fmla="*/ 7 w 23"/>
                <a:gd name="T13" fmla="*/ 0 h 24"/>
                <a:gd name="T14" fmla="*/ 7 w 23"/>
                <a:gd name="T15" fmla="*/ 0 h 24"/>
                <a:gd name="T16" fmla="*/ 0 w 23"/>
                <a:gd name="T17" fmla="*/ 1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24">
                  <a:moveTo>
                    <a:pt x="0" y="13"/>
                  </a:moveTo>
                  <a:lnTo>
                    <a:pt x="11" y="24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11" y="24"/>
                  </a:lnTo>
                  <a:lnTo>
                    <a:pt x="0" y="13"/>
                  </a:lnTo>
                  <a:lnTo>
                    <a:pt x="7" y="0"/>
                  </a:lnTo>
                  <a:lnTo>
                    <a:pt x="7" y="0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44" name="Rectangle 674">
              <a:extLst>
                <a:ext uri="{FF2B5EF4-FFF2-40B4-BE49-F238E27FC236}">
                  <a16:creationId xmlns:a16="http://schemas.microsoft.com/office/drawing/2014/main" id="{2B45C175-45A7-47C0-B8AA-59BC5E6A28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1913" y="6100763"/>
              <a:ext cx="1588" cy="1588"/>
            </a:xfrm>
            <a:prstGeom prst="rect">
              <a:avLst/>
            </a:prstGeom>
            <a:grpFill/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45" name="Freeform 675">
              <a:extLst>
                <a:ext uri="{FF2B5EF4-FFF2-40B4-BE49-F238E27FC236}">
                  <a16:creationId xmlns:a16="http://schemas.microsoft.com/office/drawing/2014/main" id="{AA4748BC-DEE9-42C8-B4B9-01DCFBD3A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7125" y="5691188"/>
              <a:ext cx="14288" cy="11113"/>
            </a:xfrm>
            <a:custGeom>
              <a:avLst/>
              <a:gdLst>
                <a:gd name="T0" fmla="*/ 0 w 9"/>
                <a:gd name="T1" fmla="*/ 7 h 7"/>
                <a:gd name="T2" fmla="*/ 9 w 9"/>
                <a:gd name="T3" fmla="*/ 0 h 7"/>
                <a:gd name="T4" fmla="*/ 9 w 9"/>
                <a:gd name="T5" fmla="*/ 0 h 7"/>
                <a:gd name="T6" fmla="*/ 0 w 9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7">
                  <a:moveTo>
                    <a:pt x="0" y="7"/>
                  </a:moveTo>
                  <a:lnTo>
                    <a:pt x="9" y="0"/>
                  </a:lnTo>
                  <a:lnTo>
                    <a:pt x="9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46" name="Freeform 676">
              <a:extLst>
                <a:ext uri="{FF2B5EF4-FFF2-40B4-BE49-F238E27FC236}">
                  <a16:creationId xmlns:a16="http://schemas.microsoft.com/office/drawing/2014/main" id="{1F6E005B-FC66-4BF0-B46A-B172629DBD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7263" y="5624513"/>
              <a:ext cx="20638" cy="9525"/>
            </a:xfrm>
            <a:custGeom>
              <a:avLst/>
              <a:gdLst>
                <a:gd name="T0" fmla="*/ 0 w 13"/>
                <a:gd name="T1" fmla="*/ 0 h 6"/>
                <a:gd name="T2" fmla="*/ 13 w 13"/>
                <a:gd name="T3" fmla="*/ 6 h 6"/>
                <a:gd name="T4" fmla="*/ 13 w 13"/>
                <a:gd name="T5" fmla="*/ 6 h 6"/>
                <a:gd name="T6" fmla="*/ 0 w 13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6">
                  <a:moveTo>
                    <a:pt x="0" y="0"/>
                  </a:moveTo>
                  <a:lnTo>
                    <a:pt x="13" y="6"/>
                  </a:lnTo>
                  <a:lnTo>
                    <a:pt x="13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47" name="Freeform 677">
              <a:extLst>
                <a:ext uri="{FF2B5EF4-FFF2-40B4-BE49-F238E27FC236}">
                  <a16:creationId xmlns:a16="http://schemas.microsoft.com/office/drawing/2014/main" id="{E4A004BB-CAF2-40DC-81C3-425EFA5E1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0763" y="5681663"/>
              <a:ext cx="30163" cy="9525"/>
            </a:xfrm>
            <a:custGeom>
              <a:avLst/>
              <a:gdLst>
                <a:gd name="T0" fmla="*/ 0 w 19"/>
                <a:gd name="T1" fmla="*/ 6 h 6"/>
                <a:gd name="T2" fmla="*/ 0 w 19"/>
                <a:gd name="T3" fmla="*/ 6 h 6"/>
                <a:gd name="T4" fmla="*/ 19 w 19"/>
                <a:gd name="T5" fmla="*/ 0 h 6"/>
                <a:gd name="T6" fmla="*/ 19 w 19"/>
                <a:gd name="T7" fmla="*/ 0 h 6"/>
                <a:gd name="T8" fmla="*/ 0 w 19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6">
                  <a:moveTo>
                    <a:pt x="0" y="6"/>
                  </a:moveTo>
                  <a:lnTo>
                    <a:pt x="0" y="6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48" name="Freeform 678">
              <a:extLst>
                <a:ext uri="{FF2B5EF4-FFF2-40B4-BE49-F238E27FC236}">
                  <a16:creationId xmlns:a16="http://schemas.microsoft.com/office/drawing/2014/main" id="{4476E269-4159-488D-A200-ACF67AF5D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4888" y="5703888"/>
              <a:ext cx="7938" cy="3175"/>
            </a:xfrm>
            <a:custGeom>
              <a:avLst/>
              <a:gdLst>
                <a:gd name="T0" fmla="*/ 0 w 5"/>
                <a:gd name="T1" fmla="*/ 0 h 2"/>
                <a:gd name="T2" fmla="*/ 5 w 5"/>
                <a:gd name="T3" fmla="*/ 2 h 2"/>
                <a:gd name="T4" fmla="*/ 0 w 5"/>
                <a:gd name="T5" fmla="*/ 0 h 2"/>
                <a:gd name="T6" fmla="*/ 0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0" y="0"/>
                  </a:moveTo>
                  <a:lnTo>
                    <a:pt x="5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49" name="Freeform 679">
              <a:extLst>
                <a:ext uri="{FF2B5EF4-FFF2-40B4-BE49-F238E27FC236}">
                  <a16:creationId xmlns:a16="http://schemas.microsoft.com/office/drawing/2014/main" id="{C6116346-C5BB-47FE-A8F4-95B8F4D4C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2038" y="5703888"/>
              <a:ext cx="12700" cy="7938"/>
            </a:xfrm>
            <a:custGeom>
              <a:avLst/>
              <a:gdLst>
                <a:gd name="T0" fmla="*/ 0 w 8"/>
                <a:gd name="T1" fmla="*/ 5 h 5"/>
                <a:gd name="T2" fmla="*/ 5 w 8"/>
                <a:gd name="T3" fmla="*/ 0 h 5"/>
                <a:gd name="T4" fmla="*/ 8 w 8"/>
                <a:gd name="T5" fmla="*/ 4 h 5"/>
                <a:gd name="T6" fmla="*/ 5 w 8"/>
                <a:gd name="T7" fmla="*/ 0 h 5"/>
                <a:gd name="T8" fmla="*/ 0 w 8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0" y="5"/>
                  </a:moveTo>
                  <a:lnTo>
                    <a:pt x="5" y="0"/>
                  </a:lnTo>
                  <a:lnTo>
                    <a:pt x="8" y="4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50" name="Freeform 680">
              <a:extLst>
                <a:ext uri="{FF2B5EF4-FFF2-40B4-BE49-F238E27FC236}">
                  <a16:creationId xmlns:a16="http://schemas.microsoft.com/office/drawing/2014/main" id="{E740C435-D53E-4126-B406-DBD39B3289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425" y="5668963"/>
              <a:ext cx="6350" cy="4763"/>
            </a:xfrm>
            <a:custGeom>
              <a:avLst/>
              <a:gdLst>
                <a:gd name="T0" fmla="*/ 0 w 4"/>
                <a:gd name="T1" fmla="*/ 0 h 3"/>
                <a:gd name="T2" fmla="*/ 4 w 4"/>
                <a:gd name="T3" fmla="*/ 3 h 3"/>
                <a:gd name="T4" fmla="*/ 4 w 4"/>
                <a:gd name="T5" fmla="*/ 3 h 3"/>
                <a:gd name="T6" fmla="*/ 0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0"/>
                  </a:moveTo>
                  <a:lnTo>
                    <a:pt x="4" y="3"/>
                  </a:lnTo>
                  <a:lnTo>
                    <a:pt x="4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51" name="Freeform 681">
              <a:extLst>
                <a:ext uri="{FF2B5EF4-FFF2-40B4-BE49-F238E27FC236}">
                  <a16:creationId xmlns:a16="http://schemas.microsoft.com/office/drawing/2014/main" id="{D0DF65B1-F22E-4BE8-9707-18700EED8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5" y="5975351"/>
              <a:ext cx="0" cy="4763"/>
            </a:xfrm>
            <a:custGeom>
              <a:avLst/>
              <a:gdLst>
                <a:gd name="T0" fmla="*/ 3 h 3"/>
                <a:gd name="T1" fmla="*/ 3 h 3"/>
                <a:gd name="T2" fmla="*/ 0 h 3"/>
                <a:gd name="T3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52" name="Freeform 682">
              <a:extLst>
                <a:ext uri="{FF2B5EF4-FFF2-40B4-BE49-F238E27FC236}">
                  <a16:creationId xmlns:a16="http://schemas.microsoft.com/office/drawing/2014/main" id="{8A9F3A73-BDCC-4DB8-A32B-A98BAC8E1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0625" y="5730876"/>
              <a:ext cx="19050" cy="3175"/>
            </a:xfrm>
            <a:custGeom>
              <a:avLst/>
              <a:gdLst>
                <a:gd name="T0" fmla="*/ 0 w 12"/>
                <a:gd name="T1" fmla="*/ 2 h 2"/>
                <a:gd name="T2" fmla="*/ 7 w 12"/>
                <a:gd name="T3" fmla="*/ 0 h 2"/>
                <a:gd name="T4" fmla="*/ 12 w 12"/>
                <a:gd name="T5" fmla="*/ 2 h 2"/>
                <a:gd name="T6" fmla="*/ 7 w 12"/>
                <a:gd name="T7" fmla="*/ 0 h 2"/>
                <a:gd name="T8" fmla="*/ 0 w 1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">
                  <a:moveTo>
                    <a:pt x="0" y="2"/>
                  </a:moveTo>
                  <a:lnTo>
                    <a:pt x="7" y="0"/>
                  </a:lnTo>
                  <a:lnTo>
                    <a:pt x="12" y="2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53" name="Freeform 683">
              <a:extLst>
                <a:ext uri="{FF2B5EF4-FFF2-40B4-BE49-F238E27FC236}">
                  <a16:creationId xmlns:a16="http://schemas.microsoft.com/office/drawing/2014/main" id="{4F8739EB-BCA9-433D-A3D1-25AB8C769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413" y="5695951"/>
              <a:ext cx="4763" cy="22225"/>
            </a:xfrm>
            <a:custGeom>
              <a:avLst/>
              <a:gdLst>
                <a:gd name="T0" fmla="*/ 3 w 3"/>
                <a:gd name="T1" fmla="*/ 14 h 14"/>
                <a:gd name="T2" fmla="*/ 3 w 3"/>
                <a:gd name="T3" fmla="*/ 14 h 14"/>
                <a:gd name="T4" fmla="*/ 0 w 3"/>
                <a:gd name="T5" fmla="*/ 0 h 14"/>
                <a:gd name="T6" fmla="*/ 3 w 3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4">
                  <a:moveTo>
                    <a:pt x="3" y="14"/>
                  </a:moveTo>
                  <a:lnTo>
                    <a:pt x="3" y="14"/>
                  </a:lnTo>
                  <a:lnTo>
                    <a:pt x="0" y="0"/>
                  </a:lnTo>
                  <a:lnTo>
                    <a:pt x="3" y="1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54" name="Freeform 684">
              <a:extLst>
                <a:ext uri="{FF2B5EF4-FFF2-40B4-BE49-F238E27FC236}">
                  <a16:creationId xmlns:a16="http://schemas.microsoft.com/office/drawing/2014/main" id="{5D852062-95D8-4FE2-BF61-21E1A7C5F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2375" y="5730876"/>
              <a:ext cx="60325" cy="47625"/>
            </a:xfrm>
            <a:custGeom>
              <a:avLst/>
              <a:gdLst>
                <a:gd name="T0" fmla="*/ 21 w 38"/>
                <a:gd name="T1" fmla="*/ 12 h 30"/>
                <a:gd name="T2" fmla="*/ 4 w 38"/>
                <a:gd name="T3" fmla="*/ 0 h 30"/>
                <a:gd name="T4" fmla="*/ 0 w 38"/>
                <a:gd name="T5" fmla="*/ 2 h 30"/>
                <a:gd name="T6" fmla="*/ 4 w 38"/>
                <a:gd name="T7" fmla="*/ 0 h 30"/>
                <a:gd name="T8" fmla="*/ 21 w 38"/>
                <a:gd name="T9" fmla="*/ 12 h 30"/>
                <a:gd name="T10" fmla="*/ 38 w 38"/>
                <a:gd name="T11" fmla="*/ 19 h 30"/>
                <a:gd name="T12" fmla="*/ 30 w 38"/>
                <a:gd name="T13" fmla="*/ 30 h 30"/>
                <a:gd name="T14" fmla="*/ 38 w 38"/>
                <a:gd name="T15" fmla="*/ 19 h 30"/>
                <a:gd name="T16" fmla="*/ 21 w 38"/>
                <a:gd name="T17" fmla="*/ 1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30">
                  <a:moveTo>
                    <a:pt x="21" y="12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0"/>
                  </a:lnTo>
                  <a:lnTo>
                    <a:pt x="21" y="12"/>
                  </a:lnTo>
                  <a:lnTo>
                    <a:pt x="38" y="19"/>
                  </a:lnTo>
                  <a:lnTo>
                    <a:pt x="30" y="30"/>
                  </a:lnTo>
                  <a:lnTo>
                    <a:pt x="38" y="19"/>
                  </a:lnTo>
                  <a:lnTo>
                    <a:pt x="21" y="1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55" name="Freeform 685">
              <a:extLst>
                <a:ext uri="{FF2B5EF4-FFF2-40B4-BE49-F238E27FC236}">
                  <a16:creationId xmlns:a16="http://schemas.microsoft.com/office/drawing/2014/main" id="{A958709D-81BB-450D-B62D-E45E1B8BC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3638" y="6149976"/>
              <a:ext cx="80963" cy="9525"/>
            </a:xfrm>
            <a:custGeom>
              <a:avLst/>
              <a:gdLst>
                <a:gd name="T0" fmla="*/ 34 w 51"/>
                <a:gd name="T1" fmla="*/ 0 h 6"/>
                <a:gd name="T2" fmla="*/ 12 w 51"/>
                <a:gd name="T3" fmla="*/ 6 h 6"/>
                <a:gd name="T4" fmla="*/ 0 w 51"/>
                <a:gd name="T5" fmla="*/ 0 h 6"/>
                <a:gd name="T6" fmla="*/ 0 w 51"/>
                <a:gd name="T7" fmla="*/ 0 h 6"/>
                <a:gd name="T8" fmla="*/ 12 w 51"/>
                <a:gd name="T9" fmla="*/ 6 h 6"/>
                <a:gd name="T10" fmla="*/ 34 w 51"/>
                <a:gd name="T11" fmla="*/ 0 h 6"/>
                <a:gd name="T12" fmla="*/ 39 w 51"/>
                <a:gd name="T13" fmla="*/ 6 h 6"/>
                <a:gd name="T14" fmla="*/ 51 w 51"/>
                <a:gd name="T15" fmla="*/ 3 h 6"/>
                <a:gd name="T16" fmla="*/ 39 w 51"/>
                <a:gd name="T17" fmla="*/ 6 h 6"/>
                <a:gd name="T18" fmla="*/ 34 w 51"/>
                <a:gd name="T1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6">
                  <a:moveTo>
                    <a:pt x="34" y="0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" y="6"/>
                  </a:lnTo>
                  <a:lnTo>
                    <a:pt x="34" y="0"/>
                  </a:lnTo>
                  <a:lnTo>
                    <a:pt x="39" y="6"/>
                  </a:lnTo>
                  <a:lnTo>
                    <a:pt x="51" y="3"/>
                  </a:lnTo>
                  <a:lnTo>
                    <a:pt x="39" y="6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56" name="Freeform 686">
              <a:extLst>
                <a:ext uri="{FF2B5EF4-FFF2-40B4-BE49-F238E27FC236}">
                  <a16:creationId xmlns:a16="http://schemas.microsoft.com/office/drawing/2014/main" id="{18E636BC-1FD1-45A6-927C-10E35F1BA4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050" y="6608763"/>
              <a:ext cx="20638" cy="19050"/>
            </a:xfrm>
            <a:custGeom>
              <a:avLst/>
              <a:gdLst>
                <a:gd name="T0" fmla="*/ 8 w 13"/>
                <a:gd name="T1" fmla="*/ 1 h 12"/>
                <a:gd name="T2" fmla="*/ 7 w 13"/>
                <a:gd name="T3" fmla="*/ 3 h 12"/>
                <a:gd name="T4" fmla="*/ 0 w 13"/>
                <a:gd name="T5" fmla="*/ 12 h 12"/>
                <a:gd name="T6" fmla="*/ 10 w 13"/>
                <a:gd name="T7" fmla="*/ 8 h 12"/>
                <a:gd name="T8" fmla="*/ 13 w 13"/>
                <a:gd name="T9" fmla="*/ 0 h 12"/>
                <a:gd name="T10" fmla="*/ 13 w 13"/>
                <a:gd name="T11" fmla="*/ 0 h 12"/>
                <a:gd name="T12" fmla="*/ 13 w 13"/>
                <a:gd name="T13" fmla="*/ 0 h 12"/>
                <a:gd name="T14" fmla="*/ 8 w 13"/>
                <a:gd name="T15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2">
                  <a:moveTo>
                    <a:pt x="8" y="1"/>
                  </a:moveTo>
                  <a:lnTo>
                    <a:pt x="7" y="3"/>
                  </a:lnTo>
                  <a:lnTo>
                    <a:pt x="0" y="12"/>
                  </a:lnTo>
                  <a:lnTo>
                    <a:pt x="10" y="8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8" y="1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57" name="Freeform 687">
              <a:extLst>
                <a:ext uri="{FF2B5EF4-FFF2-40B4-BE49-F238E27FC236}">
                  <a16:creationId xmlns:a16="http://schemas.microsoft.com/office/drawing/2014/main" id="{8932710B-3C7B-4290-AEA0-676BEBAA9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" y="3821113"/>
              <a:ext cx="838200" cy="1206500"/>
            </a:xfrm>
            <a:custGeom>
              <a:avLst/>
              <a:gdLst>
                <a:gd name="T0" fmla="*/ 453 w 528"/>
                <a:gd name="T1" fmla="*/ 220 h 760"/>
                <a:gd name="T2" fmla="*/ 399 w 528"/>
                <a:gd name="T3" fmla="*/ 187 h 760"/>
                <a:gd name="T4" fmla="*/ 377 w 528"/>
                <a:gd name="T5" fmla="*/ 235 h 760"/>
                <a:gd name="T6" fmla="*/ 310 w 528"/>
                <a:gd name="T7" fmla="*/ 216 h 760"/>
                <a:gd name="T8" fmla="*/ 272 w 528"/>
                <a:gd name="T9" fmla="*/ 168 h 760"/>
                <a:gd name="T10" fmla="*/ 306 w 528"/>
                <a:gd name="T11" fmla="*/ 130 h 760"/>
                <a:gd name="T12" fmla="*/ 348 w 528"/>
                <a:gd name="T13" fmla="*/ 111 h 760"/>
                <a:gd name="T14" fmla="*/ 373 w 528"/>
                <a:gd name="T15" fmla="*/ 46 h 760"/>
                <a:gd name="T16" fmla="*/ 330 w 528"/>
                <a:gd name="T17" fmla="*/ 20 h 760"/>
                <a:gd name="T18" fmla="*/ 277 w 528"/>
                <a:gd name="T19" fmla="*/ 20 h 760"/>
                <a:gd name="T20" fmla="*/ 234 w 528"/>
                <a:gd name="T21" fmla="*/ 61 h 760"/>
                <a:gd name="T22" fmla="*/ 227 w 528"/>
                <a:gd name="T23" fmla="*/ 98 h 760"/>
                <a:gd name="T24" fmla="*/ 219 w 528"/>
                <a:gd name="T25" fmla="*/ 132 h 760"/>
                <a:gd name="T26" fmla="*/ 263 w 528"/>
                <a:gd name="T27" fmla="*/ 160 h 760"/>
                <a:gd name="T28" fmla="*/ 217 w 528"/>
                <a:gd name="T29" fmla="*/ 201 h 760"/>
                <a:gd name="T30" fmla="*/ 165 w 528"/>
                <a:gd name="T31" fmla="*/ 218 h 760"/>
                <a:gd name="T32" fmla="*/ 88 w 528"/>
                <a:gd name="T33" fmla="*/ 192 h 760"/>
                <a:gd name="T34" fmla="*/ 52 w 528"/>
                <a:gd name="T35" fmla="*/ 199 h 760"/>
                <a:gd name="T36" fmla="*/ 55 w 528"/>
                <a:gd name="T37" fmla="*/ 221 h 760"/>
                <a:gd name="T38" fmla="*/ 64 w 528"/>
                <a:gd name="T39" fmla="*/ 268 h 760"/>
                <a:gd name="T40" fmla="*/ 48 w 528"/>
                <a:gd name="T41" fmla="*/ 271 h 760"/>
                <a:gd name="T42" fmla="*/ 100 w 528"/>
                <a:gd name="T43" fmla="*/ 297 h 760"/>
                <a:gd name="T44" fmla="*/ 71 w 528"/>
                <a:gd name="T45" fmla="*/ 335 h 760"/>
                <a:gd name="T46" fmla="*/ 45 w 528"/>
                <a:gd name="T47" fmla="*/ 366 h 760"/>
                <a:gd name="T48" fmla="*/ 71 w 528"/>
                <a:gd name="T49" fmla="*/ 378 h 760"/>
                <a:gd name="T50" fmla="*/ 93 w 528"/>
                <a:gd name="T51" fmla="*/ 390 h 760"/>
                <a:gd name="T52" fmla="*/ 151 w 528"/>
                <a:gd name="T53" fmla="*/ 412 h 760"/>
                <a:gd name="T54" fmla="*/ 162 w 528"/>
                <a:gd name="T55" fmla="*/ 426 h 760"/>
                <a:gd name="T56" fmla="*/ 119 w 528"/>
                <a:gd name="T57" fmla="*/ 473 h 760"/>
                <a:gd name="T58" fmla="*/ 96 w 528"/>
                <a:gd name="T59" fmla="*/ 524 h 760"/>
                <a:gd name="T60" fmla="*/ 96 w 528"/>
                <a:gd name="T61" fmla="*/ 545 h 760"/>
                <a:gd name="T62" fmla="*/ 74 w 528"/>
                <a:gd name="T63" fmla="*/ 583 h 760"/>
                <a:gd name="T64" fmla="*/ 53 w 528"/>
                <a:gd name="T65" fmla="*/ 596 h 760"/>
                <a:gd name="T66" fmla="*/ 14 w 528"/>
                <a:gd name="T67" fmla="*/ 612 h 760"/>
                <a:gd name="T68" fmla="*/ 15 w 528"/>
                <a:gd name="T69" fmla="*/ 638 h 760"/>
                <a:gd name="T70" fmla="*/ 65 w 528"/>
                <a:gd name="T71" fmla="*/ 638 h 760"/>
                <a:gd name="T72" fmla="*/ 5 w 528"/>
                <a:gd name="T73" fmla="*/ 677 h 760"/>
                <a:gd name="T74" fmla="*/ 36 w 528"/>
                <a:gd name="T75" fmla="*/ 696 h 760"/>
                <a:gd name="T76" fmla="*/ 90 w 528"/>
                <a:gd name="T77" fmla="*/ 682 h 760"/>
                <a:gd name="T78" fmla="*/ 43 w 528"/>
                <a:gd name="T79" fmla="*/ 718 h 760"/>
                <a:gd name="T80" fmla="*/ 69 w 528"/>
                <a:gd name="T81" fmla="*/ 725 h 760"/>
                <a:gd name="T82" fmla="*/ 108 w 528"/>
                <a:gd name="T83" fmla="*/ 720 h 760"/>
                <a:gd name="T84" fmla="*/ 90 w 528"/>
                <a:gd name="T85" fmla="*/ 743 h 760"/>
                <a:gd name="T86" fmla="*/ 102 w 528"/>
                <a:gd name="T87" fmla="*/ 751 h 760"/>
                <a:gd name="T88" fmla="*/ 141 w 528"/>
                <a:gd name="T89" fmla="*/ 753 h 760"/>
                <a:gd name="T90" fmla="*/ 207 w 528"/>
                <a:gd name="T91" fmla="*/ 737 h 760"/>
                <a:gd name="T92" fmla="*/ 253 w 528"/>
                <a:gd name="T93" fmla="*/ 706 h 760"/>
                <a:gd name="T94" fmla="*/ 293 w 528"/>
                <a:gd name="T95" fmla="*/ 682 h 760"/>
                <a:gd name="T96" fmla="*/ 341 w 528"/>
                <a:gd name="T97" fmla="*/ 657 h 760"/>
                <a:gd name="T98" fmla="*/ 384 w 528"/>
                <a:gd name="T99" fmla="*/ 626 h 760"/>
                <a:gd name="T100" fmla="*/ 411 w 528"/>
                <a:gd name="T101" fmla="*/ 605 h 760"/>
                <a:gd name="T102" fmla="*/ 432 w 528"/>
                <a:gd name="T103" fmla="*/ 622 h 760"/>
                <a:gd name="T104" fmla="*/ 475 w 528"/>
                <a:gd name="T105" fmla="*/ 617 h 760"/>
                <a:gd name="T106" fmla="*/ 477 w 528"/>
                <a:gd name="T107" fmla="*/ 588 h 760"/>
                <a:gd name="T108" fmla="*/ 504 w 528"/>
                <a:gd name="T109" fmla="*/ 534 h 760"/>
                <a:gd name="T110" fmla="*/ 528 w 528"/>
                <a:gd name="T111" fmla="*/ 473 h 760"/>
                <a:gd name="T112" fmla="*/ 513 w 528"/>
                <a:gd name="T113" fmla="*/ 404 h 760"/>
                <a:gd name="T114" fmla="*/ 520 w 528"/>
                <a:gd name="T115" fmla="*/ 376 h 760"/>
                <a:gd name="T116" fmla="*/ 503 w 528"/>
                <a:gd name="T117" fmla="*/ 306 h 760"/>
                <a:gd name="T118" fmla="*/ 508 w 528"/>
                <a:gd name="T119" fmla="*/ 27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8" h="760">
                  <a:moveTo>
                    <a:pt x="485" y="252"/>
                  </a:moveTo>
                  <a:lnTo>
                    <a:pt x="473" y="246"/>
                  </a:lnTo>
                  <a:lnTo>
                    <a:pt x="461" y="254"/>
                  </a:lnTo>
                  <a:lnTo>
                    <a:pt x="451" y="249"/>
                  </a:lnTo>
                  <a:lnTo>
                    <a:pt x="453" y="220"/>
                  </a:lnTo>
                  <a:lnTo>
                    <a:pt x="437" y="221"/>
                  </a:lnTo>
                  <a:lnTo>
                    <a:pt x="425" y="206"/>
                  </a:lnTo>
                  <a:lnTo>
                    <a:pt x="429" y="189"/>
                  </a:lnTo>
                  <a:lnTo>
                    <a:pt x="410" y="175"/>
                  </a:lnTo>
                  <a:lnTo>
                    <a:pt x="399" y="187"/>
                  </a:lnTo>
                  <a:lnTo>
                    <a:pt x="389" y="189"/>
                  </a:lnTo>
                  <a:lnTo>
                    <a:pt x="387" y="199"/>
                  </a:lnTo>
                  <a:lnTo>
                    <a:pt x="392" y="213"/>
                  </a:lnTo>
                  <a:lnTo>
                    <a:pt x="380" y="220"/>
                  </a:lnTo>
                  <a:lnTo>
                    <a:pt x="377" y="235"/>
                  </a:lnTo>
                  <a:lnTo>
                    <a:pt x="361" y="230"/>
                  </a:lnTo>
                  <a:lnTo>
                    <a:pt x="353" y="235"/>
                  </a:lnTo>
                  <a:lnTo>
                    <a:pt x="339" y="232"/>
                  </a:lnTo>
                  <a:lnTo>
                    <a:pt x="325" y="216"/>
                  </a:lnTo>
                  <a:lnTo>
                    <a:pt x="310" y="216"/>
                  </a:lnTo>
                  <a:lnTo>
                    <a:pt x="308" y="199"/>
                  </a:lnTo>
                  <a:lnTo>
                    <a:pt x="298" y="196"/>
                  </a:lnTo>
                  <a:lnTo>
                    <a:pt x="294" y="187"/>
                  </a:lnTo>
                  <a:lnTo>
                    <a:pt x="286" y="185"/>
                  </a:lnTo>
                  <a:lnTo>
                    <a:pt x="272" y="168"/>
                  </a:lnTo>
                  <a:lnTo>
                    <a:pt x="287" y="163"/>
                  </a:lnTo>
                  <a:lnTo>
                    <a:pt x="296" y="149"/>
                  </a:lnTo>
                  <a:lnTo>
                    <a:pt x="313" y="149"/>
                  </a:lnTo>
                  <a:lnTo>
                    <a:pt x="329" y="134"/>
                  </a:lnTo>
                  <a:lnTo>
                    <a:pt x="306" y="130"/>
                  </a:lnTo>
                  <a:lnTo>
                    <a:pt x="301" y="118"/>
                  </a:lnTo>
                  <a:lnTo>
                    <a:pt x="313" y="110"/>
                  </a:lnTo>
                  <a:lnTo>
                    <a:pt x="325" y="120"/>
                  </a:lnTo>
                  <a:lnTo>
                    <a:pt x="336" y="108"/>
                  </a:lnTo>
                  <a:lnTo>
                    <a:pt x="348" y="111"/>
                  </a:lnTo>
                  <a:lnTo>
                    <a:pt x="348" y="94"/>
                  </a:lnTo>
                  <a:lnTo>
                    <a:pt x="358" y="86"/>
                  </a:lnTo>
                  <a:lnTo>
                    <a:pt x="358" y="72"/>
                  </a:lnTo>
                  <a:lnTo>
                    <a:pt x="367" y="67"/>
                  </a:lnTo>
                  <a:lnTo>
                    <a:pt x="373" y="46"/>
                  </a:lnTo>
                  <a:lnTo>
                    <a:pt x="380" y="25"/>
                  </a:lnTo>
                  <a:lnTo>
                    <a:pt x="372" y="0"/>
                  </a:lnTo>
                  <a:lnTo>
                    <a:pt x="351" y="0"/>
                  </a:lnTo>
                  <a:lnTo>
                    <a:pt x="334" y="0"/>
                  </a:lnTo>
                  <a:lnTo>
                    <a:pt x="330" y="20"/>
                  </a:lnTo>
                  <a:lnTo>
                    <a:pt x="322" y="5"/>
                  </a:lnTo>
                  <a:lnTo>
                    <a:pt x="312" y="24"/>
                  </a:lnTo>
                  <a:lnTo>
                    <a:pt x="301" y="13"/>
                  </a:lnTo>
                  <a:lnTo>
                    <a:pt x="291" y="20"/>
                  </a:lnTo>
                  <a:lnTo>
                    <a:pt x="277" y="20"/>
                  </a:lnTo>
                  <a:lnTo>
                    <a:pt x="270" y="27"/>
                  </a:lnTo>
                  <a:lnTo>
                    <a:pt x="258" y="25"/>
                  </a:lnTo>
                  <a:lnTo>
                    <a:pt x="255" y="41"/>
                  </a:lnTo>
                  <a:lnTo>
                    <a:pt x="239" y="48"/>
                  </a:lnTo>
                  <a:lnTo>
                    <a:pt x="234" y="61"/>
                  </a:lnTo>
                  <a:lnTo>
                    <a:pt x="238" y="75"/>
                  </a:lnTo>
                  <a:lnTo>
                    <a:pt x="251" y="82"/>
                  </a:lnTo>
                  <a:lnTo>
                    <a:pt x="248" y="91"/>
                  </a:lnTo>
                  <a:lnTo>
                    <a:pt x="234" y="89"/>
                  </a:lnTo>
                  <a:lnTo>
                    <a:pt x="227" y="98"/>
                  </a:lnTo>
                  <a:lnTo>
                    <a:pt x="236" y="103"/>
                  </a:lnTo>
                  <a:lnTo>
                    <a:pt x="215" y="103"/>
                  </a:lnTo>
                  <a:lnTo>
                    <a:pt x="201" y="118"/>
                  </a:lnTo>
                  <a:lnTo>
                    <a:pt x="200" y="129"/>
                  </a:lnTo>
                  <a:lnTo>
                    <a:pt x="219" y="132"/>
                  </a:lnTo>
                  <a:lnTo>
                    <a:pt x="231" y="139"/>
                  </a:lnTo>
                  <a:lnTo>
                    <a:pt x="251" y="135"/>
                  </a:lnTo>
                  <a:lnTo>
                    <a:pt x="274" y="129"/>
                  </a:lnTo>
                  <a:lnTo>
                    <a:pt x="272" y="146"/>
                  </a:lnTo>
                  <a:lnTo>
                    <a:pt x="263" y="160"/>
                  </a:lnTo>
                  <a:lnTo>
                    <a:pt x="262" y="168"/>
                  </a:lnTo>
                  <a:lnTo>
                    <a:pt x="244" y="168"/>
                  </a:lnTo>
                  <a:lnTo>
                    <a:pt x="217" y="187"/>
                  </a:lnTo>
                  <a:lnTo>
                    <a:pt x="231" y="197"/>
                  </a:lnTo>
                  <a:lnTo>
                    <a:pt x="217" y="201"/>
                  </a:lnTo>
                  <a:lnTo>
                    <a:pt x="210" y="208"/>
                  </a:lnTo>
                  <a:lnTo>
                    <a:pt x="194" y="206"/>
                  </a:lnTo>
                  <a:lnTo>
                    <a:pt x="179" y="197"/>
                  </a:lnTo>
                  <a:lnTo>
                    <a:pt x="165" y="199"/>
                  </a:lnTo>
                  <a:lnTo>
                    <a:pt x="165" y="218"/>
                  </a:lnTo>
                  <a:lnTo>
                    <a:pt x="150" y="216"/>
                  </a:lnTo>
                  <a:lnTo>
                    <a:pt x="143" y="197"/>
                  </a:lnTo>
                  <a:lnTo>
                    <a:pt x="126" y="194"/>
                  </a:lnTo>
                  <a:lnTo>
                    <a:pt x="112" y="196"/>
                  </a:lnTo>
                  <a:lnTo>
                    <a:pt x="88" y="192"/>
                  </a:lnTo>
                  <a:lnTo>
                    <a:pt x="79" y="187"/>
                  </a:lnTo>
                  <a:lnTo>
                    <a:pt x="72" y="196"/>
                  </a:lnTo>
                  <a:lnTo>
                    <a:pt x="79" y="203"/>
                  </a:lnTo>
                  <a:lnTo>
                    <a:pt x="67" y="209"/>
                  </a:lnTo>
                  <a:lnTo>
                    <a:pt x="52" y="199"/>
                  </a:lnTo>
                  <a:lnTo>
                    <a:pt x="40" y="211"/>
                  </a:lnTo>
                  <a:lnTo>
                    <a:pt x="45" y="220"/>
                  </a:lnTo>
                  <a:lnTo>
                    <a:pt x="40" y="242"/>
                  </a:lnTo>
                  <a:lnTo>
                    <a:pt x="46" y="244"/>
                  </a:lnTo>
                  <a:lnTo>
                    <a:pt x="55" y="221"/>
                  </a:lnTo>
                  <a:lnTo>
                    <a:pt x="62" y="230"/>
                  </a:lnTo>
                  <a:lnTo>
                    <a:pt x="57" y="242"/>
                  </a:lnTo>
                  <a:lnTo>
                    <a:pt x="65" y="252"/>
                  </a:lnTo>
                  <a:lnTo>
                    <a:pt x="71" y="258"/>
                  </a:lnTo>
                  <a:lnTo>
                    <a:pt x="64" y="268"/>
                  </a:lnTo>
                  <a:lnTo>
                    <a:pt x="57" y="259"/>
                  </a:lnTo>
                  <a:lnTo>
                    <a:pt x="43" y="259"/>
                  </a:lnTo>
                  <a:lnTo>
                    <a:pt x="29" y="263"/>
                  </a:lnTo>
                  <a:lnTo>
                    <a:pt x="29" y="273"/>
                  </a:lnTo>
                  <a:lnTo>
                    <a:pt x="48" y="271"/>
                  </a:lnTo>
                  <a:lnTo>
                    <a:pt x="52" y="282"/>
                  </a:lnTo>
                  <a:lnTo>
                    <a:pt x="62" y="289"/>
                  </a:lnTo>
                  <a:lnTo>
                    <a:pt x="84" y="280"/>
                  </a:lnTo>
                  <a:lnTo>
                    <a:pt x="103" y="282"/>
                  </a:lnTo>
                  <a:lnTo>
                    <a:pt x="100" y="297"/>
                  </a:lnTo>
                  <a:lnTo>
                    <a:pt x="98" y="306"/>
                  </a:lnTo>
                  <a:lnTo>
                    <a:pt x="81" y="304"/>
                  </a:lnTo>
                  <a:lnTo>
                    <a:pt x="67" y="309"/>
                  </a:lnTo>
                  <a:lnTo>
                    <a:pt x="65" y="325"/>
                  </a:lnTo>
                  <a:lnTo>
                    <a:pt x="71" y="335"/>
                  </a:lnTo>
                  <a:lnTo>
                    <a:pt x="57" y="342"/>
                  </a:lnTo>
                  <a:lnTo>
                    <a:pt x="45" y="344"/>
                  </a:lnTo>
                  <a:lnTo>
                    <a:pt x="33" y="350"/>
                  </a:lnTo>
                  <a:lnTo>
                    <a:pt x="38" y="357"/>
                  </a:lnTo>
                  <a:lnTo>
                    <a:pt x="45" y="366"/>
                  </a:lnTo>
                  <a:lnTo>
                    <a:pt x="36" y="376"/>
                  </a:lnTo>
                  <a:lnTo>
                    <a:pt x="45" y="385"/>
                  </a:lnTo>
                  <a:lnTo>
                    <a:pt x="52" y="381"/>
                  </a:lnTo>
                  <a:lnTo>
                    <a:pt x="62" y="388"/>
                  </a:lnTo>
                  <a:lnTo>
                    <a:pt x="71" y="378"/>
                  </a:lnTo>
                  <a:lnTo>
                    <a:pt x="79" y="385"/>
                  </a:lnTo>
                  <a:lnTo>
                    <a:pt x="65" y="393"/>
                  </a:lnTo>
                  <a:lnTo>
                    <a:pt x="74" y="404"/>
                  </a:lnTo>
                  <a:lnTo>
                    <a:pt x="90" y="400"/>
                  </a:lnTo>
                  <a:lnTo>
                    <a:pt x="93" y="390"/>
                  </a:lnTo>
                  <a:lnTo>
                    <a:pt x="102" y="399"/>
                  </a:lnTo>
                  <a:lnTo>
                    <a:pt x="91" y="407"/>
                  </a:lnTo>
                  <a:lnTo>
                    <a:pt x="105" y="414"/>
                  </a:lnTo>
                  <a:lnTo>
                    <a:pt x="129" y="414"/>
                  </a:lnTo>
                  <a:lnTo>
                    <a:pt x="151" y="412"/>
                  </a:lnTo>
                  <a:lnTo>
                    <a:pt x="169" y="407"/>
                  </a:lnTo>
                  <a:lnTo>
                    <a:pt x="179" y="414"/>
                  </a:lnTo>
                  <a:lnTo>
                    <a:pt x="170" y="417"/>
                  </a:lnTo>
                  <a:lnTo>
                    <a:pt x="179" y="426"/>
                  </a:lnTo>
                  <a:lnTo>
                    <a:pt x="162" y="426"/>
                  </a:lnTo>
                  <a:lnTo>
                    <a:pt x="158" y="436"/>
                  </a:lnTo>
                  <a:lnTo>
                    <a:pt x="145" y="433"/>
                  </a:lnTo>
                  <a:lnTo>
                    <a:pt x="138" y="442"/>
                  </a:lnTo>
                  <a:lnTo>
                    <a:pt x="126" y="455"/>
                  </a:lnTo>
                  <a:lnTo>
                    <a:pt x="119" y="473"/>
                  </a:lnTo>
                  <a:lnTo>
                    <a:pt x="126" y="479"/>
                  </a:lnTo>
                  <a:lnTo>
                    <a:pt x="119" y="493"/>
                  </a:lnTo>
                  <a:lnTo>
                    <a:pt x="112" y="502"/>
                  </a:lnTo>
                  <a:lnTo>
                    <a:pt x="103" y="512"/>
                  </a:lnTo>
                  <a:lnTo>
                    <a:pt x="96" y="524"/>
                  </a:lnTo>
                  <a:lnTo>
                    <a:pt x="83" y="536"/>
                  </a:lnTo>
                  <a:lnTo>
                    <a:pt x="67" y="541"/>
                  </a:lnTo>
                  <a:lnTo>
                    <a:pt x="69" y="548"/>
                  </a:lnTo>
                  <a:lnTo>
                    <a:pt x="86" y="545"/>
                  </a:lnTo>
                  <a:lnTo>
                    <a:pt x="96" y="545"/>
                  </a:lnTo>
                  <a:lnTo>
                    <a:pt x="93" y="560"/>
                  </a:lnTo>
                  <a:lnTo>
                    <a:pt x="79" y="569"/>
                  </a:lnTo>
                  <a:lnTo>
                    <a:pt x="65" y="569"/>
                  </a:lnTo>
                  <a:lnTo>
                    <a:pt x="64" y="576"/>
                  </a:lnTo>
                  <a:lnTo>
                    <a:pt x="74" y="583"/>
                  </a:lnTo>
                  <a:lnTo>
                    <a:pt x="76" y="595"/>
                  </a:lnTo>
                  <a:lnTo>
                    <a:pt x="69" y="598"/>
                  </a:lnTo>
                  <a:lnTo>
                    <a:pt x="71" y="605"/>
                  </a:lnTo>
                  <a:lnTo>
                    <a:pt x="65" y="612"/>
                  </a:lnTo>
                  <a:lnTo>
                    <a:pt x="53" y="596"/>
                  </a:lnTo>
                  <a:lnTo>
                    <a:pt x="46" y="607"/>
                  </a:lnTo>
                  <a:lnTo>
                    <a:pt x="36" y="607"/>
                  </a:lnTo>
                  <a:lnTo>
                    <a:pt x="33" y="598"/>
                  </a:lnTo>
                  <a:lnTo>
                    <a:pt x="19" y="607"/>
                  </a:lnTo>
                  <a:lnTo>
                    <a:pt x="14" y="612"/>
                  </a:lnTo>
                  <a:lnTo>
                    <a:pt x="15" y="620"/>
                  </a:lnTo>
                  <a:lnTo>
                    <a:pt x="3" y="617"/>
                  </a:lnTo>
                  <a:lnTo>
                    <a:pt x="0" y="622"/>
                  </a:lnTo>
                  <a:lnTo>
                    <a:pt x="0" y="641"/>
                  </a:lnTo>
                  <a:lnTo>
                    <a:pt x="15" y="638"/>
                  </a:lnTo>
                  <a:lnTo>
                    <a:pt x="28" y="632"/>
                  </a:lnTo>
                  <a:lnTo>
                    <a:pt x="46" y="631"/>
                  </a:lnTo>
                  <a:lnTo>
                    <a:pt x="64" y="626"/>
                  </a:lnTo>
                  <a:lnTo>
                    <a:pt x="74" y="629"/>
                  </a:lnTo>
                  <a:lnTo>
                    <a:pt x="65" y="638"/>
                  </a:lnTo>
                  <a:lnTo>
                    <a:pt x="59" y="646"/>
                  </a:lnTo>
                  <a:lnTo>
                    <a:pt x="41" y="648"/>
                  </a:lnTo>
                  <a:lnTo>
                    <a:pt x="28" y="655"/>
                  </a:lnTo>
                  <a:lnTo>
                    <a:pt x="17" y="663"/>
                  </a:lnTo>
                  <a:lnTo>
                    <a:pt x="5" y="677"/>
                  </a:lnTo>
                  <a:lnTo>
                    <a:pt x="9" y="686"/>
                  </a:lnTo>
                  <a:lnTo>
                    <a:pt x="17" y="684"/>
                  </a:lnTo>
                  <a:lnTo>
                    <a:pt x="15" y="696"/>
                  </a:lnTo>
                  <a:lnTo>
                    <a:pt x="29" y="684"/>
                  </a:lnTo>
                  <a:lnTo>
                    <a:pt x="36" y="696"/>
                  </a:lnTo>
                  <a:lnTo>
                    <a:pt x="31" y="705"/>
                  </a:lnTo>
                  <a:lnTo>
                    <a:pt x="41" y="706"/>
                  </a:lnTo>
                  <a:lnTo>
                    <a:pt x="50" y="698"/>
                  </a:lnTo>
                  <a:lnTo>
                    <a:pt x="65" y="696"/>
                  </a:lnTo>
                  <a:lnTo>
                    <a:pt x="90" y="682"/>
                  </a:lnTo>
                  <a:lnTo>
                    <a:pt x="103" y="681"/>
                  </a:lnTo>
                  <a:lnTo>
                    <a:pt x="90" y="688"/>
                  </a:lnTo>
                  <a:lnTo>
                    <a:pt x="76" y="701"/>
                  </a:lnTo>
                  <a:lnTo>
                    <a:pt x="60" y="708"/>
                  </a:lnTo>
                  <a:lnTo>
                    <a:pt x="43" y="718"/>
                  </a:lnTo>
                  <a:lnTo>
                    <a:pt x="50" y="725"/>
                  </a:lnTo>
                  <a:lnTo>
                    <a:pt x="31" y="729"/>
                  </a:lnTo>
                  <a:lnTo>
                    <a:pt x="36" y="734"/>
                  </a:lnTo>
                  <a:lnTo>
                    <a:pt x="60" y="734"/>
                  </a:lnTo>
                  <a:lnTo>
                    <a:pt x="69" y="725"/>
                  </a:lnTo>
                  <a:lnTo>
                    <a:pt x="90" y="720"/>
                  </a:lnTo>
                  <a:lnTo>
                    <a:pt x="105" y="706"/>
                  </a:lnTo>
                  <a:lnTo>
                    <a:pt x="117" y="706"/>
                  </a:lnTo>
                  <a:lnTo>
                    <a:pt x="122" y="718"/>
                  </a:lnTo>
                  <a:lnTo>
                    <a:pt x="108" y="720"/>
                  </a:lnTo>
                  <a:lnTo>
                    <a:pt x="93" y="729"/>
                  </a:lnTo>
                  <a:lnTo>
                    <a:pt x="72" y="739"/>
                  </a:lnTo>
                  <a:lnTo>
                    <a:pt x="72" y="744"/>
                  </a:lnTo>
                  <a:lnTo>
                    <a:pt x="103" y="734"/>
                  </a:lnTo>
                  <a:lnTo>
                    <a:pt x="90" y="743"/>
                  </a:lnTo>
                  <a:lnTo>
                    <a:pt x="74" y="753"/>
                  </a:lnTo>
                  <a:lnTo>
                    <a:pt x="74" y="760"/>
                  </a:lnTo>
                  <a:lnTo>
                    <a:pt x="88" y="758"/>
                  </a:lnTo>
                  <a:lnTo>
                    <a:pt x="95" y="748"/>
                  </a:lnTo>
                  <a:lnTo>
                    <a:pt x="102" y="751"/>
                  </a:lnTo>
                  <a:lnTo>
                    <a:pt x="115" y="744"/>
                  </a:lnTo>
                  <a:lnTo>
                    <a:pt x="122" y="751"/>
                  </a:lnTo>
                  <a:lnTo>
                    <a:pt x="120" y="758"/>
                  </a:lnTo>
                  <a:lnTo>
                    <a:pt x="134" y="756"/>
                  </a:lnTo>
                  <a:lnTo>
                    <a:pt x="141" y="753"/>
                  </a:lnTo>
                  <a:lnTo>
                    <a:pt x="158" y="743"/>
                  </a:lnTo>
                  <a:lnTo>
                    <a:pt x="170" y="741"/>
                  </a:lnTo>
                  <a:lnTo>
                    <a:pt x="181" y="748"/>
                  </a:lnTo>
                  <a:lnTo>
                    <a:pt x="189" y="737"/>
                  </a:lnTo>
                  <a:lnTo>
                    <a:pt x="207" y="737"/>
                  </a:lnTo>
                  <a:lnTo>
                    <a:pt x="213" y="724"/>
                  </a:lnTo>
                  <a:lnTo>
                    <a:pt x="227" y="729"/>
                  </a:lnTo>
                  <a:lnTo>
                    <a:pt x="234" y="718"/>
                  </a:lnTo>
                  <a:lnTo>
                    <a:pt x="244" y="713"/>
                  </a:lnTo>
                  <a:lnTo>
                    <a:pt x="253" y="706"/>
                  </a:lnTo>
                  <a:lnTo>
                    <a:pt x="258" y="696"/>
                  </a:lnTo>
                  <a:lnTo>
                    <a:pt x="269" y="696"/>
                  </a:lnTo>
                  <a:lnTo>
                    <a:pt x="281" y="693"/>
                  </a:lnTo>
                  <a:lnTo>
                    <a:pt x="287" y="689"/>
                  </a:lnTo>
                  <a:lnTo>
                    <a:pt x="293" y="682"/>
                  </a:lnTo>
                  <a:lnTo>
                    <a:pt x="306" y="677"/>
                  </a:lnTo>
                  <a:lnTo>
                    <a:pt x="306" y="669"/>
                  </a:lnTo>
                  <a:lnTo>
                    <a:pt x="324" y="669"/>
                  </a:lnTo>
                  <a:lnTo>
                    <a:pt x="329" y="660"/>
                  </a:lnTo>
                  <a:lnTo>
                    <a:pt x="341" y="657"/>
                  </a:lnTo>
                  <a:lnTo>
                    <a:pt x="343" y="648"/>
                  </a:lnTo>
                  <a:lnTo>
                    <a:pt x="334" y="639"/>
                  </a:lnTo>
                  <a:lnTo>
                    <a:pt x="343" y="636"/>
                  </a:lnTo>
                  <a:lnTo>
                    <a:pt x="367" y="631"/>
                  </a:lnTo>
                  <a:lnTo>
                    <a:pt x="384" y="626"/>
                  </a:lnTo>
                  <a:lnTo>
                    <a:pt x="398" y="626"/>
                  </a:lnTo>
                  <a:lnTo>
                    <a:pt x="399" y="631"/>
                  </a:lnTo>
                  <a:lnTo>
                    <a:pt x="410" y="629"/>
                  </a:lnTo>
                  <a:lnTo>
                    <a:pt x="418" y="619"/>
                  </a:lnTo>
                  <a:lnTo>
                    <a:pt x="411" y="605"/>
                  </a:lnTo>
                  <a:lnTo>
                    <a:pt x="422" y="610"/>
                  </a:lnTo>
                  <a:lnTo>
                    <a:pt x="423" y="622"/>
                  </a:lnTo>
                  <a:lnTo>
                    <a:pt x="422" y="634"/>
                  </a:lnTo>
                  <a:lnTo>
                    <a:pt x="429" y="631"/>
                  </a:lnTo>
                  <a:lnTo>
                    <a:pt x="432" y="622"/>
                  </a:lnTo>
                  <a:lnTo>
                    <a:pt x="435" y="614"/>
                  </a:lnTo>
                  <a:lnTo>
                    <a:pt x="448" y="614"/>
                  </a:lnTo>
                  <a:lnTo>
                    <a:pt x="456" y="626"/>
                  </a:lnTo>
                  <a:lnTo>
                    <a:pt x="466" y="617"/>
                  </a:lnTo>
                  <a:lnTo>
                    <a:pt x="475" y="617"/>
                  </a:lnTo>
                  <a:lnTo>
                    <a:pt x="484" y="622"/>
                  </a:lnTo>
                  <a:lnTo>
                    <a:pt x="492" y="612"/>
                  </a:lnTo>
                  <a:lnTo>
                    <a:pt x="484" y="603"/>
                  </a:lnTo>
                  <a:lnTo>
                    <a:pt x="475" y="596"/>
                  </a:lnTo>
                  <a:lnTo>
                    <a:pt x="477" y="588"/>
                  </a:lnTo>
                  <a:lnTo>
                    <a:pt x="489" y="588"/>
                  </a:lnTo>
                  <a:lnTo>
                    <a:pt x="485" y="576"/>
                  </a:lnTo>
                  <a:lnTo>
                    <a:pt x="497" y="560"/>
                  </a:lnTo>
                  <a:lnTo>
                    <a:pt x="508" y="548"/>
                  </a:lnTo>
                  <a:lnTo>
                    <a:pt x="504" y="534"/>
                  </a:lnTo>
                  <a:lnTo>
                    <a:pt x="506" y="526"/>
                  </a:lnTo>
                  <a:lnTo>
                    <a:pt x="515" y="514"/>
                  </a:lnTo>
                  <a:lnTo>
                    <a:pt x="513" y="498"/>
                  </a:lnTo>
                  <a:lnTo>
                    <a:pt x="522" y="488"/>
                  </a:lnTo>
                  <a:lnTo>
                    <a:pt x="528" y="473"/>
                  </a:lnTo>
                  <a:lnTo>
                    <a:pt x="527" y="462"/>
                  </a:lnTo>
                  <a:lnTo>
                    <a:pt x="525" y="436"/>
                  </a:lnTo>
                  <a:lnTo>
                    <a:pt x="522" y="423"/>
                  </a:lnTo>
                  <a:lnTo>
                    <a:pt x="518" y="409"/>
                  </a:lnTo>
                  <a:lnTo>
                    <a:pt x="513" y="404"/>
                  </a:lnTo>
                  <a:lnTo>
                    <a:pt x="499" y="397"/>
                  </a:lnTo>
                  <a:lnTo>
                    <a:pt x="504" y="385"/>
                  </a:lnTo>
                  <a:lnTo>
                    <a:pt x="513" y="388"/>
                  </a:lnTo>
                  <a:lnTo>
                    <a:pt x="523" y="385"/>
                  </a:lnTo>
                  <a:lnTo>
                    <a:pt x="520" y="376"/>
                  </a:lnTo>
                  <a:lnTo>
                    <a:pt x="527" y="366"/>
                  </a:lnTo>
                  <a:lnTo>
                    <a:pt x="525" y="350"/>
                  </a:lnTo>
                  <a:lnTo>
                    <a:pt x="513" y="338"/>
                  </a:lnTo>
                  <a:lnTo>
                    <a:pt x="504" y="325"/>
                  </a:lnTo>
                  <a:lnTo>
                    <a:pt x="503" y="306"/>
                  </a:lnTo>
                  <a:lnTo>
                    <a:pt x="503" y="290"/>
                  </a:lnTo>
                  <a:lnTo>
                    <a:pt x="492" y="282"/>
                  </a:lnTo>
                  <a:lnTo>
                    <a:pt x="492" y="271"/>
                  </a:lnTo>
                  <a:lnTo>
                    <a:pt x="499" y="261"/>
                  </a:lnTo>
                  <a:lnTo>
                    <a:pt x="508" y="270"/>
                  </a:lnTo>
                  <a:lnTo>
                    <a:pt x="518" y="261"/>
                  </a:lnTo>
                  <a:lnTo>
                    <a:pt x="501" y="239"/>
                  </a:lnTo>
                  <a:lnTo>
                    <a:pt x="485" y="235"/>
                  </a:lnTo>
                  <a:lnTo>
                    <a:pt x="485" y="25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58" name="Freeform 688">
              <a:extLst>
                <a:ext uri="{FF2B5EF4-FFF2-40B4-BE49-F238E27FC236}">
                  <a16:creationId xmlns:a16="http://schemas.microsoft.com/office/drawing/2014/main" id="{BD728657-D3F5-4A08-929B-B14E5E406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8175" y="1228726"/>
              <a:ext cx="1519238" cy="1660525"/>
            </a:xfrm>
            <a:custGeom>
              <a:avLst/>
              <a:gdLst>
                <a:gd name="T0" fmla="*/ 150 w 957"/>
                <a:gd name="T1" fmla="*/ 66 h 1046"/>
                <a:gd name="T2" fmla="*/ 71 w 957"/>
                <a:gd name="T3" fmla="*/ 61 h 1046"/>
                <a:gd name="T4" fmla="*/ 57 w 957"/>
                <a:gd name="T5" fmla="*/ 73 h 1046"/>
                <a:gd name="T6" fmla="*/ 66 w 957"/>
                <a:gd name="T7" fmla="*/ 112 h 1046"/>
                <a:gd name="T8" fmla="*/ 188 w 957"/>
                <a:gd name="T9" fmla="*/ 135 h 1046"/>
                <a:gd name="T10" fmla="*/ 146 w 957"/>
                <a:gd name="T11" fmla="*/ 135 h 1046"/>
                <a:gd name="T12" fmla="*/ 45 w 957"/>
                <a:gd name="T13" fmla="*/ 124 h 1046"/>
                <a:gd name="T14" fmla="*/ 47 w 957"/>
                <a:gd name="T15" fmla="*/ 136 h 1046"/>
                <a:gd name="T16" fmla="*/ 26 w 957"/>
                <a:gd name="T17" fmla="*/ 200 h 1046"/>
                <a:gd name="T18" fmla="*/ 26 w 957"/>
                <a:gd name="T19" fmla="*/ 234 h 1046"/>
                <a:gd name="T20" fmla="*/ 24 w 957"/>
                <a:gd name="T21" fmla="*/ 269 h 1046"/>
                <a:gd name="T22" fmla="*/ 60 w 957"/>
                <a:gd name="T23" fmla="*/ 308 h 1046"/>
                <a:gd name="T24" fmla="*/ 162 w 957"/>
                <a:gd name="T25" fmla="*/ 303 h 1046"/>
                <a:gd name="T26" fmla="*/ 231 w 957"/>
                <a:gd name="T27" fmla="*/ 248 h 1046"/>
                <a:gd name="T28" fmla="*/ 274 w 957"/>
                <a:gd name="T29" fmla="*/ 305 h 1046"/>
                <a:gd name="T30" fmla="*/ 306 w 957"/>
                <a:gd name="T31" fmla="*/ 252 h 1046"/>
                <a:gd name="T32" fmla="*/ 319 w 957"/>
                <a:gd name="T33" fmla="*/ 315 h 1046"/>
                <a:gd name="T34" fmla="*/ 274 w 957"/>
                <a:gd name="T35" fmla="*/ 355 h 1046"/>
                <a:gd name="T36" fmla="*/ 212 w 957"/>
                <a:gd name="T37" fmla="*/ 312 h 1046"/>
                <a:gd name="T38" fmla="*/ 124 w 957"/>
                <a:gd name="T39" fmla="*/ 319 h 1046"/>
                <a:gd name="T40" fmla="*/ 29 w 957"/>
                <a:gd name="T41" fmla="*/ 327 h 1046"/>
                <a:gd name="T42" fmla="*/ 57 w 957"/>
                <a:gd name="T43" fmla="*/ 391 h 1046"/>
                <a:gd name="T44" fmla="*/ 29 w 957"/>
                <a:gd name="T45" fmla="*/ 387 h 1046"/>
                <a:gd name="T46" fmla="*/ 17 w 957"/>
                <a:gd name="T47" fmla="*/ 425 h 1046"/>
                <a:gd name="T48" fmla="*/ 47 w 957"/>
                <a:gd name="T49" fmla="*/ 475 h 1046"/>
                <a:gd name="T50" fmla="*/ 21 w 957"/>
                <a:gd name="T51" fmla="*/ 539 h 1046"/>
                <a:gd name="T52" fmla="*/ 76 w 957"/>
                <a:gd name="T53" fmla="*/ 535 h 1046"/>
                <a:gd name="T54" fmla="*/ 107 w 957"/>
                <a:gd name="T55" fmla="*/ 565 h 1046"/>
                <a:gd name="T56" fmla="*/ 71 w 957"/>
                <a:gd name="T57" fmla="*/ 647 h 1046"/>
                <a:gd name="T58" fmla="*/ 131 w 957"/>
                <a:gd name="T59" fmla="*/ 549 h 1046"/>
                <a:gd name="T60" fmla="*/ 196 w 957"/>
                <a:gd name="T61" fmla="*/ 479 h 1046"/>
                <a:gd name="T62" fmla="*/ 181 w 957"/>
                <a:gd name="T63" fmla="*/ 499 h 1046"/>
                <a:gd name="T64" fmla="*/ 141 w 957"/>
                <a:gd name="T65" fmla="*/ 571 h 1046"/>
                <a:gd name="T66" fmla="*/ 148 w 957"/>
                <a:gd name="T67" fmla="*/ 635 h 1046"/>
                <a:gd name="T68" fmla="*/ 84 w 957"/>
                <a:gd name="T69" fmla="*/ 651 h 1046"/>
                <a:gd name="T70" fmla="*/ 41 w 957"/>
                <a:gd name="T71" fmla="*/ 766 h 1046"/>
                <a:gd name="T72" fmla="*/ 96 w 957"/>
                <a:gd name="T73" fmla="*/ 750 h 1046"/>
                <a:gd name="T74" fmla="*/ 131 w 957"/>
                <a:gd name="T75" fmla="*/ 716 h 1046"/>
                <a:gd name="T76" fmla="*/ 146 w 957"/>
                <a:gd name="T77" fmla="*/ 778 h 1046"/>
                <a:gd name="T78" fmla="*/ 119 w 957"/>
                <a:gd name="T79" fmla="*/ 824 h 1046"/>
                <a:gd name="T80" fmla="*/ 84 w 957"/>
                <a:gd name="T81" fmla="*/ 874 h 1046"/>
                <a:gd name="T82" fmla="*/ 155 w 957"/>
                <a:gd name="T83" fmla="*/ 965 h 1046"/>
                <a:gd name="T84" fmla="*/ 208 w 957"/>
                <a:gd name="T85" fmla="*/ 1020 h 1046"/>
                <a:gd name="T86" fmla="*/ 301 w 957"/>
                <a:gd name="T87" fmla="*/ 1041 h 1046"/>
                <a:gd name="T88" fmla="*/ 396 w 957"/>
                <a:gd name="T89" fmla="*/ 1020 h 1046"/>
                <a:gd name="T90" fmla="*/ 482 w 957"/>
                <a:gd name="T91" fmla="*/ 945 h 1046"/>
                <a:gd name="T92" fmla="*/ 553 w 957"/>
                <a:gd name="T93" fmla="*/ 853 h 1046"/>
                <a:gd name="T94" fmla="*/ 621 w 957"/>
                <a:gd name="T95" fmla="*/ 823 h 1046"/>
                <a:gd name="T96" fmla="*/ 673 w 957"/>
                <a:gd name="T97" fmla="*/ 759 h 1046"/>
                <a:gd name="T98" fmla="*/ 664 w 957"/>
                <a:gd name="T99" fmla="*/ 680 h 1046"/>
                <a:gd name="T100" fmla="*/ 677 w 957"/>
                <a:gd name="T101" fmla="*/ 647 h 1046"/>
                <a:gd name="T102" fmla="*/ 702 w 957"/>
                <a:gd name="T103" fmla="*/ 630 h 1046"/>
                <a:gd name="T104" fmla="*/ 695 w 957"/>
                <a:gd name="T105" fmla="*/ 723 h 1046"/>
                <a:gd name="T106" fmla="*/ 751 w 957"/>
                <a:gd name="T107" fmla="*/ 781 h 1046"/>
                <a:gd name="T108" fmla="*/ 775 w 957"/>
                <a:gd name="T109" fmla="*/ 788 h 1046"/>
                <a:gd name="T110" fmla="*/ 831 w 957"/>
                <a:gd name="T111" fmla="*/ 731 h 1046"/>
                <a:gd name="T112" fmla="*/ 849 w 957"/>
                <a:gd name="T113" fmla="*/ 633 h 1046"/>
                <a:gd name="T114" fmla="*/ 914 w 957"/>
                <a:gd name="T115" fmla="*/ 506 h 1046"/>
                <a:gd name="T116" fmla="*/ 930 w 957"/>
                <a:gd name="T117" fmla="*/ 329 h 1046"/>
                <a:gd name="T118" fmla="*/ 257 w 957"/>
                <a:gd name="T119" fmla="*/ 0 h 1046"/>
                <a:gd name="T120" fmla="*/ 263 w 957"/>
                <a:gd name="T121" fmla="*/ 45 h 1046"/>
                <a:gd name="T122" fmla="*/ 208 w 957"/>
                <a:gd name="T123" fmla="*/ 40 h 1046"/>
                <a:gd name="T124" fmla="*/ 165 w 957"/>
                <a:gd name="T125" fmla="*/ 6 h 10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7" h="1046">
                  <a:moveTo>
                    <a:pt x="152" y="16"/>
                  </a:moveTo>
                  <a:lnTo>
                    <a:pt x="141" y="26"/>
                  </a:lnTo>
                  <a:lnTo>
                    <a:pt x="140" y="35"/>
                  </a:lnTo>
                  <a:lnTo>
                    <a:pt x="141" y="49"/>
                  </a:lnTo>
                  <a:lnTo>
                    <a:pt x="155" y="64"/>
                  </a:lnTo>
                  <a:lnTo>
                    <a:pt x="183" y="69"/>
                  </a:lnTo>
                  <a:lnTo>
                    <a:pt x="160" y="71"/>
                  </a:lnTo>
                  <a:lnTo>
                    <a:pt x="146" y="80"/>
                  </a:lnTo>
                  <a:lnTo>
                    <a:pt x="150" y="66"/>
                  </a:lnTo>
                  <a:lnTo>
                    <a:pt x="141" y="57"/>
                  </a:lnTo>
                  <a:lnTo>
                    <a:pt x="122" y="83"/>
                  </a:lnTo>
                  <a:lnTo>
                    <a:pt x="134" y="50"/>
                  </a:lnTo>
                  <a:lnTo>
                    <a:pt x="126" y="42"/>
                  </a:lnTo>
                  <a:lnTo>
                    <a:pt x="109" y="45"/>
                  </a:lnTo>
                  <a:lnTo>
                    <a:pt x="109" y="62"/>
                  </a:lnTo>
                  <a:lnTo>
                    <a:pt x="95" y="49"/>
                  </a:lnTo>
                  <a:lnTo>
                    <a:pt x="81" y="49"/>
                  </a:lnTo>
                  <a:lnTo>
                    <a:pt x="71" y="61"/>
                  </a:lnTo>
                  <a:lnTo>
                    <a:pt x="93" y="68"/>
                  </a:lnTo>
                  <a:lnTo>
                    <a:pt x="83" y="76"/>
                  </a:lnTo>
                  <a:lnTo>
                    <a:pt x="76" y="74"/>
                  </a:lnTo>
                  <a:lnTo>
                    <a:pt x="59" y="64"/>
                  </a:lnTo>
                  <a:lnTo>
                    <a:pt x="62" y="52"/>
                  </a:lnTo>
                  <a:lnTo>
                    <a:pt x="52" y="45"/>
                  </a:lnTo>
                  <a:lnTo>
                    <a:pt x="33" y="45"/>
                  </a:lnTo>
                  <a:lnTo>
                    <a:pt x="38" y="64"/>
                  </a:lnTo>
                  <a:lnTo>
                    <a:pt x="57" y="73"/>
                  </a:lnTo>
                  <a:lnTo>
                    <a:pt x="66" y="85"/>
                  </a:lnTo>
                  <a:lnTo>
                    <a:pt x="66" y="93"/>
                  </a:lnTo>
                  <a:lnTo>
                    <a:pt x="50" y="98"/>
                  </a:lnTo>
                  <a:lnTo>
                    <a:pt x="41" y="86"/>
                  </a:lnTo>
                  <a:lnTo>
                    <a:pt x="26" y="88"/>
                  </a:lnTo>
                  <a:lnTo>
                    <a:pt x="29" y="102"/>
                  </a:lnTo>
                  <a:lnTo>
                    <a:pt x="29" y="112"/>
                  </a:lnTo>
                  <a:lnTo>
                    <a:pt x="45" y="116"/>
                  </a:lnTo>
                  <a:lnTo>
                    <a:pt x="66" y="112"/>
                  </a:lnTo>
                  <a:lnTo>
                    <a:pt x="84" y="114"/>
                  </a:lnTo>
                  <a:lnTo>
                    <a:pt x="102" y="116"/>
                  </a:lnTo>
                  <a:lnTo>
                    <a:pt x="127" y="114"/>
                  </a:lnTo>
                  <a:lnTo>
                    <a:pt x="112" y="119"/>
                  </a:lnTo>
                  <a:lnTo>
                    <a:pt x="119" y="121"/>
                  </a:lnTo>
                  <a:lnTo>
                    <a:pt x="143" y="123"/>
                  </a:lnTo>
                  <a:lnTo>
                    <a:pt x="155" y="131"/>
                  </a:lnTo>
                  <a:lnTo>
                    <a:pt x="176" y="124"/>
                  </a:lnTo>
                  <a:lnTo>
                    <a:pt x="188" y="135"/>
                  </a:lnTo>
                  <a:lnTo>
                    <a:pt x="203" y="135"/>
                  </a:lnTo>
                  <a:lnTo>
                    <a:pt x="208" y="123"/>
                  </a:lnTo>
                  <a:lnTo>
                    <a:pt x="210" y="133"/>
                  </a:lnTo>
                  <a:lnTo>
                    <a:pt x="196" y="141"/>
                  </a:lnTo>
                  <a:lnTo>
                    <a:pt x="179" y="135"/>
                  </a:lnTo>
                  <a:lnTo>
                    <a:pt x="165" y="136"/>
                  </a:lnTo>
                  <a:lnTo>
                    <a:pt x="153" y="135"/>
                  </a:lnTo>
                  <a:lnTo>
                    <a:pt x="162" y="152"/>
                  </a:lnTo>
                  <a:lnTo>
                    <a:pt x="146" y="135"/>
                  </a:lnTo>
                  <a:lnTo>
                    <a:pt x="134" y="157"/>
                  </a:lnTo>
                  <a:lnTo>
                    <a:pt x="138" y="133"/>
                  </a:lnTo>
                  <a:lnTo>
                    <a:pt x="124" y="129"/>
                  </a:lnTo>
                  <a:lnTo>
                    <a:pt x="114" y="129"/>
                  </a:lnTo>
                  <a:lnTo>
                    <a:pt x="103" y="124"/>
                  </a:lnTo>
                  <a:lnTo>
                    <a:pt x="90" y="119"/>
                  </a:lnTo>
                  <a:lnTo>
                    <a:pt x="72" y="119"/>
                  </a:lnTo>
                  <a:lnTo>
                    <a:pt x="59" y="124"/>
                  </a:lnTo>
                  <a:lnTo>
                    <a:pt x="45" y="124"/>
                  </a:lnTo>
                  <a:lnTo>
                    <a:pt x="29" y="121"/>
                  </a:lnTo>
                  <a:lnTo>
                    <a:pt x="17" y="116"/>
                  </a:lnTo>
                  <a:lnTo>
                    <a:pt x="5" y="126"/>
                  </a:lnTo>
                  <a:lnTo>
                    <a:pt x="0" y="135"/>
                  </a:lnTo>
                  <a:lnTo>
                    <a:pt x="14" y="133"/>
                  </a:lnTo>
                  <a:lnTo>
                    <a:pt x="16" y="148"/>
                  </a:lnTo>
                  <a:lnTo>
                    <a:pt x="26" y="145"/>
                  </a:lnTo>
                  <a:lnTo>
                    <a:pt x="36" y="138"/>
                  </a:lnTo>
                  <a:lnTo>
                    <a:pt x="47" y="136"/>
                  </a:lnTo>
                  <a:lnTo>
                    <a:pt x="55" y="138"/>
                  </a:lnTo>
                  <a:lnTo>
                    <a:pt x="38" y="147"/>
                  </a:lnTo>
                  <a:lnTo>
                    <a:pt x="29" y="154"/>
                  </a:lnTo>
                  <a:lnTo>
                    <a:pt x="19" y="162"/>
                  </a:lnTo>
                  <a:lnTo>
                    <a:pt x="19" y="176"/>
                  </a:lnTo>
                  <a:lnTo>
                    <a:pt x="35" y="181"/>
                  </a:lnTo>
                  <a:lnTo>
                    <a:pt x="47" y="183"/>
                  </a:lnTo>
                  <a:lnTo>
                    <a:pt x="33" y="191"/>
                  </a:lnTo>
                  <a:lnTo>
                    <a:pt x="26" y="200"/>
                  </a:lnTo>
                  <a:lnTo>
                    <a:pt x="47" y="198"/>
                  </a:lnTo>
                  <a:lnTo>
                    <a:pt x="55" y="203"/>
                  </a:lnTo>
                  <a:lnTo>
                    <a:pt x="53" y="210"/>
                  </a:lnTo>
                  <a:lnTo>
                    <a:pt x="33" y="209"/>
                  </a:lnTo>
                  <a:lnTo>
                    <a:pt x="38" y="219"/>
                  </a:lnTo>
                  <a:lnTo>
                    <a:pt x="53" y="221"/>
                  </a:lnTo>
                  <a:lnTo>
                    <a:pt x="62" y="226"/>
                  </a:lnTo>
                  <a:lnTo>
                    <a:pt x="40" y="229"/>
                  </a:lnTo>
                  <a:lnTo>
                    <a:pt x="26" y="234"/>
                  </a:lnTo>
                  <a:lnTo>
                    <a:pt x="36" y="239"/>
                  </a:lnTo>
                  <a:lnTo>
                    <a:pt x="24" y="248"/>
                  </a:lnTo>
                  <a:lnTo>
                    <a:pt x="28" y="257"/>
                  </a:lnTo>
                  <a:lnTo>
                    <a:pt x="41" y="255"/>
                  </a:lnTo>
                  <a:lnTo>
                    <a:pt x="52" y="250"/>
                  </a:lnTo>
                  <a:lnTo>
                    <a:pt x="67" y="250"/>
                  </a:lnTo>
                  <a:lnTo>
                    <a:pt x="64" y="257"/>
                  </a:lnTo>
                  <a:lnTo>
                    <a:pt x="47" y="260"/>
                  </a:lnTo>
                  <a:lnTo>
                    <a:pt x="24" y="269"/>
                  </a:lnTo>
                  <a:lnTo>
                    <a:pt x="24" y="281"/>
                  </a:lnTo>
                  <a:lnTo>
                    <a:pt x="31" y="284"/>
                  </a:lnTo>
                  <a:lnTo>
                    <a:pt x="45" y="284"/>
                  </a:lnTo>
                  <a:lnTo>
                    <a:pt x="55" y="293"/>
                  </a:lnTo>
                  <a:lnTo>
                    <a:pt x="40" y="293"/>
                  </a:lnTo>
                  <a:lnTo>
                    <a:pt x="29" y="296"/>
                  </a:lnTo>
                  <a:lnTo>
                    <a:pt x="41" y="308"/>
                  </a:lnTo>
                  <a:lnTo>
                    <a:pt x="52" y="317"/>
                  </a:lnTo>
                  <a:lnTo>
                    <a:pt x="60" y="308"/>
                  </a:lnTo>
                  <a:lnTo>
                    <a:pt x="69" y="322"/>
                  </a:lnTo>
                  <a:lnTo>
                    <a:pt x="81" y="317"/>
                  </a:lnTo>
                  <a:lnTo>
                    <a:pt x="95" y="310"/>
                  </a:lnTo>
                  <a:lnTo>
                    <a:pt x="114" y="308"/>
                  </a:lnTo>
                  <a:lnTo>
                    <a:pt x="117" y="300"/>
                  </a:lnTo>
                  <a:lnTo>
                    <a:pt x="127" y="303"/>
                  </a:lnTo>
                  <a:lnTo>
                    <a:pt x="146" y="289"/>
                  </a:lnTo>
                  <a:lnTo>
                    <a:pt x="146" y="303"/>
                  </a:lnTo>
                  <a:lnTo>
                    <a:pt x="162" y="303"/>
                  </a:lnTo>
                  <a:lnTo>
                    <a:pt x="165" y="296"/>
                  </a:lnTo>
                  <a:lnTo>
                    <a:pt x="172" y="308"/>
                  </a:lnTo>
                  <a:lnTo>
                    <a:pt x="183" y="313"/>
                  </a:lnTo>
                  <a:lnTo>
                    <a:pt x="198" y="313"/>
                  </a:lnTo>
                  <a:lnTo>
                    <a:pt x="203" y="307"/>
                  </a:lnTo>
                  <a:lnTo>
                    <a:pt x="208" y="295"/>
                  </a:lnTo>
                  <a:lnTo>
                    <a:pt x="208" y="276"/>
                  </a:lnTo>
                  <a:lnTo>
                    <a:pt x="217" y="270"/>
                  </a:lnTo>
                  <a:lnTo>
                    <a:pt x="231" y="248"/>
                  </a:lnTo>
                  <a:lnTo>
                    <a:pt x="226" y="270"/>
                  </a:lnTo>
                  <a:lnTo>
                    <a:pt x="215" y="281"/>
                  </a:lnTo>
                  <a:lnTo>
                    <a:pt x="215" y="293"/>
                  </a:lnTo>
                  <a:lnTo>
                    <a:pt x="229" y="293"/>
                  </a:lnTo>
                  <a:lnTo>
                    <a:pt x="236" y="300"/>
                  </a:lnTo>
                  <a:lnTo>
                    <a:pt x="246" y="300"/>
                  </a:lnTo>
                  <a:lnTo>
                    <a:pt x="250" y="310"/>
                  </a:lnTo>
                  <a:lnTo>
                    <a:pt x="262" y="313"/>
                  </a:lnTo>
                  <a:lnTo>
                    <a:pt x="274" y="305"/>
                  </a:lnTo>
                  <a:lnTo>
                    <a:pt x="282" y="301"/>
                  </a:lnTo>
                  <a:lnTo>
                    <a:pt x="298" y="305"/>
                  </a:lnTo>
                  <a:lnTo>
                    <a:pt x="303" y="298"/>
                  </a:lnTo>
                  <a:lnTo>
                    <a:pt x="298" y="277"/>
                  </a:lnTo>
                  <a:lnTo>
                    <a:pt x="293" y="267"/>
                  </a:lnTo>
                  <a:lnTo>
                    <a:pt x="298" y="257"/>
                  </a:lnTo>
                  <a:lnTo>
                    <a:pt x="296" y="248"/>
                  </a:lnTo>
                  <a:lnTo>
                    <a:pt x="317" y="238"/>
                  </a:lnTo>
                  <a:lnTo>
                    <a:pt x="306" y="252"/>
                  </a:lnTo>
                  <a:lnTo>
                    <a:pt x="305" y="264"/>
                  </a:lnTo>
                  <a:lnTo>
                    <a:pt x="301" y="270"/>
                  </a:lnTo>
                  <a:lnTo>
                    <a:pt x="306" y="279"/>
                  </a:lnTo>
                  <a:lnTo>
                    <a:pt x="312" y="293"/>
                  </a:lnTo>
                  <a:lnTo>
                    <a:pt x="324" y="291"/>
                  </a:lnTo>
                  <a:lnTo>
                    <a:pt x="336" y="284"/>
                  </a:lnTo>
                  <a:lnTo>
                    <a:pt x="317" y="296"/>
                  </a:lnTo>
                  <a:lnTo>
                    <a:pt x="308" y="305"/>
                  </a:lnTo>
                  <a:lnTo>
                    <a:pt x="319" y="315"/>
                  </a:lnTo>
                  <a:lnTo>
                    <a:pt x="306" y="324"/>
                  </a:lnTo>
                  <a:lnTo>
                    <a:pt x="300" y="312"/>
                  </a:lnTo>
                  <a:lnTo>
                    <a:pt x="282" y="308"/>
                  </a:lnTo>
                  <a:lnTo>
                    <a:pt x="265" y="313"/>
                  </a:lnTo>
                  <a:lnTo>
                    <a:pt x="262" y="325"/>
                  </a:lnTo>
                  <a:lnTo>
                    <a:pt x="267" y="341"/>
                  </a:lnTo>
                  <a:lnTo>
                    <a:pt x="284" y="351"/>
                  </a:lnTo>
                  <a:lnTo>
                    <a:pt x="279" y="374"/>
                  </a:lnTo>
                  <a:lnTo>
                    <a:pt x="274" y="355"/>
                  </a:lnTo>
                  <a:lnTo>
                    <a:pt x="262" y="346"/>
                  </a:lnTo>
                  <a:lnTo>
                    <a:pt x="258" y="332"/>
                  </a:lnTo>
                  <a:lnTo>
                    <a:pt x="258" y="325"/>
                  </a:lnTo>
                  <a:lnTo>
                    <a:pt x="250" y="322"/>
                  </a:lnTo>
                  <a:lnTo>
                    <a:pt x="246" y="312"/>
                  </a:lnTo>
                  <a:lnTo>
                    <a:pt x="236" y="307"/>
                  </a:lnTo>
                  <a:lnTo>
                    <a:pt x="222" y="303"/>
                  </a:lnTo>
                  <a:lnTo>
                    <a:pt x="215" y="300"/>
                  </a:lnTo>
                  <a:lnTo>
                    <a:pt x="212" y="312"/>
                  </a:lnTo>
                  <a:lnTo>
                    <a:pt x="205" y="319"/>
                  </a:lnTo>
                  <a:lnTo>
                    <a:pt x="195" y="325"/>
                  </a:lnTo>
                  <a:lnTo>
                    <a:pt x="189" y="336"/>
                  </a:lnTo>
                  <a:lnTo>
                    <a:pt x="183" y="324"/>
                  </a:lnTo>
                  <a:lnTo>
                    <a:pt x="169" y="319"/>
                  </a:lnTo>
                  <a:lnTo>
                    <a:pt x="160" y="315"/>
                  </a:lnTo>
                  <a:lnTo>
                    <a:pt x="146" y="315"/>
                  </a:lnTo>
                  <a:lnTo>
                    <a:pt x="131" y="310"/>
                  </a:lnTo>
                  <a:lnTo>
                    <a:pt x="124" y="319"/>
                  </a:lnTo>
                  <a:lnTo>
                    <a:pt x="119" y="312"/>
                  </a:lnTo>
                  <a:lnTo>
                    <a:pt x="112" y="319"/>
                  </a:lnTo>
                  <a:lnTo>
                    <a:pt x="93" y="320"/>
                  </a:lnTo>
                  <a:lnTo>
                    <a:pt x="81" y="329"/>
                  </a:lnTo>
                  <a:lnTo>
                    <a:pt x="81" y="341"/>
                  </a:lnTo>
                  <a:lnTo>
                    <a:pt x="67" y="336"/>
                  </a:lnTo>
                  <a:lnTo>
                    <a:pt x="55" y="327"/>
                  </a:lnTo>
                  <a:lnTo>
                    <a:pt x="43" y="324"/>
                  </a:lnTo>
                  <a:lnTo>
                    <a:pt x="29" y="327"/>
                  </a:lnTo>
                  <a:lnTo>
                    <a:pt x="31" y="334"/>
                  </a:lnTo>
                  <a:lnTo>
                    <a:pt x="14" y="341"/>
                  </a:lnTo>
                  <a:lnTo>
                    <a:pt x="16" y="350"/>
                  </a:lnTo>
                  <a:lnTo>
                    <a:pt x="7" y="355"/>
                  </a:lnTo>
                  <a:lnTo>
                    <a:pt x="7" y="368"/>
                  </a:lnTo>
                  <a:lnTo>
                    <a:pt x="19" y="372"/>
                  </a:lnTo>
                  <a:lnTo>
                    <a:pt x="33" y="379"/>
                  </a:lnTo>
                  <a:lnTo>
                    <a:pt x="43" y="384"/>
                  </a:lnTo>
                  <a:lnTo>
                    <a:pt x="57" y="391"/>
                  </a:lnTo>
                  <a:lnTo>
                    <a:pt x="62" y="384"/>
                  </a:lnTo>
                  <a:lnTo>
                    <a:pt x="78" y="374"/>
                  </a:lnTo>
                  <a:lnTo>
                    <a:pt x="62" y="393"/>
                  </a:lnTo>
                  <a:lnTo>
                    <a:pt x="62" y="401"/>
                  </a:lnTo>
                  <a:lnTo>
                    <a:pt x="71" y="408"/>
                  </a:lnTo>
                  <a:lnTo>
                    <a:pt x="57" y="403"/>
                  </a:lnTo>
                  <a:lnTo>
                    <a:pt x="40" y="396"/>
                  </a:lnTo>
                  <a:lnTo>
                    <a:pt x="31" y="396"/>
                  </a:lnTo>
                  <a:lnTo>
                    <a:pt x="29" y="387"/>
                  </a:lnTo>
                  <a:lnTo>
                    <a:pt x="14" y="387"/>
                  </a:lnTo>
                  <a:lnTo>
                    <a:pt x="16" y="394"/>
                  </a:lnTo>
                  <a:lnTo>
                    <a:pt x="24" y="405"/>
                  </a:lnTo>
                  <a:lnTo>
                    <a:pt x="33" y="408"/>
                  </a:lnTo>
                  <a:lnTo>
                    <a:pt x="45" y="422"/>
                  </a:lnTo>
                  <a:lnTo>
                    <a:pt x="33" y="417"/>
                  </a:lnTo>
                  <a:lnTo>
                    <a:pt x="24" y="408"/>
                  </a:lnTo>
                  <a:lnTo>
                    <a:pt x="10" y="411"/>
                  </a:lnTo>
                  <a:lnTo>
                    <a:pt x="17" y="425"/>
                  </a:lnTo>
                  <a:lnTo>
                    <a:pt x="33" y="430"/>
                  </a:lnTo>
                  <a:lnTo>
                    <a:pt x="47" y="442"/>
                  </a:lnTo>
                  <a:lnTo>
                    <a:pt x="29" y="439"/>
                  </a:lnTo>
                  <a:lnTo>
                    <a:pt x="19" y="439"/>
                  </a:lnTo>
                  <a:lnTo>
                    <a:pt x="22" y="444"/>
                  </a:lnTo>
                  <a:lnTo>
                    <a:pt x="17" y="451"/>
                  </a:lnTo>
                  <a:lnTo>
                    <a:pt x="31" y="456"/>
                  </a:lnTo>
                  <a:lnTo>
                    <a:pt x="38" y="468"/>
                  </a:lnTo>
                  <a:lnTo>
                    <a:pt x="47" y="475"/>
                  </a:lnTo>
                  <a:lnTo>
                    <a:pt x="38" y="482"/>
                  </a:lnTo>
                  <a:lnTo>
                    <a:pt x="50" y="484"/>
                  </a:lnTo>
                  <a:lnTo>
                    <a:pt x="50" y="492"/>
                  </a:lnTo>
                  <a:lnTo>
                    <a:pt x="36" y="492"/>
                  </a:lnTo>
                  <a:lnTo>
                    <a:pt x="29" y="487"/>
                  </a:lnTo>
                  <a:lnTo>
                    <a:pt x="22" y="484"/>
                  </a:lnTo>
                  <a:lnTo>
                    <a:pt x="24" y="501"/>
                  </a:lnTo>
                  <a:lnTo>
                    <a:pt x="19" y="513"/>
                  </a:lnTo>
                  <a:lnTo>
                    <a:pt x="21" y="539"/>
                  </a:lnTo>
                  <a:lnTo>
                    <a:pt x="36" y="539"/>
                  </a:lnTo>
                  <a:lnTo>
                    <a:pt x="40" y="520"/>
                  </a:lnTo>
                  <a:lnTo>
                    <a:pt x="41" y="506"/>
                  </a:lnTo>
                  <a:lnTo>
                    <a:pt x="53" y="510"/>
                  </a:lnTo>
                  <a:lnTo>
                    <a:pt x="52" y="525"/>
                  </a:lnTo>
                  <a:lnTo>
                    <a:pt x="62" y="528"/>
                  </a:lnTo>
                  <a:lnTo>
                    <a:pt x="59" y="542"/>
                  </a:lnTo>
                  <a:lnTo>
                    <a:pt x="72" y="544"/>
                  </a:lnTo>
                  <a:lnTo>
                    <a:pt x="76" y="535"/>
                  </a:lnTo>
                  <a:lnTo>
                    <a:pt x="86" y="525"/>
                  </a:lnTo>
                  <a:lnTo>
                    <a:pt x="100" y="501"/>
                  </a:lnTo>
                  <a:lnTo>
                    <a:pt x="95" y="525"/>
                  </a:lnTo>
                  <a:lnTo>
                    <a:pt x="107" y="525"/>
                  </a:lnTo>
                  <a:lnTo>
                    <a:pt x="95" y="534"/>
                  </a:lnTo>
                  <a:lnTo>
                    <a:pt x="95" y="546"/>
                  </a:lnTo>
                  <a:lnTo>
                    <a:pt x="114" y="544"/>
                  </a:lnTo>
                  <a:lnTo>
                    <a:pt x="112" y="554"/>
                  </a:lnTo>
                  <a:lnTo>
                    <a:pt x="107" y="565"/>
                  </a:lnTo>
                  <a:lnTo>
                    <a:pt x="90" y="566"/>
                  </a:lnTo>
                  <a:lnTo>
                    <a:pt x="83" y="568"/>
                  </a:lnTo>
                  <a:lnTo>
                    <a:pt x="78" y="585"/>
                  </a:lnTo>
                  <a:lnTo>
                    <a:pt x="62" y="590"/>
                  </a:lnTo>
                  <a:lnTo>
                    <a:pt x="57" y="596"/>
                  </a:lnTo>
                  <a:lnTo>
                    <a:pt x="55" y="604"/>
                  </a:lnTo>
                  <a:lnTo>
                    <a:pt x="55" y="623"/>
                  </a:lnTo>
                  <a:lnTo>
                    <a:pt x="66" y="632"/>
                  </a:lnTo>
                  <a:lnTo>
                    <a:pt x="71" y="647"/>
                  </a:lnTo>
                  <a:lnTo>
                    <a:pt x="81" y="639"/>
                  </a:lnTo>
                  <a:lnTo>
                    <a:pt x="84" y="608"/>
                  </a:lnTo>
                  <a:lnTo>
                    <a:pt x="95" y="621"/>
                  </a:lnTo>
                  <a:lnTo>
                    <a:pt x="96" y="602"/>
                  </a:lnTo>
                  <a:lnTo>
                    <a:pt x="102" y="587"/>
                  </a:lnTo>
                  <a:lnTo>
                    <a:pt x="117" y="585"/>
                  </a:lnTo>
                  <a:lnTo>
                    <a:pt x="129" y="578"/>
                  </a:lnTo>
                  <a:lnTo>
                    <a:pt x="133" y="566"/>
                  </a:lnTo>
                  <a:lnTo>
                    <a:pt x="131" y="549"/>
                  </a:lnTo>
                  <a:lnTo>
                    <a:pt x="140" y="530"/>
                  </a:lnTo>
                  <a:lnTo>
                    <a:pt x="143" y="520"/>
                  </a:lnTo>
                  <a:lnTo>
                    <a:pt x="164" y="523"/>
                  </a:lnTo>
                  <a:lnTo>
                    <a:pt x="160" y="511"/>
                  </a:lnTo>
                  <a:lnTo>
                    <a:pt x="170" y="506"/>
                  </a:lnTo>
                  <a:lnTo>
                    <a:pt x="165" y="492"/>
                  </a:lnTo>
                  <a:lnTo>
                    <a:pt x="177" y="492"/>
                  </a:lnTo>
                  <a:lnTo>
                    <a:pt x="186" y="484"/>
                  </a:lnTo>
                  <a:lnTo>
                    <a:pt x="196" y="479"/>
                  </a:lnTo>
                  <a:lnTo>
                    <a:pt x="207" y="479"/>
                  </a:lnTo>
                  <a:lnTo>
                    <a:pt x="219" y="475"/>
                  </a:lnTo>
                  <a:lnTo>
                    <a:pt x="236" y="465"/>
                  </a:lnTo>
                  <a:lnTo>
                    <a:pt x="224" y="482"/>
                  </a:lnTo>
                  <a:lnTo>
                    <a:pt x="214" y="484"/>
                  </a:lnTo>
                  <a:lnTo>
                    <a:pt x="203" y="487"/>
                  </a:lnTo>
                  <a:lnTo>
                    <a:pt x="201" y="492"/>
                  </a:lnTo>
                  <a:lnTo>
                    <a:pt x="189" y="496"/>
                  </a:lnTo>
                  <a:lnTo>
                    <a:pt x="181" y="499"/>
                  </a:lnTo>
                  <a:lnTo>
                    <a:pt x="174" y="511"/>
                  </a:lnTo>
                  <a:lnTo>
                    <a:pt x="172" y="525"/>
                  </a:lnTo>
                  <a:lnTo>
                    <a:pt x="158" y="534"/>
                  </a:lnTo>
                  <a:lnTo>
                    <a:pt x="153" y="540"/>
                  </a:lnTo>
                  <a:lnTo>
                    <a:pt x="158" y="549"/>
                  </a:lnTo>
                  <a:lnTo>
                    <a:pt x="181" y="546"/>
                  </a:lnTo>
                  <a:lnTo>
                    <a:pt x="172" y="556"/>
                  </a:lnTo>
                  <a:lnTo>
                    <a:pt x="153" y="559"/>
                  </a:lnTo>
                  <a:lnTo>
                    <a:pt x="141" y="571"/>
                  </a:lnTo>
                  <a:lnTo>
                    <a:pt x="140" y="585"/>
                  </a:lnTo>
                  <a:lnTo>
                    <a:pt x="127" y="596"/>
                  </a:lnTo>
                  <a:lnTo>
                    <a:pt x="115" y="602"/>
                  </a:lnTo>
                  <a:lnTo>
                    <a:pt x="109" y="616"/>
                  </a:lnTo>
                  <a:lnTo>
                    <a:pt x="114" y="628"/>
                  </a:lnTo>
                  <a:lnTo>
                    <a:pt x="127" y="639"/>
                  </a:lnTo>
                  <a:lnTo>
                    <a:pt x="140" y="621"/>
                  </a:lnTo>
                  <a:lnTo>
                    <a:pt x="140" y="637"/>
                  </a:lnTo>
                  <a:lnTo>
                    <a:pt x="148" y="635"/>
                  </a:lnTo>
                  <a:lnTo>
                    <a:pt x="164" y="628"/>
                  </a:lnTo>
                  <a:lnTo>
                    <a:pt x="153" y="639"/>
                  </a:lnTo>
                  <a:lnTo>
                    <a:pt x="136" y="639"/>
                  </a:lnTo>
                  <a:lnTo>
                    <a:pt x="124" y="651"/>
                  </a:lnTo>
                  <a:lnTo>
                    <a:pt x="119" y="661"/>
                  </a:lnTo>
                  <a:lnTo>
                    <a:pt x="107" y="656"/>
                  </a:lnTo>
                  <a:lnTo>
                    <a:pt x="95" y="656"/>
                  </a:lnTo>
                  <a:lnTo>
                    <a:pt x="90" y="669"/>
                  </a:lnTo>
                  <a:lnTo>
                    <a:pt x="84" y="651"/>
                  </a:lnTo>
                  <a:lnTo>
                    <a:pt x="74" y="652"/>
                  </a:lnTo>
                  <a:lnTo>
                    <a:pt x="79" y="668"/>
                  </a:lnTo>
                  <a:lnTo>
                    <a:pt x="67" y="666"/>
                  </a:lnTo>
                  <a:lnTo>
                    <a:pt x="60" y="676"/>
                  </a:lnTo>
                  <a:lnTo>
                    <a:pt x="52" y="695"/>
                  </a:lnTo>
                  <a:lnTo>
                    <a:pt x="50" y="714"/>
                  </a:lnTo>
                  <a:lnTo>
                    <a:pt x="47" y="728"/>
                  </a:lnTo>
                  <a:lnTo>
                    <a:pt x="43" y="749"/>
                  </a:lnTo>
                  <a:lnTo>
                    <a:pt x="41" y="766"/>
                  </a:lnTo>
                  <a:lnTo>
                    <a:pt x="47" y="783"/>
                  </a:lnTo>
                  <a:lnTo>
                    <a:pt x="62" y="781"/>
                  </a:lnTo>
                  <a:lnTo>
                    <a:pt x="66" y="762"/>
                  </a:lnTo>
                  <a:lnTo>
                    <a:pt x="66" y="745"/>
                  </a:lnTo>
                  <a:lnTo>
                    <a:pt x="79" y="750"/>
                  </a:lnTo>
                  <a:lnTo>
                    <a:pt x="76" y="761"/>
                  </a:lnTo>
                  <a:lnTo>
                    <a:pt x="88" y="755"/>
                  </a:lnTo>
                  <a:lnTo>
                    <a:pt x="93" y="738"/>
                  </a:lnTo>
                  <a:lnTo>
                    <a:pt x="96" y="750"/>
                  </a:lnTo>
                  <a:lnTo>
                    <a:pt x="109" y="743"/>
                  </a:lnTo>
                  <a:lnTo>
                    <a:pt x="127" y="737"/>
                  </a:lnTo>
                  <a:lnTo>
                    <a:pt x="126" y="723"/>
                  </a:lnTo>
                  <a:lnTo>
                    <a:pt x="115" y="718"/>
                  </a:lnTo>
                  <a:lnTo>
                    <a:pt x="124" y="709"/>
                  </a:lnTo>
                  <a:lnTo>
                    <a:pt x="122" y="695"/>
                  </a:lnTo>
                  <a:lnTo>
                    <a:pt x="129" y="711"/>
                  </a:lnTo>
                  <a:lnTo>
                    <a:pt x="153" y="707"/>
                  </a:lnTo>
                  <a:lnTo>
                    <a:pt x="131" y="716"/>
                  </a:lnTo>
                  <a:lnTo>
                    <a:pt x="134" y="726"/>
                  </a:lnTo>
                  <a:lnTo>
                    <a:pt x="136" y="733"/>
                  </a:lnTo>
                  <a:lnTo>
                    <a:pt x="155" y="724"/>
                  </a:lnTo>
                  <a:lnTo>
                    <a:pt x="141" y="737"/>
                  </a:lnTo>
                  <a:lnTo>
                    <a:pt x="150" y="743"/>
                  </a:lnTo>
                  <a:lnTo>
                    <a:pt x="155" y="752"/>
                  </a:lnTo>
                  <a:lnTo>
                    <a:pt x="155" y="761"/>
                  </a:lnTo>
                  <a:lnTo>
                    <a:pt x="152" y="769"/>
                  </a:lnTo>
                  <a:lnTo>
                    <a:pt x="146" y="778"/>
                  </a:lnTo>
                  <a:lnTo>
                    <a:pt x="152" y="788"/>
                  </a:lnTo>
                  <a:lnTo>
                    <a:pt x="138" y="793"/>
                  </a:lnTo>
                  <a:lnTo>
                    <a:pt x="126" y="798"/>
                  </a:lnTo>
                  <a:lnTo>
                    <a:pt x="119" y="802"/>
                  </a:lnTo>
                  <a:lnTo>
                    <a:pt x="127" y="814"/>
                  </a:lnTo>
                  <a:lnTo>
                    <a:pt x="134" y="826"/>
                  </a:lnTo>
                  <a:lnTo>
                    <a:pt x="141" y="828"/>
                  </a:lnTo>
                  <a:lnTo>
                    <a:pt x="131" y="831"/>
                  </a:lnTo>
                  <a:lnTo>
                    <a:pt x="119" y="824"/>
                  </a:lnTo>
                  <a:lnTo>
                    <a:pt x="112" y="817"/>
                  </a:lnTo>
                  <a:lnTo>
                    <a:pt x="103" y="817"/>
                  </a:lnTo>
                  <a:lnTo>
                    <a:pt x="95" y="812"/>
                  </a:lnTo>
                  <a:lnTo>
                    <a:pt x="93" y="823"/>
                  </a:lnTo>
                  <a:lnTo>
                    <a:pt x="98" y="829"/>
                  </a:lnTo>
                  <a:lnTo>
                    <a:pt x="93" y="841"/>
                  </a:lnTo>
                  <a:lnTo>
                    <a:pt x="91" y="850"/>
                  </a:lnTo>
                  <a:lnTo>
                    <a:pt x="84" y="866"/>
                  </a:lnTo>
                  <a:lnTo>
                    <a:pt x="84" y="874"/>
                  </a:lnTo>
                  <a:lnTo>
                    <a:pt x="91" y="893"/>
                  </a:lnTo>
                  <a:lnTo>
                    <a:pt x="96" y="912"/>
                  </a:lnTo>
                  <a:lnTo>
                    <a:pt x="103" y="922"/>
                  </a:lnTo>
                  <a:lnTo>
                    <a:pt x="114" y="922"/>
                  </a:lnTo>
                  <a:lnTo>
                    <a:pt x="117" y="931"/>
                  </a:lnTo>
                  <a:lnTo>
                    <a:pt x="122" y="939"/>
                  </a:lnTo>
                  <a:lnTo>
                    <a:pt x="133" y="945"/>
                  </a:lnTo>
                  <a:lnTo>
                    <a:pt x="138" y="958"/>
                  </a:lnTo>
                  <a:lnTo>
                    <a:pt x="155" y="965"/>
                  </a:lnTo>
                  <a:lnTo>
                    <a:pt x="170" y="969"/>
                  </a:lnTo>
                  <a:lnTo>
                    <a:pt x="184" y="977"/>
                  </a:lnTo>
                  <a:lnTo>
                    <a:pt x="191" y="988"/>
                  </a:lnTo>
                  <a:lnTo>
                    <a:pt x="210" y="995"/>
                  </a:lnTo>
                  <a:lnTo>
                    <a:pt x="217" y="996"/>
                  </a:lnTo>
                  <a:lnTo>
                    <a:pt x="227" y="991"/>
                  </a:lnTo>
                  <a:lnTo>
                    <a:pt x="220" y="1001"/>
                  </a:lnTo>
                  <a:lnTo>
                    <a:pt x="212" y="1010"/>
                  </a:lnTo>
                  <a:lnTo>
                    <a:pt x="208" y="1020"/>
                  </a:lnTo>
                  <a:lnTo>
                    <a:pt x="227" y="1027"/>
                  </a:lnTo>
                  <a:lnTo>
                    <a:pt x="241" y="1034"/>
                  </a:lnTo>
                  <a:lnTo>
                    <a:pt x="246" y="1027"/>
                  </a:lnTo>
                  <a:lnTo>
                    <a:pt x="257" y="1032"/>
                  </a:lnTo>
                  <a:lnTo>
                    <a:pt x="262" y="1043"/>
                  </a:lnTo>
                  <a:lnTo>
                    <a:pt x="275" y="1046"/>
                  </a:lnTo>
                  <a:lnTo>
                    <a:pt x="279" y="1034"/>
                  </a:lnTo>
                  <a:lnTo>
                    <a:pt x="293" y="1036"/>
                  </a:lnTo>
                  <a:lnTo>
                    <a:pt x="301" y="1041"/>
                  </a:lnTo>
                  <a:lnTo>
                    <a:pt x="317" y="1046"/>
                  </a:lnTo>
                  <a:lnTo>
                    <a:pt x="334" y="1043"/>
                  </a:lnTo>
                  <a:lnTo>
                    <a:pt x="346" y="1038"/>
                  </a:lnTo>
                  <a:lnTo>
                    <a:pt x="348" y="1031"/>
                  </a:lnTo>
                  <a:lnTo>
                    <a:pt x="363" y="1031"/>
                  </a:lnTo>
                  <a:lnTo>
                    <a:pt x="374" y="1031"/>
                  </a:lnTo>
                  <a:lnTo>
                    <a:pt x="377" y="1015"/>
                  </a:lnTo>
                  <a:lnTo>
                    <a:pt x="387" y="1015"/>
                  </a:lnTo>
                  <a:lnTo>
                    <a:pt x="396" y="1020"/>
                  </a:lnTo>
                  <a:lnTo>
                    <a:pt x="410" y="1013"/>
                  </a:lnTo>
                  <a:lnTo>
                    <a:pt x="410" y="1005"/>
                  </a:lnTo>
                  <a:lnTo>
                    <a:pt x="425" y="996"/>
                  </a:lnTo>
                  <a:lnTo>
                    <a:pt x="436" y="988"/>
                  </a:lnTo>
                  <a:lnTo>
                    <a:pt x="437" y="976"/>
                  </a:lnTo>
                  <a:lnTo>
                    <a:pt x="456" y="970"/>
                  </a:lnTo>
                  <a:lnTo>
                    <a:pt x="463" y="962"/>
                  </a:lnTo>
                  <a:lnTo>
                    <a:pt x="467" y="950"/>
                  </a:lnTo>
                  <a:lnTo>
                    <a:pt x="482" y="945"/>
                  </a:lnTo>
                  <a:lnTo>
                    <a:pt x="492" y="929"/>
                  </a:lnTo>
                  <a:lnTo>
                    <a:pt x="494" y="917"/>
                  </a:lnTo>
                  <a:lnTo>
                    <a:pt x="506" y="912"/>
                  </a:lnTo>
                  <a:lnTo>
                    <a:pt x="504" y="907"/>
                  </a:lnTo>
                  <a:lnTo>
                    <a:pt x="518" y="893"/>
                  </a:lnTo>
                  <a:lnTo>
                    <a:pt x="522" y="878"/>
                  </a:lnTo>
                  <a:lnTo>
                    <a:pt x="534" y="874"/>
                  </a:lnTo>
                  <a:lnTo>
                    <a:pt x="544" y="864"/>
                  </a:lnTo>
                  <a:lnTo>
                    <a:pt x="553" y="853"/>
                  </a:lnTo>
                  <a:lnTo>
                    <a:pt x="561" y="850"/>
                  </a:lnTo>
                  <a:lnTo>
                    <a:pt x="566" y="845"/>
                  </a:lnTo>
                  <a:lnTo>
                    <a:pt x="561" y="833"/>
                  </a:lnTo>
                  <a:lnTo>
                    <a:pt x="573" y="828"/>
                  </a:lnTo>
                  <a:lnTo>
                    <a:pt x="585" y="817"/>
                  </a:lnTo>
                  <a:lnTo>
                    <a:pt x="589" y="807"/>
                  </a:lnTo>
                  <a:lnTo>
                    <a:pt x="589" y="823"/>
                  </a:lnTo>
                  <a:lnTo>
                    <a:pt x="604" y="826"/>
                  </a:lnTo>
                  <a:lnTo>
                    <a:pt x="621" y="823"/>
                  </a:lnTo>
                  <a:lnTo>
                    <a:pt x="621" y="814"/>
                  </a:lnTo>
                  <a:lnTo>
                    <a:pt x="637" y="817"/>
                  </a:lnTo>
                  <a:lnTo>
                    <a:pt x="644" y="810"/>
                  </a:lnTo>
                  <a:lnTo>
                    <a:pt x="644" y="795"/>
                  </a:lnTo>
                  <a:lnTo>
                    <a:pt x="654" y="797"/>
                  </a:lnTo>
                  <a:lnTo>
                    <a:pt x="659" y="773"/>
                  </a:lnTo>
                  <a:lnTo>
                    <a:pt x="670" y="780"/>
                  </a:lnTo>
                  <a:lnTo>
                    <a:pt x="675" y="769"/>
                  </a:lnTo>
                  <a:lnTo>
                    <a:pt x="673" y="759"/>
                  </a:lnTo>
                  <a:lnTo>
                    <a:pt x="683" y="745"/>
                  </a:lnTo>
                  <a:lnTo>
                    <a:pt x="680" y="733"/>
                  </a:lnTo>
                  <a:lnTo>
                    <a:pt x="678" y="718"/>
                  </a:lnTo>
                  <a:lnTo>
                    <a:pt x="671" y="714"/>
                  </a:lnTo>
                  <a:lnTo>
                    <a:pt x="663" y="714"/>
                  </a:lnTo>
                  <a:lnTo>
                    <a:pt x="651" y="704"/>
                  </a:lnTo>
                  <a:lnTo>
                    <a:pt x="652" y="695"/>
                  </a:lnTo>
                  <a:lnTo>
                    <a:pt x="664" y="697"/>
                  </a:lnTo>
                  <a:lnTo>
                    <a:pt x="664" y="680"/>
                  </a:lnTo>
                  <a:lnTo>
                    <a:pt x="664" y="666"/>
                  </a:lnTo>
                  <a:lnTo>
                    <a:pt x="647" y="652"/>
                  </a:lnTo>
                  <a:lnTo>
                    <a:pt x="663" y="656"/>
                  </a:lnTo>
                  <a:lnTo>
                    <a:pt x="670" y="668"/>
                  </a:lnTo>
                  <a:lnTo>
                    <a:pt x="670" y="690"/>
                  </a:lnTo>
                  <a:lnTo>
                    <a:pt x="685" y="687"/>
                  </a:lnTo>
                  <a:lnTo>
                    <a:pt x="689" y="673"/>
                  </a:lnTo>
                  <a:lnTo>
                    <a:pt x="683" y="661"/>
                  </a:lnTo>
                  <a:lnTo>
                    <a:pt x="677" y="647"/>
                  </a:lnTo>
                  <a:lnTo>
                    <a:pt x="671" y="639"/>
                  </a:lnTo>
                  <a:lnTo>
                    <a:pt x="675" y="628"/>
                  </a:lnTo>
                  <a:lnTo>
                    <a:pt x="675" y="620"/>
                  </a:lnTo>
                  <a:lnTo>
                    <a:pt x="683" y="618"/>
                  </a:lnTo>
                  <a:lnTo>
                    <a:pt x="692" y="614"/>
                  </a:lnTo>
                  <a:lnTo>
                    <a:pt x="692" y="606"/>
                  </a:lnTo>
                  <a:lnTo>
                    <a:pt x="707" y="597"/>
                  </a:lnTo>
                  <a:lnTo>
                    <a:pt x="713" y="625"/>
                  </a:lnTo>
                  <a:lnTo>
                    <a:pt x="702" y="630"/>
                  </a:lnTo>
                  <a:lnTo>
                    <a:pt x="697" y="623"/>
                  </a:lnTo>
                  <a:lnTo>
                    <a:pt x="689" y="632"/>
                  </a:lnTo>
                  <a:lnTo>
                    <a:pt x="689" y="647"/>
                  </a:lnTo>
                  <a:lnTo>
                    <a:pt x="694" y="661"/>
                  </a:lnTo>
                  <a:lnTo>
                    <a:pt x="694" y="676"/>
                  </a:lnTo>
                  <a:lnTo>
                    <a:pt x="689" y="690"/>
                  </a:lnTo>
                  <a:lnTo>
                    <a:pt x="697" y="699"/>
                  </a:lnTo>
                  <a:lnTo>
                    <a:pt x="687" y="718"/>
                  </a:lnTo>
                  <a:lnTo>
                    <a:pt x="695" y="723"/>
                  </a:lnTo>
                  <a:lnTo>
                    <a:pt x="694" y="742"/>
                  </a:lnTo>
                  <a:lnTo>
                    <a:pt x="694" y="757"/>
                  </a:lnTo>
                  <a:lnTo>
                    <a:pt x="704" y="769"/>
                  </a:lnTo>
                  <a:lnTo>
                    <a:pt x="714" y="776"/>
                  </a:lnTo>
                  <a:lnTo>
                    <a:pt x="721" y="781"/>
                  </a:lnTo>
                  <a:lnTo>
                    <a:pt x="728" y="771"/>
                  </a:lnTo>
                  <a:lnTo>
                    <a:pt x="737" y="774"/>
                  </a:lnTo>
                  <a:lnTo>
                    <a:pt x="740" y="783"/>
                  </a:lnTo>
                  <a:lnTo>
                    <a:pt x="751" y="781"/>
                  </a:lnTo>
                  <a:lnTo>
                    <a:pt x="756" y="774"/>
                  </a:lnTo>
                  <a:lnTo>
                    <a:pt x="759" y="790"/>
                  </a:lnTo>
                  <a:lnTo>
                    <a:pt x="757" y="798"/>
                  </a:lnTo>
                  <a:lnTo>
                    <a:pt x="761" y="797"/>
                  </a:lnTo>
                  <a:lnTo>
                    <a:pt x="761" y="797"/>
                  </a:lnTo>
                  <a:lnTo>
                    <a:pt x="771" y="790"/>
                  </a:lnTo>
                  <a:lnTo>
                    <a:pt x="775" y="788"/>
                  </a:lnTo>
                  <a:lnTo>
                    <a:pt x="775" y="788"/>
                  </a:lnTo>
                  <a:lnTo>
                    <a:pt x="775" y="788"/>
                  </a:lnTo>
                  <a:lnTo>
                    <a:pt x="785" y="817"/>
                  </a:lnTo>
                  <a:lnTo>
                    <a:pt x="790" y="836"/>
                  </a:lnTo>
                  <a:lnTo>
                    <a:pt x="800" y="845"/>
                  </a:lnTo>
                  <a:lnTo>
                    <a:pt x="809" y="840"/>
                  </a:lnTo>
                  <a:lnTo>
                    <a:pt x="811" y="838"/>
                  </a:lnTo>
                  <a:lnTo>
                    <a:pt x="816" y="826"/>
                  </a:lnTo>
                  <a:lnTo>
                    <a:pt x="826" y="792"/>
                  </a:lnTo>
                  <a:lnTo>
                    <a:pt x="835" y="755"/>
                  </a:lnTo>
                  <a:lnTo>
                    <a:pt x="831" y="731"/>
                  </a:lnTo>
                  <a:lnTo>
                    <a:pt x="819" y="692"/>
                  </a:lnTo>
                  <a:lnTo>
                    <a:pt x="821" y="673"/>
                  </a:lnTo>
                  <a:lnTo>
                    <a:pt x="821" y="673"/>
                  </a:lnTo>
                  <a:lnTo>
                    <a:pt x="821" y="673"/>
                  </a:lnTo>
                  <a:lnTo>
                    <a:pt x="825" y="671"/>
                  </a:lnTo>
                  <a:lnTo>
                    <a:pt x="833" y="666"/>
                  </a:lnTo>
                  <a:lnTo>
                    <a:pt x="842" y="657"/>
                  </a:lnTo>
                  <a:lnTo>
                    <a:pt x="845" y="652"/>
                  </a:lnTo>
                  <a:lnTo>
                    <a:pt x="849" y="633"/>
                  </a:lnTo>
                  <a:lnTo>
                    <a:pt x="840" y="618"/>
                  </a:lnTo>
                  <a:lnTo>
                    <a:pt x="854" y="609"/>
                  </a:lnTo>
                  <a:lnTo>
                    <a:pt x="854" y="609"/>
                  </a:lnTo>
                  <a:lnTo>
                    <a:pt x="854" y="609"/>
                  </a:lnTo>
                  <a:lnTo>
                    <a:pt x="874" y="609"/>
                  </a:lnTo>
                  <a:lnTo>
                    <a:pt x="881" y="602"/>
                  </a:lnTo>
                  <a:lnTo>
                    <a:pt x="902" y="580"/>
                  </a:lnTo>
                  <a:lnTo>
                    <a:pt x="919" y="546"/>
                  </a:lnTo>
                  <a:lnTo>
                    <a:pt x="914" y="506"/>
                  </a:lnTo>
                  <a:lnTo>
                    <a:pt x="917" y="501"/>
                  </a:lnTo>
                  <a:lnTo>
                    <a:pt x="923" y="492"/>
                  </a:lnTo>
                  <a:lnTo>
                    <a:pt x="924" y="477"/>
                  </a:lnTo>
                  <a:lnTo>
                    <a:pt x="926" y="454"/>
                  </a:lnTo>
                  <a:lnTo>
                    <a:pt x="904" y="406"/>
                  </a:lnTo>
                  <a:lnTo>
                    <a:pt x="881" y="339"/>
                  </a:lnTo>
                  <a:lnTo>
                    <a:pt x="881" y="339"/>
                  </a:lnTo>
                  <a:lnTo>
                    <a:pt x="881" y="339"/>
                  </a:lnTo>
                  <a:lnTo>
                    <a:pt x="930" y="329"/>
                  </a:lnTo>
                  <a:lnTo>
                    <a:pt x="957" y="252"/>
                  </a:lnTo>
                  <a:lnTo>
                    <a:pt x="947" y="236"/>
                  </a:lnTo>
                  <a:lnTo>
                    <a:pt x="921" y="200"/>
                  </a:lnTo>
                  <a:lnTo>
                    <a:pt x="902" y="200"/>
                  </a:lnTo>
                  <a:lnTo>
                    <a:pt x="871" y="162"/>
                  </a:lnTo>
                  <a:lnTo>
                    <a:pt x="874" y="131"/>
                  </a:lnTo>
                  <a:lnTo>
                    <a:pt x="888" y="25"/>
                  </a:lnTo>
                  <a:lnTo>
                    <a:pt x="881" y="0"/>
                  </a:lnTo>
                  <a:lnTo>
                    <a:pt x="257" y="0"/>
                  </a:lnTo>
                  <a:lnTo>
                    <a:pt x="255" y="6"/>
                  </a:lnTo>
                  <a:lnTo>
                    <a:pt x="263" y="16"/>
                  </a:lnTo>
                  <a:lnTo>
                    <a:pt x="284" y="23"/>
                  </a:lnTo>
                  <a:lnTo>
                    <a:pt x="298" y="14"/>
                  </a:lnTo>
                  <a:lnTo>
                    <a:pt x="315" y="35"/>
                  </a:lnTo>
                  <a:lnTo>
                    <a:pt x="296" y="25"/>
                  </a:lnTo>
                  <a:lnTo>
                    <a:pt x="284" y="30"/>
                  </a:lnTo>
                  <a:lnTo>
                    <a:pt x="263" y="25"/>
                  </a:lnTo>
                  <a:lnTo>
                    <a:pt x="263" y="45"/>
                  </a:lnTo>
                  <a:lnTo>
                    <a:pt x="253" y="64"/>
                  </a:lnTo>
                  <a:lnTo>
                    <a:pt x="257" y="43"/>
                  </a:lnTo>
                  <a:lnTo>
                    <a:pt x="258" y="23"/>
                  </a:lnTo>
                  <a:lnTo>
                    <a:pt x="246" y="7"/>
                  </a:lnTo>
                  <a:lnTo>
                    <a:pt x="248" y="0"/>
                  </a:lnTo>
                  <a:lnTo>
                    <a:pt x="193" y="0"/>
                  </a:lnTo>
                  <a:lnTo>
                    <a:pt x="193" y="2"/>
                  </a:lnTo>
                  <a:lnTo>
                    <a:pt x="198" y="25"/>
                  </a:lnTo>
                  <a:lnTo>
                    <a:pt x="208" y="40"/>
                  </a:lnTo>
                  <a:lnTo>
                    <a:pt x="217" y="54"/>
                  </a:lnTo>
                  <a:lnTo>
                    <a:pt x="203" y="69"/>
                  </a:lnTo>
                  <a:lnTo>
                    <a:pt x="208" y="54"/>
                  </a:lnTo>
                  <a:lnTo>
                    <a:pt x="200" y="38"/>
                  </a:lnTo>
                  <a:lnTo>
                    <a:pt x="189" y="28"/>
                  </a:lnTo>
                  <a:lnTo>
                    <a:pt x="189" y="16"/>
                  </a:lnTo>
                  <a:lnTo>
                    <a:pt x="184" y="0"/>
                  </a:lnTo>
                  <a:lnTo>
                    <a:pt x="172" y="0"/>
                  </a:lnTo>
                  <a:lnTo>
                    <a:pt x="165" y="6"/>
                  </a:lnTo>
                  <a:lnTo>
                    <a:pt x="152" y="1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59" name="Freeform 689">
              <a:extLst>
                <a:ext uri="{FF2B5EF4-FFF2-40B4-BE49-F238E27FC236}">
                  <a16:creationId xmlns:a16="http://schemas.microsoft.com/office/drawing/2014/main" id="{94D28448-DD9C-44D6-B98A-B6A0DBA2C1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7875" y="1223963"/>
              <a:ext cx="7938" cy="4763"/>
            </a:xfrm>
            <a:custGeom>
              <a:avLst/>
              <a:gdLst>
                <a:gd name="T0" fmla="*/ 2 w 5"/>
                <a:gd name="T1" fmla="*/ 0 h 3"/>
                <a:gd name="T2" fmla="*/ 0 w 5"/>
                <a:gd name="T3" fmla="*/ 3 h 3"/>
                <a:gd name="T4" fmla="*/ 5 w 5"/>
                <a:gd name="T5" fmla="*/ 3 h 3"/>
                <a:gd name="T6" fmla="*/ 2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2" y="0"/>
                  </a:moveTo>
                  <a:lnTo>
                    <a:pt x="0" y="3"/>
                  </a:lnTo>
                  <a:lnTo>
                    <a:pt x="5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0" name="Freeform 690">
              <a:extLst>
                <a:ext uri="{FF2B5EF4-FFF2-40B4-BE49-F238E27FC236}">
                  <a16:creationId xmlns:a16="http://schemas.microsoft.com/office/drawing/2014/main" id="{3EFCCC07-4C97-4734-945C-BF8D8E8BE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3750" y="2243138"/>
              <a:ext cx="17463" cy="19050"/>
            </a:xfrm>
            <a:custGeom>
              <a:avLst/>
              <a:gdLst>
                <a:gd name="T0" fmla="*/ 11 w 11"/>
                <a:gd name="T1" fmla="*/ 0 h 12"/>
                <a:gd name="T2" fmla="*/ 0 w 11"/>
                <a:gd name="T3" fmla="*/ 0 h 12"/>
                <a:gd name="T4" fmla="*/ 2 w 11"/>
                <a:gd name="T5" fmla="*/ 12 h 12"/>
                <a:gd name="T6" fmla="*/ 2 w 11"/>
                <a:gd name="T7" fmla="*/ 12 h 12"/>
                <a:gd name="T8" fmla="*/ 9 w 11"/>
                <a:gd name="T9" fmla="*/ 5 h 12"/>
                <a:gd name="T10" fmla="*/ 11 w 11"/>
                <a:gd name="T11" fmla="*/ 0 h 12"/>
                <a:gd name="T12" fmla="*/ 11 w 11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2">
                  <a:moveTo>
                    <a:pt x="11" y="0"/>
                  </a:moveTo>
                  <a:lnTo>
                    <a:pt x="0" y="0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9" y="5"/>
                  </a:ln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1" name="Freeform 691">
              <a:extLst>
                <a:ext uri="{FF2B5EF4-FFF2-40B4-BE49-F238E27FC236}">
                  <a16:creationId xmlns:a16="http://schemas.microsoft.com/office/drawing/2014/main" id="{22FF51F2-BB04-48F9-932C-2D83EEADB7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6600" y="2122488"/>
              <a:ext cx="15875" cy="23813"/>
            </a:xfrm>
            <a:custGeom>
              <a:avLst/>
              <a:gdLst>
                <a:gd name="T0" fmla="*/ 10 w 10"/>
                <a:gd name="T1" fmla="*/ 10 h 15"/>
                <a:gd name="T2" fmla="*/ 9 w 10"/>
                <a:gd name="T3" fmla="*/ 0 h 15"/>
                <a:gd name="T4" fmla="*/ 0 w 10"/>
                <a:gd name="T5" fmla="*/ 0 h 15"/>
                <a:gd name="T6" fmla="*/ 4 w 10"/>
                <a:gd name="T7" fmla="*/ 15 h 15"/>
                <a:gd name="T8" fmla="*/ 10 w 10"/>
                <a:gd name="T9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10" y="10"/>
                  </a:moveTo>
                  <a:lnTo>
                    <a:pt x="9" y="0"/>
                  </a:lnTo>
                  <a:lnTo>
                    <a:pt x="0" y="0"/>
                  </a:lnTo>
                  <a:lnTo>
                    <a:pt x="4" y="15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2" name="Freeform 692">
              <a:extLst>
                <a:ext uri="{FF2B5EF4-FFF2-40B4-BE49-F238E27FC236}">
                  <a16:creationId xmlns:a16="http://schemas.microsoft.com/office/drawing/2014/main" id="{2E9D6EEA-172D-404A-ABCC-1FD276463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8013" y="1852613"/>
              <a:ext cx="15875" cy="23813"/>
            </a:xfrm>
            <a:custGeom>
              <a:avLst/>
              <a:gdLst>
                <a:gd name="T0" fmla="*/ 10 w 10"/>
                <a:gd name="T1" fmla="*/ 1 h 15"/>
                <a:gd name="T2" fmla="*/ 0 w 10"/>
                <a:gd name="T3" fmla="*/ 0 h 15"/>
                <a:gd name="T4" fmla="*/ 7 w 10"/>
                <a:gd name="T5" fmla="*/ 15 h 15"/>
                <a:gd name="T6" fmla="*/ 10 w 10"/>
                <a:gd name="T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5">
                  <a:moveTo>
                    <a:pt x="10" y="1"/>
                  </a:moveTo>
                  <a:lnTo>
                    <a:pt x="0" y="0"/>
                  </a:lnTo>
                  <a:lnTo>
                    <a:pt x="7" y="15"/>
                  </a:lnTo>
                  <a:lnTo>
                    <a:pt x="10" y="1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3" name="Freeform 693">
              <a:extLst>
                <a:ext uri="{FF2B5EF4-FFF2-40B4-BE49-F238E27FC236}">
                  <a16:creationId xmlns:a16="http://schemas.microsoft.com/office/drawing/2014/main" id="{815378F5-CF3C-4D71-86D3-C41BFF8AAA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2950" y="1262063"/>
              <a:ext cx="20638" cy="25400"/>
            </a:xfrm>
            <a:custGeom>
              <a:avLst/>
              <a:gdLst>
                <a:gd name="T0" fmla="*/ 13 w 13"/>
                <a:gd name="T1" fmla="*/ 12 h 16"/>
                <a:gd name="T2" fmla="*/ 5 w 13"/>
                <a:gd name="T3" fmla="*/ 0 h 16"/>
                <a:gd name="T4" fmla="*/ 0 w 13"/>
                <a:gd name="T5" fmla="*/ 7 h 16"/>
                <a:gd name="T6" fmla="*/ 3 w 13"/>
                <a:gd name="T7" fmla="*/ 16 h 16"/>
                <a:gd name="T8" fmla="*/ 13 w 13"/>
                <a:gd name="T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6">
                  <a:moveTo>
                    <a:pt x="13" y="12"/>
                  </a:moveTo>
                  <a:lnTo>
                    <a:pt x="5" y="0"/>
                  </a:lnTo>
                  <a:lnTo>
                    <a:pt x="0" y="7"/>
                  </a:lnTo>
                  <a:lnTo>
                    <a:pt x="3" y="16"/>
                  </a:lnTo>
                  <a:lnTo>
                    <a:pt x="13" y="1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4" name="Freeform 694">
              <a:extLst>
                <a:ext uri="{FF2B5EF4-FFF2-40B4-BE49-F238E27FC236}">
                  <a16:creationId xmlns:a16="http://schemas.microsoft.com/office/drawing/2014/main" id="{C3843B77-5D67-4AC8-8BE6-51E9CB53C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7063" y="1898651"/>
              <a:ext cx="26988" cy="38100"/>
            </a:xfrm>
            <a:custGeom>
              <a:avLst/>
              <a:gdLst>
                <a:gd name="T0" fmla="*/ 12 w 17"/>
                <a:gd name="T1" fmla="*/ 8 h 24"/>
                <a:gd name="T2" fmla="*/ 5 w 17"/>
                <a:gd name="T3" fmla="*/ 0 h 24"/>
                <a:gd name="T4" fmla="*/ 0 w 17"/>
                <a:gd name="T5" fmla="*/ 20 h 24"/>
                <a:gd name="T6" fmla="*/ 17 w 17"/>
                <a:gd name="T7" fmla="*/ 24 h 24"/>
                <a:gd name="T8" fmla="*/ 12 w 17"/>
                <a:gd name="T9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4">
                  <a:moveTo>
                    <a:pt x="12" y="8"/>
                  </a:moveTo>
                  <a:lnTo>
                    <a:pt x="5" y="0"/>
                  </a:lnTo>
                  <a:lnTo>
                    <a:pt x="0" y="20"/>
                  </a:lnTo>
                  <a:lnTo>
                    <a:pt x="17" y="24"/>
                  </a:lnTo>
                  <a:lnTo>
                    <a:pt x="12" y="8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5" name="Freeform 695">
              <a:extLst>
                <a:ext uri="{FF2B5EF4-FFF2-40B4-BE49-F238E27FC236}">
                  <a16:creationId xmlns:a16="http://schemas.microsoft.com/office/drawing/2014/main" id="{E02EAB7F-9167-4286-9D24-A7655B6010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6113" y="1955801"/>
              <a:ext cx="44450" cy="26988"/>
            </a:xfrm>
            <a:custGeom>
              <a:avLst/>
              <a:gdLst>
                <a:gd name="T0" fmla="*/ 9 w 28"/>
                <a:gd name="T1" fmla="*/ 10 h 17"/>
                <a:gd name="T2" fmla="*/ 12 w 28"/>
                <a:gd name="T3" fmla="*/ 17 h 17"/>
                <a:gd name="T4" fmla="*/ 28 w 28"/>
                <a:gd name="T5" fmla="*/ 17 h 17"/>
                <a:gd name="T6" fmla="*/ 26 w 28"/>
                <a:gd name="T7" fmla="*/ 7 h 17"/>
                <a:gd name="T8" fmla="*/ 14 w 28"/>
                <a:gd name="T9" fmla="*/ 0 h 17"/>
                <a:gd name="T10" fmla="*/ 0 w 28"/>
                <a:gd name="T11" fmla="*/ 2 h 17"/>
                <a:gd name="T12" fmla="*/ 9 w 28"/>
                <a:gd name="T13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7">
                  <a:moveTo>
                    <a:pt x="9" y="10"/>
                  </a:moveTo>
                  <a:lnTo>
                    <a:pt x="12" y="17"/>
                  </a:lnTo>
                  <a:lnTo>
                    <a:pt x="28" y="17"/>
                  </a:lnTo>
                  <a:lnTo>
                    <a:pt x="26" y="7"/>
                  </a:lnTo>
                  <a:lnTo>
                    <a:pt x="14" y="0"/>
                  </a:lnTo>
                  <a:lnTo>
                    <a:pt x="0" y="2"/>
                  </a:lnTo>
                  <a:lnTo>
                    <a:pt x="9" y="1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6" name="Freeform 696">
              <a:extLst>
                <a:ext uri="{FF2B5EF4-FFF2-40B4-BE49-F238E27FC236}">
                  <a16:creationId xmlns:a16="http://schemas.microsoft.com/office/drawing/2014/main" id="{D7374E28-62AE-4AB1-A019-1C26B4831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9313" y="2092326"/>
              <a:ext cx="23813" cy="30163"/>
            </a:xfrm>
            <a:custGeom>
              <a:avLst/>
              <a:gdLst>
                <a:gd name="T0" fmla="*/ 15 w 15"/>
                <a:gd name="T1" fmla="*/ 9 h 19"/>
                <a:gd name="T2" fmla="*/ 10 w 15"/>
                <a:gd name="T3" fmla="*/ 0 h 19"/>
                <a:gd name="T4" fmla="*/ 0 w 15"/>
                <a:gd name="T5" fmla="*/ 5 h 19"/>
                <a:gd name="T6" fmla="*/ 5 w 15"/>
                <a:gd name="T7" fmla="*/ 19 h 19"/>
                <a:gd name="T8" fmla="*/ 15 w 1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9">
                  <a:moveTo>
                    <a:pt x="15" y="9"/>
                  </a:moveTo>
                  <a:lnTo>
                    <a:pt x="10" y="0"/>
                  </a:lnTo>
                  <a:lnTo>
                    <a:pt x="0" y="5"/>
                  </a:lnTo>
                  <a:lnTo>
                    <a:pt x="5" y="19"/>
                  </a:lnTo>
                  <a:lnTo>
                    <a:pt x="15" y="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7" name="Freeform 697">
              <a:extLst>
                <a:ext uri="{FF2B5EF4-FFF2-40B4-BE49-F238E27FC236}">
                  <a16:creationId xmlns:a16="http://schemas.microsoft.com/office/drawing/2014/main" id="{82519F6A-2B79-4AFD-876C-421CD187D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4213" y="2144713"/>
              <a:ext cx="25400" cy="20638"/>
            </a:xfrm>
            <a:custGeom>
              <a:avLst/>
              <a:gdLst>
                <a:gd name="T0" fmla="*/ 9 w 16"/>
                <a:gd name="T1" fmla="*/ 0 h 13"/>
                <a:gd name="T2" fmla="*/ 0 w 16"/>
                <a:gd name="T3" fmla="*/ 10 h 13"/>
                <a:gd name="T4" fmla="*/ 16 w 16"/>
                <a:gd name="T5" fmla="*/ 13 h 13"/>
                <a:gd name="T6" fmla="*/ 16 w 16"/>
                <a:gd name="T7" fmla="*/ 13 h 13"/>
                <a:gd name="T8" fmla="*/ 14 w 16"/>
                <a:gd name="T9" fmla="*/ 10 h 13"/>
                <a:gd name="T10" fmla="*/ 12 w 16"/>
                <a:gd name="T11" fmla="*/ 5 h 13"/>
                <a:gd name="T12" fmla="*/ 9 w 16"/>
                <a:gd name="T13" fmla="*/ 0 h 13"/>
                <a:gd name="T14" fmla="*/ 9 w 16"/>
                <a:gd name="T1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3">
                  <a:moveTo>
                    <a:pt x="9" y="0"/>
                  </a:moveTo>
                  <a:lnTo>
                    <a:pt x="0" y="10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4" y="10"/>
                  </a:lnTo>
                  <a:lnTo>
                    <a:pt x="12" y="5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8" name="Freeform 698">
              <a:extLst>
                <a:ext uri="{FF2B5EF4-FFF2-40B4-BE49-F238E27FC236}">
                  <a16:creationId xmlns:a16="http://schemas.microsoft.com/office/drawing/2014/main" id="{A348285D-1A83-46DD-8D1E-B3FAB8D1C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3413" y="1846263"/>
              <a:ext cx="23813" cy="22225"/>
            </a:xfrm>
            <a:custGeom>
              <a:avLst/>
              <a:gdLst>
                <a:gd name="T0" fmla="*/ 0 w 15"/>
                <a:gd name="T1" fmla="*/ 0 h 14"/>
                <a:gd name="T2" fmla="*/ 7 w 15"/>
                <a:gd name="T3" fmla="*/ 14 h 14"/>
                <a:gd name="T4" fmla="*/ 15 w 15"/>
                <a:gd name="T5" fmla="*/ 12 h 14"/>
                <a:gd name="T6" fmla="*/ 10 w 15"/>
                <a:gd name="T7" fmla="*/ 0 h 14"/>
                <a:gd name="T8" fmla="*/ 0 w 15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0" y="0"/>
                  </a:moveTo>
                  <a:lnTo>
                    <a:pt x="7" y="14"/>
                  </a:lnTo>
                  <a:lnTo>
                    <a:pt x="15" y="12"/>
                  </a:lnTo>
                  <a:lnTo>
                    <a:pt x="1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69" name="Freeform 699">
              <a:extLst>
                <a:ext uri="{FF2B5EF4-FFF2-40B4-BE49-F238E27FC236}">
                  <a16:creationId xmlns:a16="http://schemas.microsoft.com/office/drawing/2014/main" id="{CB7916C8-1944-467A-AE41-A057A9633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8500" y="2252663"/>
              <a:ext cx="22225" cy="49213"/>
            </a:xfrm>
            <a:custGeom>
              <a:avLst/>
              <a:gdLst>
                <a:gd name="T0" fmla="*/ 5 w 14"/>
                <a:gd name="T1" fmla="*/ 0 h 31"/>
                <a:gd name="T2" fmla="*/ 0 w 14"/>
                <a:gd name="T3" fmla="*/ 16 h 31"/>
                <a:gd name="T4" fmla="*/ 0 w 14"/>
                <a:gd name="T5" fmla="*/ 31 h 31"/>
                <a:gd name="T6" fmla="*/ 14 w 14"/>
                <a:gd name="T7" fmla="*/ 31 h 31"/>
                <a:gd name="T8" fmla="*/ 10 w 14"/>
                <a:gd name="T9" fmla="*/ 7 h 31"/>
                <a:gd name="T10" fmla="*/ 5 w 14"/>
                <a:gd name="T1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31">
                  <a:moveTo>
                    <a:pt x="5" y="0"/>
                  </a:moveTo>
                  <a:lnTo>
                    <a:pt x="0" y="16"/>
                  </a:lnTo>
                  <a:lnTo>
                    <a:pt x="0" y="31"/>
                  </a:lnTo>
                  <a:lnTo>
                    <a:pt x="14" y="31"/>
                  </a:lnTo>
                  <a:lnTo>
                    <a:pt x="10" y="7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0" name="Freeform 700">
              <a:extLst>
                <a:ext uri="{FF2B5EF4-FFF2-40B4-BE49-F238E27FC236}">
                  <a16:creationId xmlns:a16="http://schemas.microsoft.com/office/drawing/2014/main" id="{4F5E82B6-59AD-44B5-8334-EBFD5B4A7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3263" y="2108201"/>
              <a:ext cx="25400" cy="44450"/>
            </a:xfrm>
            <a:custGeom>
              <a:avLst/>
              <a:gdLst>
                <a:gd name="T0" fmla="*/ 16 w 16"/>
                <a:gd name="T1" fmla="*/ 28 h 28"/>
                <a:gd name="T2" fmla="*/ 14 w 16"/>
                <a:gd name="T3" fmla="*/ 9 h 28"/>
                <a:gd name="T4" fmla="*/ 7 w 16"/>
                <a:gd name="T5" fmla="*/ 0 h 28"/>
                <a:gd name="T6" fmla="*/ 0 w 16"/>
                <a:gd name="T7" fmla="*/ 2 h 28"/>
                <a:gd name="T8" fmla="*/ 2 w 16"/>
                <a:gd name="T9" fmla="*/ 17 h 28"/>
                <a:gd name="T10" fmla="*/ 2 w 16"/>
                <a:gd name="T11" fmla="*/ 17 h 28"/>
                <a:gd name="T12" fmla="*/ 9 w 16"/>
                <a:gd name="T13" fmla="*/ 23 h 28"/>
                <a:gd name="T14" fmla="*/ 16 w 16"/>
                <a:gd name="T15" fmla="*/ 28 h 28"/>
                <a:gd name="T16" fmla="*/ 16 w 16"/>
                <a:gd name="T1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8">
                  <a:moveTo>
                    <a:pt x="16" y="28"/>
                  </a:moveTo>
                  <a:lnTo>
                    <a:pt x="14" y="9"/>
                  </a:lnTo>
                  <a:lnTo>
                    <a:pt x="7" y="0"/>
                  </a:lnTo>
                  <a:lnTo>
                    <a:pt x="0" y="2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9" y="23"/>
                  </a:lnTo>
                  <a:lnTo>
                    <a:pt x="16" y="28"/>
                  </a:lnTo>
                  <a:lnTo>
                    <a:pt x="16" y="28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1" name="Freeform 701">
              <a:extLst>
                <a:ext uri="{FF2B5EF4-FFF2-40B4-BE49-F238E27FC236}">
                  <a16:creationId xmlns:a16="http://schemas.microsoft.com/office/drawing/2014/main" id="{53E12A97-53FE-4287-819B-3012CBB8C8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0563" y="2193926"/>
              <a:ext cx="52388" cy="73025"/>
            </a:xfrm>
            <a:custGeom>
              <a:avLst/>
              <a:gdLst>
                <a:gd name="T0" fmla="*/ 14 w 33"/>
                <a:gd name="T1" fmla="*/ 15 h 46"/>
                <a:gd name="T2" fmla="*/ 14 w 33"/>
                <a:gd name="T3" fmla="*/ 1 h 46"/>
                <a:gd name="T4" fmla="*/ 0 w 33"/>
                <a:gd name="T5" fmla="*/ 0 h 46"/>
                <a:gd name="T6" fmla="*/ 2 w 33"/>
                <a:gd name="T7" fmla="*/ 13 h 46"/>
                <a:gd name="T8" fmla="*/ 5 w 33"/>
                <a:gd name="T9" fmla="*/ 29 h 46"/>
                <a:gd name="T10" fmla="*/ 24 w 33"/>
                <a:gd name="T11" fmla="*/ 34 h 46"/>
                <a:gd name="T12" fmla="*/ 22 w 33"/>
                <a:gd name="T13" fmla="*/ 46 h 46"/>
                <a:gd name="T14" fmla="*/ 33 w 33"/>
                <a:gd name="T15" fmla="*/ 46 h 46"/>
                <a:gd name="T16" fmla="*/ 33 w 33"/>
                <a:gd name="T17" fmla="*/ 36 h 46"/>
                <a:gd name="T18" fmla="*/ 22 w 33"/>
                <a:gd name="T19" fmla="*/ 25 h 46"/>
                <a:gd name="T20" fmla="*/ 14 w 33"/>
                <a:gd name="T21" fmla="*/ 1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46">
                  <a:moveTo>
                    <a:pt x="14" y="15"/>
                  </a:moveTo>
                  <a:lnTo>
                    <a:pt x="14" y="1"/>
                  </a:lnTo>
                  <a:lnTo>
                    <a:pt x="0" y="0"/>
                  </a:lnTo>
                  <a:lnTo>
                    <a:pt x="2" y="13"/>
                  </a:lnTo>
                  <a:lnTo>
                    <a:pt x="5" y="29"/>
                  </a:lnTo>
                  <a:lnTo>
                    <a:pt x="24" y="34"/>
                  </a:lnTo>
                  <a:lnTo>
                    <a:pt x="22" y="46"/>
                  </a:lnTo>
                  <a:lnTo>
                    <a:pt x="33" y="46"/>
                  </a:lnTo>
                  <a:lnTo>
                    <a:pt x="33" y="36"/>
                  </a:lnTo>
                  <a:lnTo>
                    <a:pt x="22" y="25"/>
                  </a:lnTo>
                  <a:lnTo>
                    <a:pt x="14" y="1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2" name="Freeform 702">
              <a:extLst>
                <a:ext uri="{FF2B5EF4-FFF2-40B4-BE49-F238E27FC236}">
                  <a16:creationId xmlns:a16="http://schemas.microsoft.com/office/drawing/2014/main" id="{AAA1E02E-214C-4E74-BC1A-3C735BCB3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075" y="2417763"/>
              <a:ext cx="25400" cy="20638"/>
            </a:xfrm>
            <a:custGeom>
              <a:avLst/>
              <a:gdLst>
                <a:gd name="T0" fmla="*/ 16 w 16"/>
                <a:gd name="T1" fmla="*/ 8 h 13"/>
                <a:gd name="T2" fmla="*/ 10 w 16"/>
                <a:gd name="T3" fmla="*/ 0 h 13"/>
                <a:gd name="T4" fmla="*/ 0 w 16"/>
                <a:gd name="T5" fmla="*/ 3 h 13"/>
                <a:gd name="T6" fmla="*/ 2 w 16"/>
                <a:gd name="T7" fmla="*/ 13 h 13"/>
                <a:gd name="T8" fmla="*/ 16 w 16"/>
                <a:gd name="T9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3">
                  <a:moveTo>
                    <a:pt x="16" y="8"/>
                  </a:moveTo>
                  <a:lnTo>
                    <a:pt x="10" y="0"/>
                  </a:lnTo>
                  <a:lnTo>
                    <a:pt x="0" y="3"/>
                  </a:lnTo>
                  <a:lnTo>
                    <a:pt x="2" y="13"/>
                  </a:lnTo>
                  <a:lnTo>
                    <a:pt x="16" y="8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3" name="Freeform 703">
              <a:extLst>
                <a:ext uri="{FF2B5EF4-FFF2-40B4-BE49-F238E27FC236}">
                  <a16:creationId xmlns:a16="http://schemas.microsoft.com/office/drawing/2014/main" id="{39B04E54-AE4C-4F78-9E3A-6D7ED3C41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7875" y="1228726"/>
              <a:ext cx="103188" cy="71438"/>
            </a:xfrm>
            <a:custGeom>
              <a:avLst/>
              <a:gdLst>
                <a:gd name="T0" fmla="*/ 27 w 65"/>
                <a:gd name="T1" fmla="*/ 16 h 45"/>
                <a:gd name="T2" fmla="*/ 14 w 65"/>
                <a:gd name="T3" fmla="*/ 19 h 45"/>
                <a:gd name="T4" fmla="*/ 0 w 65"/>
                <a:gd name="T5" fmla="*/ 21 h 45"/>
                <a:gd name="T6" fmla="*/ 0 w 65"/>
                <a:gd name="T7" fmla="*/ 40 h 45"/>
                <a:gd name="T8" fmla="*/ 15 w 65"/>
                <a:gd name="T9" fmla="*/ 45 h 45"/>
                <a:gd name="T10" fmla="*/ 33 w 65"/>
                <a:gd name="T11" fmla="*/ 35 h 45"/>
                <a:gd name="T12" fmla="*/ 26 w 65"/>
                <a:gd name="T13" fmla="*/ 26 h 45"/>
                <a:gd name="T14" fmla="*/ 34 w 65"/>
                <a:gd name="T15" fmla="*/ 23 h 45"/>
                <a:gd name="T16" fmla="*/ 39 w 65"/>
                <a:gd name="T17" fmla="*/ 35 h 45"/>
                <a:gd name="T18" fmla="*/ 57 w 65"/>
                <a:gd name="T19" fmla="*/ 16 h 45"/>
                <a:gd name="T20" fmla="*/ 65 w 65"/>
                <a:gd name="T21" fmla="*/ 7 h 45"/>
                <a:gd name="T22" fmla="*/ 60 w 65"/>
                <a:gd name="T23" fmla="*/ 0 h 45"/>
                <a:gd name="T24" fmla="*/ 33 w 65"/>
                <a:gd name="T25" fmla="*/ 0 h 45"/>
                <a:gd name="T26" fmla="*/ 34 w 65"/>
                <a:gd name="T27" fmla="*/ 9 h 45"/>
                <a:gd name="T28" fmla="*/ 27 w 65"/>
                <a:gd name="T29" fmla="*/ 1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" h="45">
                  <a:moveTo>
                    <a:pt x="27" y="16"/>
                  </a:moveTo>
                  <a:lnTo>
                    <a:pt x="14" y="19"/>
                  </a:lnTo>
                  <a:lnTo>
                    <a:pt x="0" y="21"/>
                  </a:lnTo>
                  <a:lnTo>
                    <a:pt x="0" y="40"/>
                  </a:lnTo>
                  <a:lnTo>
                    <a:pt x="15" y="45"/>
                  </a:lnTo>
                  <a:lnTo>
                    <a:pt x="33" y="35"/>
                  </a:lnTo>
                  <a:lnTo>
                    <a:pt x="26" y="26"/>
                  </a:lnTo>
                  <a:lnTo>
                    <a:pt x="34" y="23"/>
                  </a:lnTo>
                  <a:lnTo>
                    <a:pt x="39" y="35"/>
                  </a:lnTo>
                  <a:lnTo>
                    <a:pt x="57" y="16"/>
                  </a:lnTo>
                  <a:lnTo>
                    <a:pt x="65" y="7"/>
                  </a:lnTo>
                  <a:lnTo>
                    <a:pt x="60" y="0"/>
                  </a:lnTo>
                  <a:lnTo>
                    <a:pt x="33" y="0"/>
                  </a:lnTo>
                  <a:lnTo>
                    <a:pt x="34" y="9"/>
                  </a:lnTo>
                  <a:lnTo>
                    <a:pt x="27" y="1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4" name="Freeform 704">
              <a:extLst>
                <a:ext uri="{FF2B5EF4-FFF2-40B4-BE49-F238E27FC236}">
                  <a16:creationId xmlns:a16="http://schemas.microsoft.com/office/drawing/2014/main" id="{724E050E-05E7-4DD6-8BCD-569B5ACAB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5000" y="1455738"/>
              <a:ext cx="17463" cy="22225"/>
            </a:xfrm>
            <a:custGeom>
              <a:avLst/>
              <a:gdLst>
                <a:gd name="T0" fmla="*/ 11 w 11"/>
                <a:gd name="T1" fmla="*/ 0 h 14"/>
                <a:gd name="T2" fmla="*/ 2 w 11"/>
                <a:gd name="T3" fmla="*/ 0 h 14"/>
                <a:gd name="T4" fmla="*/ 0 w 11"/>
                <a:gd name="T5" fmla="*/ 14 h 14"/>
                <a:gd name="T6" fmla="*/ 11 w 11"/>
                <a:gd name="T7" fmla="*/ 14 h 14"/>
                <a:gd name="T8" fmla="*/ 11 w 11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4">
                  <a:moveTo>
                    <a:pt x="11" y="0"/>
                  </a:moveTo>
                  <a:lnTo>
                    <a:pt x="2" y="0"/>
                  </a:lnTo>
                  <a:lnTo>
                    <a:pt x="0" y="14"/>
                  </a:lnTo>
                  <a:lnTo>
                    <a:pt x="11" y="14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5" name="Freeform 705">
              <a:extLst>
                <a:ext uri="{FF2B5EF4-FFF2-40B4-BE49-F238E27FC236}">
                  <a16:creationId xmlns:a16="http://schemas.microsoft.com/office/drawing/2014/main" id="{AB6FB81C-77A9-44F5-8E37-6DE66D9BE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9125" y="1644651"/>
              <a:ext cx="19050" cy="22225"/>
            </a:xfrm>
            <a:custGeom>
              <a:avLst/>
              <a:gdLst>
                <a:gd name="T0" fmla="*/ 3 w 12"/>
                <a:gd name="T1" fmla="*/ 0 h 14"/>
                <a:gd name="T2" fmla="*/ 0 w 12"/>
                <a:gd name="T3" fmla="*/ 14 h 14"/>
                <a:gd name="T4" fmla="*/ 12 w 12"/>
                <a:gd name="T5" fmla="*/ 10 h 14"/>
                <a:gd name="T6" fmla="*/ 3 w 12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4">
                  <a:moveTo>
                    <a:pt x="3" y="0"/>
                  </a:moveTo>
                  <a:lnTo>
                    <a:pt x="0" y="14"/>
                  </a:lnTo>
                  <a:lnTo>
                    <a:pt x="12" y="1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6" name="Freeform 706">
              <a:extLst>
                <a:ext uri="{FF2B5EF4-FFF2-40B4-BE49-F238E27FC236}">
                  <a16:creationId xmlns:a16="http://schemas.microsoft.com/office/drawing/2014/main" id="{FB40D8B7-C16A-41DC-92CC-A09015A14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4838" y="1685926"/>
              <a:ext cx="79375" cy="92075"/>
            </a:xfrm>
            <a:custGeom>
              <a:avLst/>
              <a:gdLst>
                <a:gd name="T0" fmla="*/ 16 w 50"/>
                <a:gd name="T1" fmla="*/ 48 h 58"/>
                <a:gd name="T2" fmla="*/ 23 w 50"/>
                <a:gd name="T3" fmla="*/ 41 h 58"/>
                <a:gd name="T4" fmla="*/ 31 w 50"/>
                <a:gd name="T5" fmla="*/ 43 h 58"/>
                <a:gd name="T6" fmla="*/ 35 w 50"/>
                <a:gd name="T7" fmla="*/ 34 h 58"/>
                <a:gd name="T8" fmla="*/ 50 w 50"/>
                <a:gd name="T9" fmla="*/ 29 h 58"/>
                <a:gd name="T10" fmla="*/ 50 w 50"/>
                <a:gd name="T11" fmla="*/ 19 h 58"/>
                <a:gd name="T12" fmla="*/ 42 w 50"/>
                <a:gd name="T13" fmla="*/ 15 h 58"/>
                <a:gd name="T14" fmla="*/ 40 w 50"/>
                <a:gd name="T15" fmla="*/ 1 h 58"/>
                <a:gd name="T16" fmla="*/ 26 w 50"/>
                <a:gd name="T17" fmla="*/ 0 h 58"/>
                <a:gd name="T18" fmla="*/ 26 w 50"/>
                <a:gd name="T19" fmla="*/ 12 h 58"/>
                <a:gd name="T20" fmla="*/ 16 w 50"/>
                <a:gd name="T21" fmla="*/ 17 h 58"/>
                <a:gd name="T22" fmla="*/ 21 w 50"/>
                <a:gd name="T23" fmla="*/ 32 h 58"/>
                <a:gd name="T24" fmla="*/ 6 w 50"/>
                <a:gd name="T25" fmla="*/ 36 h 58"/>
                <a:gd name="T26" fmla="*/ 0 w 50"/>
                <a:gd name="T27" fmla="*/ 44 h 58"/>
                <a:gd name="T28" fmla="*/ 9 w 50"/>
                <a:gd name="T29" fmla="*/ 58 h 58"/>
                <a:gd name="T30" fmla="*/ 16 w 50"/>
                <a:gd name="T31" fmla="*/ 4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58">
                  <a:moveTo>
                    <a:pt x="16" y="48"/>
                  </a:moveTo>
                  <a:lnTo>
                    <a:pt x="23" y="41"/>
                  </a:lnTo>
                  <a:lnTo>
                    <a:pt x="31" y="43"/>
                  </a:lnTo>
                  <a:lnTo>
                    <a:pt x="35" y="34"/>
                  </a:lnTo>
                  <a:lnTo>
                    <a:pt x="50" y="29"/>
                  </a:lnTo>
                  <a:lnTo>
                    <a:pt x="50" y="19"/>
                  </a:lnTo>
                  <a:lnTo>
                    <a:pt x="42" y="15"/>
                  </a:lnTo>
                  <a:lnTo>
                    <a:pt x="40" y="1"/>
                  </a:lnTo>
                  <a:lnTo>
                    <a:pt x="26" y="0"/>
                  </a:lnTo>
                  <a:lnTo>
                    <a:pt x="26" y="12"/>
                  </a:lnTo>
                  <a:lnTo>
                    <a:pt x="16" y="17"/>
                  </a:lnTo>
                  <a:lnTo>
                    <a:pt x="21" y="32"/>
                  </a:lnTo>
                  <a:lnTo>
                    <a:pt x="6" y="36"/>
                  </a:lnTo>
                  <a:lnTo>
                    <a:pt x="0" y="44"/>
                  </a:lnTo>
                  <a:lnTo>
                    <a:pt x="9" y="58"/>
                  </a:lnTo>
                  <a:lnTo>
                    <a:pt x="16" y="48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7" name="Freeform 707">
              <a:extLst>
                <a:ext uri="{FF2B5EF4-FFF2-40B4-BE49-F238E27FC236}">
                  <a16:creationId xmlns:a16="http://schemas.microsoft.com/office/drawing/2014/main" id="{E92BCEDE-C5A0-4CA8-AF7F-B8573F4F88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1525" y="1228726"/>
              <a:ext cx="39688" cy="25400"/>
            </a:xfrm>
            <a:custGeom>
              <a:avLst/>
              <a:gdLst>
                <a:gd name="T0" fmla="*/ 7 w 25"/>
                <a:gd name="T1" fmla="*/ 16 h 16"/>
                <a:gd name="T2" fmla="*/ 19 w 25"/>
                <a:gd name="T3" fmla="*/ 12 h 16"/>
                <a:gd name="T4" fmla="*/ 25 w 25"/>
                <a:gd name="T5" fmla="*/ 2 h 16"/>
                <a:gd name="T6" fmla="*/ 23 w 25"/>
                <a:gd name="T7" fmla="*/ 0 h 16"/>
                <a:gd name="T8" fmla="*/ 14 w 25"/>
                <a:gd name="T9" fmla="*/ 0 h 16"/>
                <a:gd name="T10" fmla="*/ 12 w 25"/>
                <a:gd name="T11" fmla="*/ 4 h 16"/>
                <a:gd name="T12" fmla="*/ 9 w 25"/>
                <a:gd name="T13" fmla="*/ 0 h 16"/>
                <a:gd name="T14" fmla="*/ 4 w 25"/>
                <a:gd name="T15" fmla="*/ 0 h 16"/>
                <a:gd name="T16" fmla="*/ 0 w 25"/>
                <a:gd name="T17" fmla="*/ 9 h 16"/>
                <a:gd name="T18" fmla="*/ 7 w 25"/>
                <a:gd name="T1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6">
                  <a:moveTo>
                    <a:pt x="7" y="16"/>
                  </a:moveTo>
                  <a:lnTo>
                    <a:pt x="19" y="12"/>
                  </a:lnTo>
                  <a:lnTo>
                    <a:pt x="25" y="2"/>
                  </a:lnTo>
                  <a:lnTo>
                    <a:pt x="23" y="0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9" y="0"/>
                  </a:lnTo>
                  <a:lnTo>
                    <a:pt x="4" y="0"/>
                  </a:lnTo>
                  <a:lnTo>
                    <a:pt x="0" y="9"/>
                  </a:lnTo>
                  <a:lnTo>
                    <a:pt x="7" y="1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8" name="Freeform 708">
              <a:extLst>
                <a:ext uri="{FF2B5EF4-FFF2-40B4-BE49-F238E27FC236}">
                  <a16:creationId xmlns:a16="http://schemas.microsoft.com/office/drawing/2014/main" id="{108C3713-6D50-43D4-A21D-E40C06E32D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9288" y="1628776"/>
              <a:ext cx="30163" cy="19050"/>
            </a:xfrm>
            <a:custGeom>
              <a:avLst/>
              <a:gdLst>
                <a:gd name="T0" fmla="*/ 5 w 19"/>
                <a:gd name="T1" fmla="*/ 12 h 12"/>
                <a:gd name="T2" fmla="*/ 19 w 19"/>
                <a:gd name="T3" fmla="*/ 12 h 12"/>
                <a:gd name="T4" fmla="*/ 12 w 19"/>
                <a:gd name="T5" fmla="*/ 0 h 12"/>
                <a:gd name="T6" fmla="*/ 0 w 19"/>
                <a:gd name="T7" fmla="*/ 0 h 12"/>
                <a:gd name="T8" fmla="*/ 5 w 19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2">
                  <a:moveTo>
                    <a:pt x="5" y="12"/>
                  </a:moveTo>
                  <a:lnTo>
                    <a:pt x="19" y="1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5" y="1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79" name="Freeform 709">
              <a:extLst>
                <a:ext uri="{FF2B5EF4-FFF2-40B4-BE49-F238E27FC236}">
                  <a16:creationId xmlns:a16="http://schemas.microsoft.com/office/drawing/2014/main" id="{FE38E845-B96B-4D9C-8A40-F43C10EA1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5975" y="2455863"/>
              <a:ext cx="23813" cy="19050"/>
            </a:xfrm>
            <a:custGeom>
              <a:avLst/>
              <a:gdLst>
                <a:gd name="T0" fmla="*/ 15 w 15"/>
                <a:gd name="T1" fmla="*/ 0 h 12"/>
                <a:gd name="T2" fmla="*/ 0 w 15"/>
                <a:gd name="T3" fmla="*/ 1 h 12"/>
                <a:gd name="T4" fmla="*/ 5 w 15"/>
                <a:gd name="T5" fmla="*/ 12 h 12"/>
                <a:gd name="T6" fmla="*/ 15 w 15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2">
                  <a:moveTo>
                    <a:pt x="15" y="0"/>
                  </a:moveTo>
                  <a:lnTo>
                    <a:pt x="0" y="1"/>
                  </a:lnTo>
                  <a:lnTo>
                    <a:pt x="5" y="12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0" name="Freeform 710">
              <a:extLst>
                <a:ext uri="{FF2B5EF4-FFF2-40B4-BE49-F238E27FC236}">
                  <a16:creationId xmlns:a16="http://schemas.microsoft.com/office/drawing/2014/main" id="{E824CC15-1464-4E98-8C7C-E1CDB8E4E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3913" y="2422526"/>
              <a:ext cx="19050" cy="19050"/>
            </a:xfrm>
            <a:custGeom>
              <a:avLst/>
              <a:gdLst>
                <a:gd name="T0" fmla="*/ 12 w 12"/>
                <a:gd name="T1" fmla="*/ 0 h 12"/>
                <a:gd name="T2" fmla="*/ 4 w 12"/>
                <a:gd name="T3" fmla="*/ 2 h 12"/>
                <a:gd name="T4" fmla="*/ 0 w 12"/>
                <a:gd name="T5" fmla="*/ 12 h 12"/>
                <a:gd name="T6" fmla="*/ 12 w 12"/>
                <a:gd name="T7" fmla="*/ 12 h 12"/>
                <a:gd name="T8" fmla="*/ 12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12" y="0"/>
                  </a:moveTo>
                  <a:lnTo>
                    <a:pt x="4" y="2"/>
                  </a:lnTo>
                  <a:lnTo>
                    <a:pt x="0" y="12"/>
                  </a:lnTo>
                  <a:lnTo>
                    <a:pt x="12" y="1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1" name="Freeform 711">
              <a:extLst>
                <a:ext uri="{FF2B5EF4-FFF2-40B4-BE49-F238E27FC236}">
                  <a16:creationId xmlns:a16="http://schemas.microsoft.com/office/drawing/2014/main" id="{703E022E-FC2F-4083-A673-C6E1A5E88E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493838"/>
              <a:ext cx="19050" cy="25400"/>
            </a:xfrm>
            <a:custGeom>
              <a:avLst/>
              <a:gdLst>
                <a:gd name="T0" fmla="*/ 0 w 12"/>
                <a:gd name="T1" fmla="*/ 16 h 16"/>
                <a:gd name="T2" fmla="*/ 12 w 12"/>
                <a:gd name="T3" fmla="*/ 5 h 16"/>
                <a:gd name="T4" fmla="*/ 3 w 12"/>
                <a:gd name="T5" fmla="*/ 0 h 16"/>
                <a:gd name="T6" fmla="*/ 0 w 12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6">
                  <a:moveTo>
                    <a:pt x="0" y="16"/>
                  </a:moveTo>
                  <a:lnTo>
                    <a:pt x="12" y="5"/>
                  </a:lnTo>
                  <a:lnTo>
                    <a:pt x="3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2" name="Freeform 712">
              <a:extLst>
                <a:ext uri="{FF2B5EF4-FFF2-40B4-BE49-F238E27FC236}">
                  <a16:creationId xmlns:a16="http://schemas.microsoft.com/office/drawing/2014/main" id="{8090ECBF-C47A-4616-A33C-48EA5A48F3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5813" y="2479676"/>
              <a:ext cx="26988" cy="22225"/>
            </a:xfrm>
            <a:custGeom>
              <a:avLst/>
              <a:gdLst>
                <a:gd name="T0" fmla="*/ 17 w 17"/>
                <a:gd name="T1" fmla="*/ 4 h 14"/>
                <a:gd name="T2" fmla="*/ 3 w 17"/>
                <a:gd name="T3" fmla="*/ 0 h 14"/>
                <a:gd name="T4" fmla="*/ 0 w 17"/>
                <a:gd name="T5" fmla="*/ 14 h 14"/>
                <a:gd name="T6" fmla="*/ 10 w 17"/>
                <a:gd name="T7" fmla="*/ 10 h 14"/>
                <a:gd name="T8" fmla="*/ 17 w 17"/>
                <a:gd name="T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4">
                  <a:moveTo>
                    <a:pt x="17" y="4"/>
                  </a:moveTo>
                  <a:lnTo>
                    <a:pt x="3" y="0"/>
                  </a:lnTo>
                  <a:lnTo>
                    <a:pt x="0" y="14"/>
                  </a:lnTo>
                  <a:lnTo>
                    <a:pt x="10" y="10"/>
                  </a:lnTo>
                  <a:lnTo>
                    <a:pt x="17" y="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3" name="Freeform 713">
              <a:extLst>
                <a:ext uri="{FF2B5EF4-FFF2-40B4-BE49-F238E27FC236}">
                  <a16:creationId xmlns:a16="http://schemas.microsoft.com/office/drawing/2014/main" id="{22D31F89-DA99-476C-917D-DDC31BCD4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0863" y="1228726"/>
              <a:ext cx="935038" cy="2573338"/>
            </a:xfrm>
            <a:custGeom>
              <a:avLst/>
              <a:gdLst>
                <a:gd name="T0" fmla="*/ 126 w 589"/>
                <a:gd name="T1" fmla="*/ 162 h 1621"/>
                <a:gd name="T2" fmla="*/ 212 w 589"/>
                <a:gd name="T3" fmla="*/ 252 h 1621"/>
                <a:gd name="T4" fmla="*/ 181 w 589"/>
                <a:gd name="T5" fmla="*/ 454 h 1621"/>
                <a:gd name="T6" fmla="*/ 169 w 589"/>
                <a:gd name="T7" fmla="*/ 506 h 1621"/>
                <a:gd name="T8" fmla="*/ 129 w 589"/>
                <a:gd name="T9" fmla="*/ 609 h 1621"/>
                <a:gd name="T10" fmla="*/ 100 w 589"/>
                <a:gd name="T11" fmla="*/ 652 h 1621"/>
                <a:gd name="T12" fmla="*/ 88 w 589"/>
                <a:gd name="T13" fmla="*/ 666 h 1621"/>
                <a:gd name="T14" fmla="*/ 86 w 589"/>
                <a:gd name="T15" fmla="*/ 731 h 1621"/>
                <a:gd name="T16" fmla="*/ 66 w 589"/>
                <a:gd name="T17" fmla="*/ 838 h 1621"/>
                <a:gd name="T18" fmla="*/ 55 w 589"/>
                <a:gd name="T19" fmla="*/ 845 h 1621"/>
                <a:gd name="T20" fmla="*/ 26 w 589"/>
                <a:gd name="T21" fmla="*/ 790 h 1621"/>
                <a:gd name="T22" fmla="*/ 4 w 589"/>
                <a:gd name="T23" fmla="*/ 826 h 1621"/>
                <a:gd name="T24" fmla="*/ 14 w 589"/>
                <a:gd name="T25" fmla="*/ 860 h 1621"/>
                <a:gd name="T26" fmla="*/ 24 w 589"/>
                <a:gd name="T27" fmla="*/ 895 h 1621"/>
                <a:gd name="T28" fmla="*/ 24 w 589"/>
                <a:gd name="T29" fmla="*/ 945 h 1621"/>
                <a:gd name="T30" fmla="*/ 40 w 589"/>
                <a:gd name="T31" fmla="*/ 958 h 1621"/>
                <a:gd name="T32" fmla="*/ 66 w 589"/>
                <a:gd name="T33" fmla="*/ 962 h 1621"/>
                <a:gd name="T34" fmla="*/ 57 w 589"/>
                <a:gd name="T35" fmla="*/ 993 h 1621"/>
                <a:gd name="T36" fmla="*/ 85 w 589"/>
                <a:gd name="T37" fmla="*/ 974 h 1621"/>
                <a:gd name="T38" fmla="*/ 71 w 589"/>
                <a:gd name="T39" fmla="*/ 986 h 1621"/>
                <a:gd name="T40" fmla="*/ 42 w 589"/>
                <a:gd name="T41" fmla="*/ 1019 h 1621"/>
                <a:gd name="T42" fmla="*/ 76 w 589"/>
                <a:gd name="T43" fmla="*/ 1024 h 1621"/>
                <a:gd name="T44" fmla="*/ 86 w 589"/>
                <a:gd name="T45" fmla="*/ 1041 h 1621"/>
                <a:gd name="T46" fmla="*/ 64 w 589"/>
                <a:gd name="T47" fmla="*/ 1075 h 1621"/>
                <a:gd name="T48" fmla="*/ 74 w 589"/>
                <a:gd name="T49" fmla="*/ 1105 h 1621"/>
                <a:gd name="T50" fmla="*/ 95 w 589"/>
                <a:gd name="T51" fmla="*/ 1129 h 1621"/>
                <a:gd name="T52" fmla="*/ 112 w 589"/>
                <a:gd name="T53" fmla="*/ 1180 h 1621"/>
                <a:gd name="T54" fmla="*/ 128 w 589"/>
                <a:gd name="T55" fmla="*/ 1204 h 1621"/>
                <a:gd name="T56" fmla="*/ 135 w 589"/>
                <a:gd name="T57" fmla="*/ 1237 h 1621"/>
                <a:gd name="T58" fmla="*/ 162 w 589"/>
                <a:gd name="T59" fmla="*/ 1280 h 1621"/>
                <a:gd name="T60" fmla="*/ 185 w 589"/>
                <a:gd name="T61" fmla="*/ 1325 h 1621"/>
                <a:gd name="T62" fmla="*/ 214 w 589"/>
                <a:gd name="T63" fmla="*/ 1335 h 1621"/>
                <a:gd name="T64" fmla="*/ 207 w 589"/>
                <a:gd name="T65" fmla="*/ 1381 h 1621"/>
                <a:gd name="T66" fmla="*/ 198 w 589"/>
                <a:gd name="T67" fmla="*/ 1406 h 1621"/>
                <a:gd name="T68" fmla="*/ 193 w 589"/>
                <a:gd name="T69" fmla="*/ 1430 h 1621"/>
                <a:gd name="T70" fmla="*/ 174 w 589"/>
                <a:gd name="T71" fmla="*/ 1438 h 1621"/>
                <a:gd name="T72" fmla="*/ 198 w 589"/>
                <a:gd name="T73" fmla="*/ 1485 h 1621"/>
                <a:gd name="T74" fmla="*/ 216 w 589"/>
                <a:gd name="T75" fmla="*/ 1524 h 1621"/>
                <a:gd name="T76" fmla="*/ 233 w 589"/>
                <a:gd name="T77" fmla="*/ 1565 h 1621"/>
                <a:gd name="T78" fmla="*/ 200 w 589"/>
                <a:gd name="T79" fmla="*/ 1595 h 1621"/>
                <a:gd name="T80" fmla="*/ 241 w 589"/>
                <a:gd name="T81" fmla="*/ 1614 h 1621"/>
                <a:gd name="T82" fmla="*/ 298 w 589"/>
                <a:gd name="T83" fmla="*/ 1612 h 1621"/>
                <a:gd name="T84" fmla="*/ 346 w 589"/>
                <a:gd name="T85" fmla="*/ 1603 h 1621"/>
                <a:gd name="T86" fmla="*/ 388 w 589"/>
                <a:gd name="T87" fmla="*/ 1584 h 1621"/>
                <a:gd name="T88" fmla="*/ 372 w 589"/>
                <a:gd name="T89" fmla="*/ 1547 h 1621"/>
                <a:gd name="T90" fmla="*/ 382 w 589"/>
                <a:gd name="T91" fmla="*/ 1500 h 1621"/>
                <a:gd name="T92" fmla="*/ 415 w 589"/>
                <a:gd name="T93" fmla="*/ 1473 h 1621"/>
                <a:gd name="T94" fmla="*/ 432 w 589"/>
                <a:gd name="T95" fmla="*/ 1457 h 1621"/>
                <a:gd name="T96" fmla="*/ 458 w 589"/>
                <a:gd name="T97" fmla="*/ 1449 h 1621"/>
                <a:gd name="T98" fmla="*/ 498 w 589"/>
                <a:gd name="T99" fmla="*/ 1443 h 1621"/>
                <a:gd name="T100" fmla="*/ 543 w 589"/>
                <a:gd name="T101" fmla="*/ 1447 h 1621"/>
                <a:gd name="T102" fmla="*/ 561 w 589"/>
                <a:gd name="T103" fmla="*/ 1462 h 1621"/>
                <a:gd name="T104" fmla="*/ 586 w 589"/>
                <a:gd name="T105" fmla="*/ 1431 h 1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9" h="1621">
                  <a:moveTo>
                    <a:pt x="136" y="0"/>
                  </a:moveTo>
                  <a:lnTo>
                    <a:pt x="143" y="25"/>
                  </a:lnTo>
                  <a:lnTo>
                    <a:pt x="129" y="131"/>
                  </a:lnTo>
                  <a:lnTo>
                    <a:pt x="126" y="162"/>
                  </a:lnTo>
                  <a:lnTo>
                    <a:pt x="157" y="200"/>
                  </a:lnTo>
                  <a:lnTo>
                    <a:pt x="176" y="200"/>
                  </a:lnTo>
                  <a:lnTo>
                    <a:pt x="202" y="236"/>
                  </a:lnTo>
                  <a:lnTo>
                    <a:pt x="212" y="252"/>
                  </a:lnTo>
                  <a:lnTo>
                    <a:pt x="185" y="329"/>
                  </a:lnTo>
                  <a:lnTo>
                    <a:pt x="136" y="339"/>
                  </a:lnTo>
                  <a:lnTo>
                    <a:pt x="159" y="406"/>
                  </a:lnTo>
                  <a:lnTo>
                    <a:pt x="181" y="454"/>
                  </a:lnTo>
                  <a:lnTo>
                    <a:pt x="179" y="477"/>
                  </a:lnTo>
                  <a:lnTo>
                    <a:pt x="178" y="492"/>
                  </a:lnTo>
                  <a:lnTo>
                    <a:pt x="172" y="501"/>
                  </a:lnTo>
                  <a:lnTo>
                    <a:pt x="169" y="506"/>
                  </a:lnTo>
                  <a:lnTo>
                    <a:pt x="174" y="546"/>
                  </a:lnTo>
                  <a:lnTo>
                    <a:pt x="157" y="580"/>
                  </a:lnTo>
                  <a:lnTo>
                    <a:pt x="136" y="602"/>
                  </a:lnTo>
                  <a:lnTo>
                    <a:pt x="129" y="609"/>
                  </a:lnTo>
                  <a:lnTo>
                    <a:pt x="109" y="609"/>
                  </a:lnTo>
                  <a:lnTo>
                    <a:pt x="95" y="618"/>
                  </a:lnTo>
                  <a:lnTo>
                    <a:pt x="104" y="633"/>
                  </a:lnTo>
                  <a:lnTo>
                    <a:pt x="100" y="652"/>
                  </a:lnTo>
                  <a:lnTo>
                    <a:pt x="100" y="652"/>
                  </a:lnTo>
                  <a:lnTo>
                    <a:pt x="100" y="652"/>
                  </a:lnTo>
                  <a:lnTo>
                    <a:pt x="97" y="657"/>
                  </a:lnTo>
                  <a:lnTo>
                    <a:pt x="88" y="666"/>
                  </a:lnTo>
                  <a:lnTo>
                    <a:pt x="80" y="671"/>
                  </a:lnTo>
                  <a:lnTo>
                    <a:pt x="76" y="673"/>
                  </a:lnTo>
                  <a:lnTo>
                    <a:pt x="74" y="692"/>
                  </a:lnTo>
                  <a:lnTo>
                    <a:pt x="86" y="731"/>
                  </a:lnTo>
                  <a:lnTo>
                    <a:pt x="90" y="755"/>
                  </a:lnTo>
                  <a:lnTo>
                    <a:pt x="81" y="792"/>
                  </a:lnTo>
                  <a:lnTo>
                    <a:pt x="71" y="826"/>
                  </a:lnTo>
                  <a:lnTo>
                    <a:pt x="66" y="838"/>
                  </a:lnTo>
                  <a:lnTo>
                    <a:pt x="66" y="838"/>
                  </a:lnTo>
                  <a:lnTo>
                    <a:pt x="66" y="838"/>
                  </a:lnTo>
                  <a:lnTo>
                    <a:pt x="64" y="840"/>
                  </a:lnTo>
                  <a:lnTo>
                    <a:pt x="55" y="845"/>
                  </a:lnTo>
                  <a:lnTo>
                    <a:pt x="45" y="836"/>
                  </a:lnTo>
                  <a:lnTo>
                    <a:pt x="40" y="817"/>
                  </a:lnTo>
                  <a:lnTo>
                    <a:pt x="30" y="788"/>
                  </a:lnTo>
                  <a:lnTo>
                    <a:pt x="26" y="790"/>
                  </a:lnTo>
                  <a:lnTo>
                    <a:pt x="16" y="797"/>
                  </a:lnTo>
                  <a:lnTo>
                    <a:pt x="6" y="802"/>
                  </a:lnTo>
                  <a:lnTo>
                    <a:pt x="0" y="816"/>
                  </a:lnTo>
                  <a:lnTo>
                    <a:pt x="4" y="826"/>
                  </a:lnTo>
                  <a:lnTo>
                    <a:pt x="6" y="833"/>
                  </a:lnTo>
                  <a:lnTo>
                    <a:pt x="0" y="841"/>
                  </a:lnTo>
                  <a:lnTo>
                    <a:pt x="6" y="850"/>
                  </a:lnTo>
                  <a:lnTo>
                    <a:pt x="14" y="860"/>
                  </a:lnTo>
                  <a:lnTo>
                    <a:pt x="12" y="866"/>
                  </a:lnTo>
                  <a:lnTo>
                    <a:pt x="12" y="878"/>
                  </a:lnTo>
                  <a:lnTo>
                    <a:pt x="14" y="884"/>
                  </a:lnTo>
                  <a:lnTo>
                    <a:pt x="24" y="895"/>
                  </a:lnTo>
                  <a:lnTo>
                    <a:pt x="21" y="910"/>
                  </a:lnTo>
                  <a:lnTo>
                    <a:pt x="21" y="926"/>
                  </a:lnTo>
                  <a:lnTo>
                    <a:pt x="28" y="936"/>
                  </a:lnTo>
                  <a:lnTo>
                    <a:pt x="24" y="945"/>
                  </a:lnTo>
                  <a:lnTo>
                    <a:pt x="16" y="950"/>
                  </a:lnTo>
                  <a:lnTo>
                    <a:pt x="19" y="958"/>
                  </a:lnTo>
                  <a:lnTo>
                    <a:pt x="30" y="965"/>
                  </a:lnTo>
                  <a:lnTo>
                    <a:pt x="40" y="958"/>
                  </a:lnTo>
                  <a:lnTo>
                    <a:pt x="38" y="977"/>
                  </a:lnTo>
                  <a:lnTo>
                    <a:pt x="55" y="964"/>
                  </a:lnTo>
                  <a:lnTo>
                    <a:pt x="62" y="953"/>
                  </a:lnTo>
                  <a:lnTo>
                    <a:pt x="66" y="962"/>
                  </a:lnTo>
                  <a:lnTo>
                    <a:pt x="52" y="977"/>
                  </a:lnTo>
                  <a:lnTo>
                    <a:pt x="40" y="984"/>
                  </a:lnTo>
                  <a:lnTo>
                    <a:pt x="42" y="996"/>
                  </a:lnTo>
                  <a:lnTo>
                    <a:pt x="57" y="993"/>
                  </a:lnTo>
                  <a:lnTo>
                    <a:pt x="66" y="979"/>
                  </a:lnTo>
                  <a:lnTo>
                    <a:pt x="69" y="969"/>
                  </a:lnTo>
                  <a:lnTo>
                    <a:pt x="76" y="967"/>
                  </a:lnTo>
                  <a:lnTo>
                    <a:pt x="85" y="974"/>
                  </a:lnTo>
                  <a:lnTo>
                    <a:pt x="95" y="993"/>
                  </a:lnTo>
                  <a:lnTo>
                    <a:pt x="81" y="991"/>
                  </a:lnTo>
                  <a:lnTo>
                    <a:pt x="73" y="977"/>
                  </a:lnTo>
                  <a:lnTo>
                    <a:pt x="71" y="986"/>
                  </a:lnTo>
                  <a:lnTo>
                    <a:pt x="57" y="996"/>
                  </a:lnTo>
                  <a:lnTo>
                    <a:pt x="49" y="1001"/>
                  </a:lnTo>
                  <a:lnTo>
                    <a:pt x="37" y="1005"/>
                  </a:lnTo>
                  <a:lnTo>
                    <a:pt x="42" y="1019"/>
                  </a:lnTo>
                  <a:lnTo>
                    <a:pt x="50" y="1029"/>
                  </a:lnTo>
                  <a:lnTo>
                    <a:pt x="59" y="1024"/>
                  </a:lnTo>
                  <a:lnTo>
                    <a:pt x="66" y="1020"/>
                  </a:lnTo>
                  <a:lnTo>
                    <a:pt x="76" y="1024"/>
                  </a:lnTo>
                  <a:lnTo>
                    <a:pt x="76" y="1019"/>
                  </a:lnTo>
                  <a:lnTo>
                    <a:pt x="86" y="1017"/>
                  </a:lnTo>
                  <a:lnTo>
                    <a:pt x="86" y="1029"/>
                  </a:lnTo>
                  <a:lnTo>
                    <a:pt x="86" y="1041"/>
                  </a:lnTo>
                  <a:lnTo>
                    <a:pt x="80" y="1053"/>
                  </a:lnTo>
                  <a:lnTo>
                    <a:pt x="81" y="1063"/>
                  </a:lnTo>
                  <a:lnTo>
                    <a:pt x="71" y="1070"/>
                  </a:lnTo>
                  <a:lnTo>
                    <a:pt x="64" y="1075"/>
                  </a:lnTo>
                  <a:lnTo>
                    <a:pt x="67" y="1086"/>
                  </a:lnTo>
                  <a:lnTo>
                    <a:pt x="66" y="1094"/>
                  </a:lnTo>
                  <a:lnTo>
                    <a:pt x="80" y="1098"/>
                  </a:lnTo>
                  <a:lnTo>
                    <a:pt x="74" y="1105"/>
                  </a:lnTo>
                  <a:lnTo>
                    <a:pt x="78" y="1115"/>
                  </a:lnTo>
                  <a:lnTo>
                    <a:pt x="92" y="1117"/>
                  </a:lnTo>
                  <a:lnTo>
                    <a:pt x="86" y="1123"/>
                  </a:lnTo>
                  <a:lnTo>
                    <a:pt x="95" y="1129"/>
                  </a:lnTo>
                  <a:lnTo>
                    <a:pt x="98" y="1142"/>
                  </a:lnTo>
                  <a:lnTo>
                    <a:pt x="98" y="1156"/>
                  </a:lnTo>
                  <a:lnTo>
                    <a:pt x="98" y="1179"/>
                  </a:lnTo>
                  <a:lnTo>
                    <a:pt x="112" y="1180"/>
                  </a:lnTo>
                  <a:lnTo>
                    <a:pt x="117" y="1166"/>
                  </a:lnTo>
                  <a:lnTo>
                    <a:pt x="117" y="1182"/>
                  </a:lnTo>
                  <a:lnTo>
                    <a:pt x="121" y="1189"/>
                  </a:lnTo>
                  <a:lnTo>
                    <a:pt x="128" y="1204"/>
                  </a:lnTo>
                  <a:lnTo>
                    <a:pt x="117" y="1208"/>
                  </a:lnTo>
                  <a:lnTo>
                    <a:pt x="119" y="1218"/>
                  </a:lnTo>
                  <a:lnTo>
                    <a:pt x="133" y="1223"/>
                  </a:lnTo>
                  <a:lnTo>
                    <a:pt x="135" y="1237"/>
                  </a:lnTo>
                  <a:lnTo>
                    <a:pt x="138" y="1246"/>
                  </a:lnTo>
                  <a:lnTo>
                    <a:pt x="147" y="1256"/>
                  </a:lnTo>
                  <a:lnTo>
                    <a:pt x="150" y="1280"/>
                  </a:lnTo>
                  <a:lnTo>
                    <a:pt x="162" y="1280"/>
                  </a:lnTo>
                  <a:lnTo>
                    <a:pt x="171" y="1283"/>
                  </a:lnTo>
                  <a:lnTo>
                    <a:pt x="171" y="1299"/>
                  </a:lnTo>
                  <a:lnTo>
                    <a:pt x="179" y="1308"/>
                  </a:lnTo>
                  <a:lnTo>
                    <a:pt x="185" y="1325"/>
                  </a:lnTo>
                  <a:lnTo>
                    <a:pt x="191" y="1326"/>
                  </a:lnTo>
                  <a:lnTo>
                    <a:pt x="193" y="1335"/>
                  </a:lnTo>
                  <a:lnTo>
                    <a:pt x="200" y="1337"/>
                  </a:lnTo>
                  <a:lnTo>
                    <a:pt x="214" y="1335"/>
                  </a:lnTo>
                  <a:lnTo>
                    <a:pt x="214" y="1351"/>
                  </a:lnTo>
                  <a:lnTo>
                    <a:pt x="214" y="1366"/>
                  </a:lnTo>
                  <a:lnTo>
                    <a:pt x="224" y="1383"/>
                  </a:lnTo>
                  <a:lnTo>
                    <a:pt x="207" y="1381"/>
                  </a:lnTo>
                  <a:lnTo>
                    <a:pt x="193" y="1378"/>
                  </a:lnTo>
                  <a:lnTo>
                    <a:pt x="185" y="1388"/>
                  </a:lnTo>
                  <a:lnTo>
                    <a:pt x="186" y="1397"/>
                  </a:lnTo>
                  <a:lnTo>
                    <a:pt x="198" y="1406"/>
                  </a:lnTo>
                  <a:lnTo>
                    <a:pt x="198" y="1418"/>
                  </a:lnTo>
                  <a:lnTo>
                    <a:pt x="212" y="1424"/>
                  </a:lnTo>
                  <a:lnTo>
                    <a:pt x="200" y="1435"/>
                  </a:lnTo>
                  <a:lnTo>
                    <a:pt x="193" y="1430"/>
                  </a:lnTo>
                  <a:lnTo>
                    <a:pt x="178" y="1421"/>
                  </a:lnTo>
                  <a:lnTo>
                    <a:pt x="166" y="1419"/>
                  </a:lnTo>
                  <a:lnTo>
                    <a:pt x="171" y="1426"/>
                  </a:lnTo>
                  <a:lnTo>
                    <a:pt x="174" y="1438"/>
                  </a:lnTo>
                  <a:lnTo>
                    <a:pt x="178" y="1452"/>
                  </a:lnTo>
                  <a:lnTo>
                    <a:pt x="193" y="1462"/>
                  </a:lnTo>
                  <a:lnTo>
                    <a:pt x="197" y="1473"/>
                  </a:lnTo>
                  <a:lnTo>
                    <a:pt x="198" y="1485"/>
                  </a:lnTo>
                  <a:lnTo>
                    <a:pt x="205" y="1493"/>
                  </a:lnTo>
                  <a:lnTo>
                    <a:pt x="203" y="1505"/>
                  </a:lnTo>
                  <a:lnTo>
                    <a:pt x="210" y="1514"/>
                  </a:lnTo>
                  <a:lnTo>
                    <a:pt x="216" y="1524"/>
                  </a:lnTo>
                  <a:lnTo>
                    <a:pt x="224" y="1533"/>
                  </a:lnTo>
                  <a:lnTo>
                    <a:pt x="231" y="1540"/>
                  </a:lnTo>
                  <a:lnTo>
                    <a:pt x="234" y="1550"/>
                  </a:lnTo>
                  <a:lnTo>
                    <a:pt x="233" y="1565"/>
                  </a:lnTo>
                  <a:lnTo>
                    <a:pt x="236" y="1574"/>
                  </a:lnTo>
                  <a:lnTo>
                    <a:pt x="221" y="1576"/>
                  </a:lnTo>
                  <a:lnTo>
                    <a:pt x="212" y="1584"/>
                  </a:lnTo>
                  <a:lnTo>
                    <a:pt x="200" y="1595"/>
                  </a:lnTo>
                  <a:lnTo>
                    <a:pt x="203" y="1607"/>
                  </a:lnTo>
                  <a:lnTo>
                    <a:pt x="214" y="1605"/>
                  </a:lnTo>
                  <a:lnTo>
                    <a:pt x="226" y="1608"/>
                  </a:lnTo>
                  <a:lnTo>
                    <a:pt x="241" y="1614"/>
                  </a:lnTo>
                  <a:lnTo>
                    <a:pt x="253" y="1614"/>
                  </a:lnTo>
                  <a:lnTo>
                    <a:pt x="272" y="1621"/>
                  </a:lnTo>
                  <a:lnTo>
                    <a:pt x="288" y="1608"/>
                  </a:lnTo>
                  <a:lnTo>
                    <a:pt x="298" y="1612"/>
                  </a:lnTo>
                  <a:lnTo>
                    <a:pt x="307" y="1605"/>
                  </a:lnTo>
                  <a:lnTo>
                    <a:pt x="319" y="1602"/>
                  </a:lnTo>
                  <a:lnTo>
                    <a:pt x="329" y="1602"/>
                  </a:lnTo>
                  <a:lnTo>
                    <a:pt x="346" y="1603"/>
                  </a:lnTo>
                  <a:lnTo>
                    <a:pt x="362" y="1610"/>
                  </a:lnTo>
                  <a:lnTo>
                    <a:pt x="376" y="1603"/>
                  </a:lnTo>
                  <a:lnTo>
                    <a:pt x="381" y="1590"/>
                  </a:lnTo>
                  <a:lnTo>
                    <a:pt x="388" y="1584"/>
                  </a:lnTo>
                  <a:lnTo>
                    <a:pt x="389" y="1571"/>
                  </a:lnTo>
                  <a:lnTo>
                    <a:pt x="379" y="1562"/>
                  </a:lnTo>
                  <a:lnTo>
                    <a:pt x="377" y="1550"/>
                  </a:lnTo>
                  <a:lnTo>
                    <a:pt x="372" y="1547"/>
                  </a:lnTo>
                  <a:lnTo>
                    <a:pt x="370" y="1538"/>
                  </a:lnTo>
                  <a:lnTo>
                    <a:pt x="370" y="1524"/>
                  </a:lnTo>
                  <a:lnTo>
                    <a:pt x="377" y="1514"/>
                  </a:lnTo>
                  <a:lnTo>
                    <a:pt x="382" y="1500"/>
                  </a:lnTo>
                  <a:lnTo>
                    <a:pt x="391" y="1493"/>
                  </a:lnTo>
                  <a:lnTo>
                    <a:pt x="401" y="1485"/>
                  </a:lnTo>
                  <a:lnTo>
                    <a:pt x="405" y="1474"/>
                  </a:lnTo>
                  <a:lnTo>
                    <a:pt x="415" y="1473"/>
                  </a:lnTo>
                  <a:lnTo>
                    <a:pt x="424" y="1481"/>
                  </a:lnTo>
                  <a:lnTo>
                    <a:pt x="434" y="1481"/>
                  </a:lnTo>
                  <a:lnTo>
                    <a:pt x="439" y="1471"/>
                  </a:lnTo>
                  <a:lnTo>
                    <a:pt x="432" y="1457"/>
                  </a:lnTo>
                  <a:lnTo>
                    <a:pt x="427" y="1449"/>
                  </a:lnTo>
                  <a:lnTo>
                    <a:pt x="432" y="1443"/>
                  </a:lnTo>
                  <a:lnTo>
                    <a:pt x="450" y="1449"/>
                  </a:lnTo>
                  <a:lnTo>
                    <a:pt x="458" y="1449"/>
                  </a:lnTo>
                  <a:lnTo>
                    <a:pt x="469" y="1443"/>
                  </a:lnTo>
                  <a:lnTo>
                    <a:pt x="477" y="1447"/>
                  </a:lnTo>
                  <a:lnTo>
                    <a:pt x="486" y="1447"/>
                  </a:lnTo>
                  <a:lnTo>
                    <a:pt x="498" y="1443"/>
                  </a:lnTo>
                  <a:lnTo>
                    <a:pt x="508" y="1454"/>
                  </a:lnTo>
                  <a:lnTo>
                    <a:pt x="518" y="1447"/>
                  </a:lnTo>
                  <a:lnTo>
                    <a:pt x="536" y="1447"/>
                  </a:lnTo>
                  <a:lnTo>
                    <a:pt x="543" y="1447"/>
                  </a:lnTo>
                  <a:lnTo>
                    <a:pt x="543" y="1447"/>
                  </a:lnTo>
                  <a:lnTo>
                    <a:pt x="548" y="1449"/>
                  </a:lnTo>
                  <a:lnTo>
                    <a:pt x="561" y="1452"/>
                  </a:lnTo>
                  <a:lnTo>
                    <a:pt x="561" y="1462"/>
                  </a:lnTo>
                  <a:lnTo>
                    <a:pt x="570" y="1457"/>
                  </a:lnTo>
                  <a:lnTo>
                    <a:pt x="575" y="1445"/>
                  </a:lnTo>
                  <a:lnTo>
                    <a:pt x="580" y="1435"/>
                  </a:lnTo>
                  <a:lnTo>
                    <a:pt x="586" y="1431"/>
                  </a:lnTo>
                  <a:lnTo>
                    <a:pt x="589" y="1424"/>
                  </a:lnTo>
                  <a:lnTo>
                    <a:pt x="589" y="0"/>
                  </a:lnTo>
                  <a:lnTo>
                    <a:pt x="136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4" name="Freeform 714">
              <a:extLst>
                <a:ext uri="{FF2B5EF4-FFF2-40B4-BE49-F238E27FC236}">
                  <a16:creationId xmlns:a16="http://schemas.microsoft.com/office/drawing/2014/main" id="{D5465877-1792-432F-8174-5BB4B502E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3900" y="2184401"/>
              <a:ext cx="42863" cy="11113"/>
            </a:xfrm>
            <a:custGeom>
              <a:avLst/>
              <a:gdLst>
                <a:gd name="T0" fmla="*/ 27 w 27"/>
                <a:gd name="T1" fmla="*/ 0 h 7"/>
                <a:gd name="T2" fmla="*/ 20 w 27"/>
                <a:gd name="T3" fmla="*/ 7 h 7"/>
                <a:gd name="T4" fmla="*/ 0 w 27"/>
                <a:gd name="T5" fmla="*/ 7 h 7"/>
                <a:gd name="T6" fmla="*/ 0 w 27"/>
                <a:gd name="T7" fmla="*/ 7 h 7"/>
                <a:gd name="T8" fmla="*/ 20 w 27"/>
                <a:gd name="T9" fmla="*/ 7 h 7"/>
                <a:gd name="T10" fmla="*/ 27 w 27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7">
                  <a:moveTo>
                    <a:pt x="27" y="0"/>
                  </a:moveTo>
                  <a:lnTo>
                    <a:pt x="2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20" y="7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5" name="Freeform 715">
              <a:extLst>
                <a:ext uri="{FF2B5EF4-FFF2-40B4-BE49-F238E27FC236}">
                  <a16:creationId xmlns:a16="http://schemas.microsoft.com/office/drawing/2014/main" id="{191B19D9-24DD-4AE8-A71E-3D04502AC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5638" y="2540001"/>
              <a:ext cx="7938" cy="19050"/>
            </a:xfrm>
            <a:custGeom>
              <a:avLst/>
              <a:gdLst>
                <a:gd name="T0" fmla="*/ 5 w 5"/>
                <a:gd name="T1" fmla="*/ 0 h 12"/>
                <a:gd name="T2" fmla="*/ 0 w 5"/>
                <a:gd name="T3" fmla="*/ 12 h 12"/>
                <a:gd name="T4" fmla="*/ 0 w 5"/>
                <a:gd name="T5" fmla="*/ 12 h 12"/>
                <a:gd name="T6" fmla="*/ 5 w 5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2">
                  <a:moveTo>
                    <a:pt x="5" y="0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6" name="Freeform 716">
              <a:extLst>
                <a:ext uri="{FF2B5EF4-FFF2-40B4-BE49-F238E27FC236}">
                  <a16:creationId xmlns:a16="http://schemas.microsoft.com/office/drawing/2014/main" id="{F8009BA3-5F07-4637-A9CD-B6F42E346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4850" y="2263776"/>
              <a:ext cx="4763" cy="7938"/>
            </a:xfrm>
            <a:custGeom>
              <a:avLst/>
              <a:gdLst>
                <a:gd name="T0" fmla="*/ 3 w 3"/>
                <a:gd name="T1" fmla="*/ 0 h 5"/>
                <a:gd name="T2" fmla="*/ 0 w 3"/>
                <a:gd name="T3" fmla="*/ 5 h 5"/>
                <a:gd name="T4" fmla="*/ 3 w 3"/>
                <a:gd name="T5" fmla="*/ 0 h 5"/>
                <a:gd name="T6" fmla="*/ 3 w 3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3" y="0"/>
                  </a:moveTo>
                  <a:lnTo>
                    <a:pt x="0" y="5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7" name="Freeform 717">
              <a:extLst>
                <a:ext uri="{FF2B5EF4-FFF2-40B4-BE49-F238E27FC236}">
                  <a16:creationId xmlns:a16="http://schemas.microsoft.com/office/drawing/2014/main" id="{870FFC3E-394F-473B-A629-C80EC7E43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763" y="1603376"/>
              <a:ext cx="120650" cy="163513"/>
            </a:xfrm>
            <a:custGeom>
              <a:avLst/>
              <a:gdLst>
                <a:gd name="T0" fmla="*/ 76 w 76"/>
                <a:gd name="T1" fmla="*/ 16 h 103"/>
                <a:gd name="T2" fmla="*/ 66 w 76"/>
                <a:gd name="T3" fmla="*/ 0 h 103"/>
                <a:gd name="T4" fmla="*/ 76 w 76"/>
                <a:gd name="T5" fmla="*/ 16 h 103"/>
                <a:gd name="T6" fmla="*/ 49 w 76"/>
                <a:gd name="T7" fmla="*/ 93 h 103"/>
                <a:gd name="T8" fmla="*/ 0 w 76"/>
                <a:gd name="T9" fmla="*/ 103 h 103"/>
                <a:gd name="T10" fmla="*/ 0 w 76"/>
                <a:gd name="T11" fmla="*/ 103 h 103"/>
                <a:gd name="T12" fmla="*/ 49 w 76"/>
                <a:gd name="T13" fmla="*/ 93 h 103"/>
                <a:gd name="T14" fmla="*/ 76 w 76"/>
                <a:gd name="T15" fmla="*/ 16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103">
                  <a:moveTo>
                    <a:pt x="76" y="16"/>
                  </a:moveTo>
                  <a:lnTo>
                    <a:pt x="66" y="0"/>
                  </a:lnTo>
                  <a:lnTo>
                    <a:pt x="76" y="16"/>
                  </a:lnTo>
                  <a:lnTo>
                    <a:pt x="49" y="93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49" y="93"/>
                  </a:lnTo>
                  <a:lnTo>
                    <a:pt x="76" y="1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8" name="Freeform 718">
              <a:extLst>
                <a:ext uri="{FF2B5EF4-FFF2-40B4-BE49-F238E27FC236}">
                  <a16:creationId xmlns:a16="http://schemas.microsoft.com/office/drawing/2014/main" id="{315D0200-99E8-4A1D-9424-33F1C9A3A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8488" y="2479676"/>
              <a:ext cx="53975" cy="90488"/>
            </a:xfrm>
            <a:custGeom>
              <a:avLst/>
              <a:gdLst>
                <a:gd name="T0" fmla="*/ 15 w 34"/>
                <a:gd name="T1" fmla="*/ 48 h 57"/>
                <a:gd name="T2" fmla="*/ 25 w 34"/>
                <a:gd name="T3" fmla="*/ 57 h 57"/>
                <a:gd name="T4" fmla="*/ 34 w 34"/>
                <a:gd name="T5" fmla="*/ 52 h 57"/>
                <a:gd name="T6" fmla="*/ 25 w 34"/>
                <a:gd name="T7" fmla="*/ 57 h 57"/>
                <a:gd name="T8" fmla="*/ 15 w 34"/>
                <a:gd name="T9" fmla="*/ 48 h 57"/>
                <a:gd name="T10" fmla="*/ 10 w 34"/>
                <a:gd name="T11" fmla="*/ 29 h 57"/>
                <a:gd name="T12" fmla="*/ 0 w 34"/>
                <a:gd name="T13" fmla="*/ 0 h 57"/>
                <a:gd name="T14" fmla="*/ 0 w 34"/>
                <a:gd name="T15" fmla="*/ 0 h 57"/>
                <a:gd name="T16" fmla="*/ 10 w 34"/>
                <a:gd name="T17" fmla="*/ 29 h 57"/>
                <a:gd name="T18" fmla="*/ 15 w 34"/>
                <a:gd name="T19" fmla="*/ 4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57">
                  <a:moveTo>
                    <a:pt x="15" y="48"/>
                  </a:moveTo>
                  <a:lnTo>
                    <a:pt x="25" y="57"/>
                  </a:lnTo>
                  <a:lnTo>
                    <a:pt x="34" y="52"/>
                  </a:lnTo>
                  <a:lnTo>
                    <a:pt x="25" y="57"/>
                  </a:lnTo>
                  <a:lnTo>
                    <a:pt x="15" y="48"/>
                  </a:lnTo>
                  <a:lnTo>
                    <a:pt x="10" y="29"/>
                  </a:lnTo>
                  <a:lnTo>
                    <a:pt x="0" y="0"/>
                  </a:lnTo>
                  <a:lnTo>
                    <a:pt x="0" y="0"/>
                  </a:lnTo>
                  <a:lnTo>
                    <a:pt x="10" y="29"/>
                  </a:lnTo>
                  <a:lnTo>
                    <a:pt x="15" y="48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89" name="Freeform 719">
              <a:extLst>
                <a:ext uri="{FF2B5EF4-FFF2-40B4-BE49-F238E27FC236}">
                  <a16:creationId xmlns:a16="http://schemas.microsoft.com/office/drawing/2014/main" id="{DF601BFA-179C-4902-AF5F-B53D6024A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3913" y="1985963"/>
              <a:ext cx="11113" cy="38100"/>
            </a:xfrm>
            <a:custGeom>
              <a:avLst/>
              <a:gdLst>
                <a:gd name="T0" fmla="*/ 7 w 7"/>
                <a:gd name="T1" fmla="*/ 0 h 24"/>
                <a:gd name="T2" fmla="*/ 6 w 7"/>
                <a:gd name="T3" fmla="*/ 15 h 24"/>
                <a:gd name="T4" fmla="*/ 0 w 7"/>
                <a:gd name="T5" fmla="*/ 24 h 24"/>
                <a:gd name="T6" fmla="*/ 6 w 7"/>
                <a:gd name="T7" fmla="*/ 15 h 24"/>
                <a:gd name="T8" fmla="*/ 7 w 7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4">
                  <a:moveTo>
                    <a:pt x="7" y="0"/>
                  </a:moveTo>
                  <a:lnTo>
                    <a:pt x="6" y="15"/>
                  </a:lnTo>
                  <a:lnTo>
                    <a:pt x="0" y="24"/>
                  </a:lnTo>
                  <a:lnTo>
                    <a:pt x="6" y="15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0" name="Freeform 720">
              <a:extLst>
                <a:ext uri="{FF2B5EF4-FFF2-40B4-BE49-F238E27FC236}">
                  <a16:creationId xmlns:a16="http://schemas.microsoft.com/office/drawing/2014/main" id="{3A0F5C38-F7FB-4194-B19C-A36FAD406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1513" y="2293938"/>
              <a:ext cx="6350" cy="3175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2 h 2"/>
                <a:gd name="T4" fmla="*/ 4 w 4"/>
                <a:gd name="T5" fmla="*/ 0 h 2"/>
                <a:gd name="T6" fmla="*/ 0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1" name="Freeform 721">
              <a:extLst>
                <a:ext uri="{FF2B5EF4-FFF2-40B4-BE49-F238E27FC236}">
                  <a16:creationId xmlns:a16="http://schemas.microsoft.com/office/drawing/2014/main" id="{EA85495E-F5C6-4DFA-9B8F-5C7F76F30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6263" y="2482851"/>
              <a:ext cx="15875" cy="11113"/>
            </a:xfrm>
            <a:custGeom>
              <a:avLst/>
              <a:gdLst>
                <a:gd name="T0" fmla="*/ 0 w 10"/>
                <a:gd name="T1" fmla="*/ 7 h 7"/>
                <a:gd name="T2" fmla="*/ 0 w 10"/>
                <a:gd name="T3" fmla="*/ 7 h 7"/>
                <a:gd name="T4" fmla="*/ 10 w 10"/>
                <a:gd name="T5" fmla="*/ 0 h 7"/>
                <a:gd name="T6" fmla="*/ 0 w 10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0" y="7"/>
                  </a:moveTo>
                  <a:lnTo>
                    <a:pt x="0" y="7"/>
                  </a:lnTo>
                  <a:lnTo>
                    <a:pt x="10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2" name="Freeform 722">
              <a:extLst>
                <a:ext uri="{FF2B5EF4-FFF2-40B4-BE49-F238E27FC236}">
                  <a16:creationId xmlns:a16="http://schemas.microsoft.com/office/drawing/2014/main" id="{6D9F6082-39D5-44B9-909F-705F1C13EF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5650" y="1228726"/>
              <a:ext cx="22225" cy="207963"/>
            </a:xfrm>
            <a:custGeom>
              <a:avLst/>
              <a:gdLst>
                <a:gd name="T0" fmla="*/ 7 w 14"/>
                <a:gd name="T1" fmla="*/ 0 h 131"/>
                <a:gd name="T2" fmla="*/ 7 w 14"/>
                <a:gd name="T3" fmla="*/ 0 h 131"/>
                <a:gd name="T4" fmla="*/ 14 w 14"/>
                <a:gd name="T5" fmla="*/ 25 h 131"/>
                <a:gd name="T6" fmla="*/ 0 w 14"/>
                <a:gd name="T7" fmla="*/ 131 h 131"/>
                <a:gd name="T8" fmla="*/ 14 w 14"/>
                <a:gd name="T9" fmla="*/ 25 h 131"/>
                <a:gd name="T10" fmla="*/ 7 w 14"/>
                <a:gd name="T11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31">
                  <a:moveTo>
                    <a:pt x="7" y="0"/>
                  </a:moveTo>
                  <a:lnTo>
                    <a:pt x="7" y="0"/>
                  </a:lnTo>
                  <a:lnTo>
                    <a:pt x="14" y="25"/>
                  </a:lnTo>
                  <a:lnTo>
                    <a:pt x="0" y="131"/>
                  </a:lnTo>
                  <a:lnTo>
                    <a:pt x="14" y="25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3" name="Freeform 723">
              <a:extLst>
                <a:ext uri="{FF2B5EF4-FFF2-40B4-BE49-F238E27FC236}">
                  <a16:creationId xmlns:a16="http://schemas.microsoft.com/office/drawing/2014/main" id="{4605C7D1-E291-462E-8F3E-94187243C7F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0238" y="2862263"/>
              <a:ext cx="38100" cy="42863"/>
            </a:xfrm>
            <a:custGeom>
              <a:avLst/>
              <a:gdLst>
                <a:gd name="T0" fmla="*/ 21 w 24"/>
                <a:gd name="T1" fmla="*/ 19 h 27"/>
                <a:gd name="T2" fmla="*/ 21 w 24"/>
                <a:gd name="T3" fmla="*/ 19 h 27"/>
                <a:gd name="T4" fmla="*/ 23 w 24"/>
                <a:gd name="T5" fmla="*/ 12 h 27"/>
                <a:gd name="T6" fmla="*/ 24 w 24"/>
                <a:gd name="T7" fmla="*/ 7 h 27"/>
                <a:gd name="T8" fmla="*/ 21 w 24"/>
                <a:gd name="T9" fmla="*/ 0 h 27"/>
                <a:gd name="T10" fmla="*/ 14 w 24"/>
                <a:gd name="T11" fmla="*/ 5 h 27"/>
                <a:gd name="T12" fmla="*/ 7 w 24"/>
                <a:gd name="T13" fmla="*/ 5 h 27"/>
                <a:gd name="T14" fmla="*/ 0 w 24"/>
                <a:gd name="T15" fmla="*/ 15 h 27"/>
                <a:gd name="T16" fmla="*/ 9 w 24"/>
                <a:gd name="T17" fmla="*/ 27 h 27"/>
                <a:gd name="T18" fmla="*/ 21 w 24"/>
                <a:gd name="T19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7">
                  <a:moveTo>
                    <a:pt x="21" y="19"/>
                  </a:moveTo>
                  <a:lnTo>
                    <a:pt x="21" y="19"/>
                  </a:lnTo>
                  <a:lnTo>
                    <a:pt x="23" y="12"/>
                  </a:lnTo>
                  <a:lnTo>
                    <a:pt x="24" y="7"/>
                  </a:lnTo>
                  <a:lnTo>
                    <a:pt x="21" y="0"/>
                  </a:lnTo>
                  <a:lnTo>
                    <a:pt x="14" y="5"/>
                  </a:lnTo>
                  <a:lnTo>
                    <a:pt x="7" y="5"/>
                  </a:lnTo>
                  <a:lnTo>
                    <a:pt x="0" y="15"/>
                  </a:lnTo>
                  <a:lnTo>
                    <a:pt x="9" y="27"/>
                  </a:lnTo>
                  <a:lnTo>
                    <a:pt x="21" y="1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4" name="Freeform 724">
              <a:extLst>
                <a:ext uri="{FF2B5EF4-FFF2-40B4-BE49-F238E27FC236}">
                  <a16:creationId xmlns:a16="http://schemas.microsoft.com/office/drawing/2014/main" id="{79C1A567-9168-4FBE-8EA2-44C75FD66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238" y="4410076"/>
              <a:ext cx="715963" cy="830263"/>
            </a:xfrm>
            <a:custGeom>
              <a:avLst/>
              <a:gdLst>
                <a:gd name="T0" fmla="*/ 41 w 451"/>
                <a:gd name="T1" fmla="*/ 425 h 523"/>
                <a:gd name="T2" fmla="*/ 82 w 451"/>
                <a:gd name="T3" fmla="*/ 421 h 523"/>
                <a:gd name="T4" fmla="*/ 138 w 451"/>
                <a:gd name="T5" fmla="*/ 396 h 523"/>
                <a:gd name="T6" fmla="*/ 193 w 451"/>
                <a:gd name="T7" fmla="*/ 389 h 523"/>
                <a:gd name="T8" fmla="*/ 217 w 451"/>
                <a:gd name="T9" fmla="*/ 420 h 523"/>
                <a:gd name="T10" fmla="*/ 284 w 451"/>
                <a:gd name="T11" fmla="*/ 442 h 523"/>
                <a:gd name="T12" fmla="*/ 279 w 451"/>
                <a:gd name="T13" fmla="*/ 482 h 523"/>
                <a:gd name="T14" fmla="*/ 274 w 451"/>
                <a:gd name="T15" fmla="*/ 518 h 523"/>
                <a:gd name="T16" fmla="*/ 298 w 451"/>
                <a:gd name="T17" fmla="*/ 523 h 523"/>
                <a:gd name="T18" fmla="*/ 303 w 451"/>
                <a:gd name="T19" fmla="*/ 509 h 523"/>
                <a:gd name="T20" fmla="*/ 299 w 451"/>
                <a:gd name="T21" fmla="*/ 473 h 523"/>
                <a:gd name="T22" fmla="*/ 325 w 451"/>
                <a:gd name="T23" fmla="*/ 447 h 523"/>
                <a:gd name="T24" fmla="*/ 335 w 451"/>
                <a:gd name="T25" fmla="*/ 385 h 523"/>
                <a:gd name="T26" fmla="*/ 311 w 451"/>
                <a:gd name="T27" fmla="*/ 347 h 523"/>
                <a:gd name="T28" fmla="*/ 303 w 451"/>
                <a:gd name="T29" fmla="*/ 330 h 523"/>
                <a:gd name="T30" fmla="*/ 306 w 451"/>
                <a:gd name="T31" fmla="*/ 315 h 523"/>
                <a:gd name="T32" fmla="*/ 323 w 451"/>
                <a:gd name="T33" fmla="*/ 301 h 523"/>
                <a:gd name="T34" fmla="*/ 353 w 451"/>
                <a:gd name="T35" fmla="*/ 308 h 523"/>
                <a:gd name="T36" fmla="*/ 394 w 451"/>
                <a:gd name="T37" fmla="*/ 304 h 523"/>
                <a:gd name="T38" fmla="*/ 387 w 451"/>
                <a:gd name="T39" fmla="*/ 274 h 523"/>
                <a:gd name="T40" fmla="*/ 416 w 451"/>
                <a:gd name="T41" fmla="*/ 246 h 523"/>
                <a:gd name="T42" fmla="*/ 430 w 451"/>
                <a:gd name="T43" fmla="*/ 208 h 523"/>
                <a:gd name="T44" fmla="*/ 394 w 451"/>
                <a:gd name="T45" fmla="*/ 194 h 523"/>
                <a:gd name="T46" fmla="*/ 387 w 451"/>
                <a:gd name="T47" fmla="*/ 181 h 523"/>
                <a:gd name="T48" fmla="*/ 391 w 451"/>
                <a:gd name="T49" fmla="*/ 160 h 523"/>
                <a:gd name="T50" fmla="*/ 435 w 451"/>
                <a:gd name="T51" fmla="*/ 114 h 523"/>
                <a:gd name="T52" fmla="*/ 451 w 451"/>
                <a:gd name="T53" fmla="*/ 89 h 523"/>
                <a:gd name="T54" fmla="*/ 434 w 451"/>
                <a:gd name="T55" fmla="*/ 40 h 523"/>
                <a:gd name="T56" fmla="*/ 406 w 451"/>
                <a:gd name="T57" fmla="*/ 0 h 523"/>
                <a:gd name="T58" fmla="*/ 335 w 451"/>
                <a:gd name="T59" fmla="*/ 10 h 523"/>
                <a:gd name="T60" fmla="*/ 244 w 451"/>
                <a:gd name="T61" fmla="*/ 41 h 523"/>
                <a:gd name="T62" fmla="*/ 234 w 451"/>
                <a:gd name="T63" fmla="*/ 84 h 523"/>
                <a:gd name="T64" fmla="*/ 237 w 451"/>
                <a:gd name="T65" fmla="*/ 119 h 523"/>
                <a:gd name="T66" fmla="*/ 260 w 451"/>
                <a:gd name="T67" fmla="*/ 155 h 523"/>
                <a:gd name="T68" fmla="*/ 224 w 451"/>
                <a:gd name="T69" fmla="*/ 194 h 523"/>
                <a:gd name="T70" fmla="*/ 189 w 451"/>
                <a:gd name="T71" fmla="*/ 212 h 523"/>
                <a:gd name="T72" fmla="*/ 194 w 451"/>
                <a:gd name="T73" fmla="*/ 160 h 523"/>
                <a:gd name="T74" fmla="*/ 208 w 451"/>
                <a:gd name="T75" fmla="*/ 141 h 523"/>
                <a:gd name="T76" fmla="*/ 175 w 451"/>
                <a:gd name="T77" fmla="*/ 112 h 523"/>
                <a:gd name="T78" fmla="*/ 151 w 451"/>
                <a:gd name="T79" fmla="*/ 122 h 523"/>
                <a:gd name="T80" fmla="*/ 127 w 451"/>
                <a:gd name="T81" fmla="*/ 222 h 523"/>
                <a:gd name="T82" fmla="*/ 76 w 451"/>
                <a:gd name="T83" fmla="*/ 298 h 523"/>
                <a:gd name="T84" fmla="*/ 57 w 451"/>
                <a:gd name="T85" fmla="*/ 335 h 523"/>
                <a:gd name="T86" fmla="*/ 60 w 451"/>
                <a:gd name="T87" fmla="*/ 360 h 523"/>
                <a:gd name="T88" fmla="*/ 81 w 451"/>
                <a:gd name="T89" fmla="*/ 375 h 523"/>
                <a:gd name="T90" fmla="*/ 74 w 451"/>
                <a:gd name="T91" fmla="*/ 385 h 523"/>
                <a:gd name="T92" fmla="*/ 43 w 451"/>
                <a:gd name="T93" fmla="*/ 358 h 523"/>
                <a:gd name="T94" fmla="*/ 17 w 451"/>
                <a:gd name="T95" fmla="*/ 390 h 523"/>
                <a:gd name="T96" fmla="*/ 67 w 451"/>
                <a:gd name="T97" fmla="*/ 389 h 523"/>
                <a:gd name="T98" fmla="*/ 74 w 451"/>
                <a:gd name="T99" fmla="*/ 401 h 523"/>
                <a:gd name="T100" fmla="*/ 29 w 451"/>
                <a:gd name="T101" fmla="*/ 406 h 523"/>
                <a:gd name="T102" fmla="*/ 5 w 451"/>
                <a:gd name="T103" fmla="*/ 43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51" h="523">
                  <a:moveTo>
                    <a:pt x="26" y="420"/>
                  </a:moveTo>
                  <a:lnTo>
                    <a:pt x="26" y="420"/>
                  </a:lnTo>
                  <a:lnTo>
                    <a:pt x="26" y="420"/>
                  </a:lnTo>
                  <a:lnTo>
                    <a:pt x="41" y="425"/>
                  </a:lnTo>
                  <a:lnTo>
                    <a:pt x="46" y="433"/>
                  </a:lnTo>
                  <a:lnTo>
                    <a:pt x="67" y="435"/>
                  </a:lnTo>
                  <a:lnTo>
                    <a:pt x="70" y="432"/>
                  </a:lnTo>
                  <a:lnTo>
                    <a:pt x="82" y="421"/>
                  </a:lnTo>
                  <a:lnTo>
                    <a:pt x="91" y="413"/>
                  </a:lnTo>
                  <a:lnTo>
                    <a:pt x="96" y="406"/>
                  </a:lnTo>
                  <a:lnTo>
                    <a:pt x="101" y="404"/>
                  </a:lnTo>
                  <a:lnTo>
                    <a:pt x="138" y="396"/>
                  </a:lnTo>
                  <a:lnTo>
                    <a:pt x="169" y="390"/>
                  </a:lnTo>
                  <a:lnTo>
                    <a:pt x="193" y="389"/>
                  </a:lnTo>
                  <a:lnTo>
                    <a:pt x="193" y="389"/>
                  </a:lnTo>
                  <a:lnTo>
                    <a:pt x="193" y="389"/>
                  </a:lnTo>
                  <a:lnTo>
                    <a:pt x="205" y="416"/>
                  </a:lnTo>
                  <a:lnTo>
                    <a:pt x="205" y="416"/>
                  </a:lnTo>
                  <a:lnTo>
                    <a:pt x="215" y="416"/>
                  </a:lnTo>
                  <a:lnTo>
                    <a:pt x="217" y="420"/>
                  </a:lnTo>
                  <a:lnTo>
                    <a:pt x="218" y="423"/>
                  </a:lnTo>
                  <a:lnTo>
                    <a:pt x="258" y="425"/>
                  </a:lnTo>
                  <a:lnTo>
                    <a:pt x="277" y="435"/>
                  </a:lnTo>
                  <a:lnTo>
                    <a:pt x="284" y="442"/>
                  </a:lnTo>
                  <a:lnTo>
                    <a:pt x="289" y="447"/>
                  </a:lnTo>
                  <a:lnTo>
                    <a:pt x="284" y="459"/>
                  </a:lnTo>
                  <a:lnTo>
                    <a:pt x="280" y="464"/>
                  </a:lnTo>
                  <a:lnTo>
                    <a:pt x="279" y="482"/>
                  </a:lnTo>
                  <a:lnTo>
                    <a:pt x="268" y="497"/>
                  </a:lnTo>
                  <a:lnTo>
                    <a:pt x="268" y="506"/>
                  </a:lnTo>
                  <a:lnTo>
                    <a:pt x="268" y="518"/>
                  </a:lnTo>
                  <a:lnTo>
                    <a:pt x="274" y="518"/>
                  </a:lnTo>
                  <a:lnTo>
                    <a:pt x="282" y="519"/>
                  </a:lnTo>
                  <a:lnTo>
                    <a:pt x="292" y="521"/>
                  </a:lnTo>
                  <a:lnTo>
                    <a:pt x="296" y="523"/>
                  </a:lnTo>
                  <a:lnTo>
                    <a:pt x="298" y="523"/>
                  </a:lnTo>
                  <a:lnTo>
                    <a:pt x="311" y="521"/>
                  </a:lnTo>
                  <a:lnTo>
                    <a:pt x="303" y="509"/>
                  </a:lnTo>
                  <a:lnTo>
                    <a:pt x="303" y="509"/>
                  </a:lnTo>
                  <a:lnTo>
                    <a:pt x="303" y="509"/>
                  </a:lnTo>
                  <a:lnTo>
                    <a:pt x="313" y="502"/>
                  </a:lnTo>
                  <a:lnTo>
                    <a:pt x="313" y="478"/>
                  </a:lnTo>
                  <a:lnTo>
                    <a:pt x="299" y="473"/>
                  </a:lnTo>
                  <a:lnTo>
                    <a:pt x="299" y="473"/>
                  </a:lnTo>
                  <a:lnTo>
                    <a:pt x="299" y="473"/>
                  </a:lnTo>
                  <a:lnTo>
                    <a:pt x="292" y="463"/>
                  </a:lnTo>
                  <a:lnTo>
                    <a:pt x="306" y="459"/>
                  </a:lnTo>
                  <a:lnTo>
                    <a:pt x="325" y="447"/>
                  </a:lnTo>
                  <a:lnTo>
                    <a:pt x="318" y="425"/>
                  </a:lnTo>
                  <a:lnTo>
                    <a:pt x="329" y="415"/>
                  </a:lnTo>
                  <a:lnTo>
                    <a:pt x="337" y="402"/>
                  </a:lnTo>
                  <a:lnTo>
                    <a:pt x="335" y="385"/>
                  </a:lnTo>
                  <a:lnTo>
                    <a:pt x="325" y="370"/>
                  </a:lnTo>
                  <a:lnTo>
                    <a:pt x="325" y="368"/>
                  </a:lnTo>
                  <a:lnTo>
                    <a:pt x="320" y="361"/>
                  </a:lnTo>
                  <a:lnTo>
                    <a:pt x="311" y="347"/>
                  </a:lnTo>
                  <a:lnTo>
                    <a:pt x="303" y="339"/>
                  </a:lnTo>
                  <a:lnTo>
                    <a:pt x="303" y="339"/>
                  </a:lnTo>
                  <a:lnTo>
                    <a:pt x="303" y="339"/>
                  </a:lnTo>
                  <a:lnTo>
                    <a:pt x="303" y="330"/>
                  </a:lnTo>
                  <a:lnTo>
                    <a:pt x="299" y="318"/>
                  </a:lnTo>
                  <a:lnTo>
                    <a:pt x="299" y="318"/>
                  </a:lnTo>
                  <a:lnTo>
                    <a:pt x="299" y="318"/>
                  </a:lnTo>
                  <a:lnTo>
                    <a:pt x="306" y="315"/>
                  </a:lnTo>
                  <a:lnTo>
                    <a:pt x="308" y="315"/>
                  </a:lnTo>
                  <a:lnTo>
                    <a:pt x="325" y="315"/>
                  </a:lnTo>
                  <a:lnTo>
                    <a:pt x="325" y="311"/>
                  </a:lnTo>
                  <a:lnTo>
                    <a:pt x="323" y="301"/>
                  </a:lnTo>
                  <a:lnTo>
                    <a:pt x="323" y="301"/>
                  </a:lnTo>
                  <a:lnTo>
                    <a:pt x="323" y="301"/>
                  </a:lnTo>
                  <a:lnTo>
                    <a:pt x="351" y="320"/>
                  </a:lnTo>
                  <a:lnTo>
                    <a:pt x="353" y="308"/>
                  </a:lnTo>
                  <a:lnTo>
                    <a:pt x="361" y="315"/>
                  </a:lnTo>
                  <a:lnTo>
                    <a:pt x="377" y="304"/>
                  </a:lnTo>
                  <a:lnTo>
                    <a:pt x="387" y="299"/>
                  </a:lnTo>
                  <a:lnTo>
                    <a:pt x="394" y="304"/>
                  </a:lnTo>
                  <a:lnTo>
                    <a:pt x="404" y="286"/>
                  </a:lnTo>
                  <a:lnTo>
                    <a:pt x="404" y="286"/>
                  </a:lnTo>
                  <a:lnTo>
                    <a:pt x="396" y="279"/>
                  </a:lnTo>
                  <a:lnTo>
                    <a:pt x="387" y="274"/>
                  </a:lnTo>
                  <a:lnTo>
                    <a:pt x="391" y="268"/>
                  </a:lnTo>
                  <a:lnTo>
                    <a:pt x="397" y="260"/>
                  </a:lnTo>
                  <a:lnTo>
                    <a:pt x="410" y="258"/>
                  </a:lnTo>
                  <a:lnTo>
                    <a:pt x="416" y="246"/>
                  </a:lnTo>
                  <a:lnTo>
                    <a:pt x="416" y="246"/>
                  </a:lnTo>
                  <a:lnTo>
                    <a:pt x="423" y="241"/>
                  </a:lnTo>
                  <a:lnTo>
                    <a:pt x="432" y="236"/>
                  </a:lnTo>
                  <a:lnTo>
                    <a:pt x="430" y="208"/>
                  </a:lnTo>
                  <a:lnTo>
                    <a:pt x="422" y="193"/>
                  </a:lnTo>
                  <a:lnTo>
                    <a:pt x="415" y="200"/>
                  </a:lnTo>
                  <a:lnTo>
                    <a:pt x="404" y="198"/>
                  </a:lnTo>
                  <a:lnTo>
                    <a:pt x="394" y="194"/>
                  </a:lnTo>
                  <a:lnTo>
                    <a:pt x="394" y="194"/>
                  </a:lnTo>
                  <a:lnTo>
                    <a:pt x="394" y="194"/>
                  </a:lnTo>
                  <a:lnTo>
                    <a:pt x="387" y="184"/>
                  </a:lnTo>
                  <a:lnTo>
                    <a:pt x="387" y="181"/>
                  </a:lnTo>
                  <a:lnTo>
                    <a:pt x="396" y="175"/>
                  </a:lnTo>
                  <a:lnTo>
                    <a:pt x="391" y="160"/>
                  </a:lnTo>
                  <a:lnTo>
                    <a:pt x="391" y="160"/>
                  </a:lnTo>
                  <a:lnTo>
                    <a:pt x="391" y="160"/>
                  </a:lnTo>
                  <a:lnTo>
                    <a:pt x="411" y="158"/>
                  </a:lnTo>
                  <a:lnTo>
                    <a:pt x="428" y="158"/>
                  </a:lnTo>
                  <a:lnTo>
                    <a:pt x="434" y="129"/>
                  </a:lnTo>
                  <a:lnTo>
                    <a:pt x="435" y="114"/>
                  </a:lnTo>
                  <a:lnTo>
                    <a:pt x="437" y="107"/>
                  </a:lnTo>
                  <a:lnTo>
                    <a:pt x="442" y="98"/>
                  </a:lnTo>
                  <a:lnTo>
                    <a:pt x="447" y="93"/>
                  </a:lnTo>
                  <a:lnTo>
                    <a:pt x="451" y="89"/>
                  </a:lnTo>
                  <a:lnTo>
                    <a:pt x="444" y="62"/>
                  </a:lnTo>
                  <a:lnTo>
                    <a:pt x="449" y="52"/>
                  </a:lnTo>
                  <a:lnTo>
                    <a:pt x="449" y="36"/>
                  </a:lnTo>
                  <a:lnTo>
                    <a:pt x="434" y="40"/>
                  </a:lnTo>
                  <a:lnTo>
                    <a:pt x="432" y="29"/>
                  </a:lnTo>
                  <a:lnTo>
                    <a:pt x="423" y="33"/>
                  </a:lnTo>
                  <a:lnTo>
                    <a:pt x="415" y="21"/>
                  </a:lnTo>
                  <a:lnTo>
                    <a:pt x="406" y="0"/>
                  </a:lnTo>
                  <a:lnTo>
                    <a:pt x="387" y="0"/>
                  </a:lnTo>
                  <a:lnTo>
                    <a:pt x="372" y="5"/>
                  </a:lnTo>
                  <a:lnTo>
                    <a:pt x="358" y="5"/>
                  </a:lnTo>
                  <a:lnTo>
                    <a:pt x="335" y="10"/>
                  </a:lnTo>
                  <a:lnTo>
                    <a:pt x="317" y="10"/>
                  </a:lnTo>
                  <a:lnTo>
                    <a:pt x="291" y="17"/>
                  </a:lnTo>
                  <a:lnTo>
                    <a:pt x="265" y="21"/>
                  </a:lnTo>
                  <a:lnTo>
                    <a:pt x="244" y="41"/>
                  </a:lnTo>
                  <a:lnTo>
                    <a:pt x="236" y="59"/>
                  </a:lnTo>
                  <a:lnTo>
                    <a:pt x="227" y="76"/>
                  </a:lnTo>
                  <a:lnTo>
                    <a:pt x="234" y="84"/>
                  </a:lnTo>
                  <a:lnTo>
                    <a:pt x="234" y="84"/>
                  </a:lnTo>
                  <a:lnTo>
                    <a:pt x="234" y="95"/>
                  </a:lnTo>
                  <a:lnTo>
                    <a:pt x="232" y="105"/>
                  </a:lnTo>
                  <a:lnTo>
                    <a:pt x="231" y="112"/>
                  </a:lnTo>
                  <a:lnTo>
                    <a:pt x="237" y="119"/>
                  </a:lnTo>
                  <a:lnTo>
                    <a:pt x="253" y="120"/>
                  </a:lnTo>
                  <a:lnTo>
                    <a:pt x="270" y="122"/>
                  </a:lnTo>
                  <a:lnTo>
                    <a:pt x="256" y="136"/>
                  </a:lnTo>
                  <a:lnTo>
                    <a:pt x="260" y="155"/>
                  </a:lnTo>
                  <a:lnTo>
                    <a:pt x="265" y="163"/>
                  </a:lnTo>
                  <a:lnTo>
                    <a:pt x="255" y="169"/>
                  </a:lnTo>
                  <a:lnTo>
                    <a:pt x="237" y="179"/>
                  </a:lnTo>
                  <a:lnTo>
                    <a:pt x="224" y="194"/>
                  </a:lnTo>
                  <a:lnTo>
                    <a:pt x="210" y="205"/>
                  </a:lnTo>
                  <a:lnTo>
                    <a:pt x="205" y="215"/>
                  </a:lnTo>
                  <a:lnTo>
                    <a:pt x="194" y="220"/>
                  </a:lnTo>
                  <a:lnTo>
                    <a:pt x="189" y="212"/>
                  </a:lnTo>
                  <a:lnTo>
                    <a:pt x="194" y="198"/>
                  </a:lnTo>
                  <a:lnTo>
                    <a:pt x="201" y="189"/>
                  </a:lnTo>
                  <a:lnTo>
                    <a:pt x="193" y="172"/>
                  </a:lnTo>
                  <a:lnTo>
                    <a:pt x="194" y="160"/>
                  </a:lnTo>
                  <a:lnTo>
                    <a:pt x="212" y="163"/>
                  </a:lnTo>
                  <a:lnTo>
                    <a:pt x="224" y="151"/>
                  </a:lnTo>
                  <a:lnTo>
                    <a:pt x="217" y="139"/>
                  </a:lnTo>
                  <a:lnTo>
                    <a:pt x="208" y="141"/>
                  </a:lnTo>
                  <a:lnTo>
                    <a:pt x="200" y="131"/>
                  </a:lnTo>
                  <a:lnTo>
                    <a:pt x="198" y="114"/>
                  </a:lnTo>
                  <a:lnTo>
                    <a:pt x="186" y="103"/>
                  </a:lnTo>
                  <a:lnTo>
                    <a:pt x="175" y="112"/>
                  </a:lnTo>
                  <a:lnTo>
                    <a:pt x="169" y="107"/>
                  </a:lnTo>
                  <a:lnTo>
                    <a:pt x="162" y="98"/>
                  </a:lnTo>
                  <a:lnTo>
                    <a:pt x="151" y="100"/>
                  </a:lnTo>
                  <a:lnTo>
                    <a:pt x="151" y="122"/>
                  </a:lnTo>
                  <a:lnTo>
                    <a:pt x="141" y="139"/>
                  </a:lnTo>
                  <a:lnTo>
                    <a:pt x="143" y="157"/>
                  </a:lnTo>
                  <a:lnTo>
                    <a:pt x="138" y="196"/>
                  </a:lnTo>
                  <a:lnTo>
                    <a:pt x="127" y="222"/>
                  </a:lnTo>
                  <a:lnTo>
                    <a:pt x="113" y="249"/>
                  </a:lnTo>
                  <a:lnTo>
                    <a:pt x="96" y="267"/>
                  </a:lnTo>
                  <a:lnTo>
                    <a:pt x="81" y="282"/>
                  </a:lnTo>
                  <a:lnTo>
                    <a:pt x="76" y="298"/>
                  </a:lnTo>
                  <a:lnTo>
                    <a:pt x="76" y="313"/>
                  </a:lnTo>
                  <a:lnTo>
                    <a:pt x="62" y="315"/>
                  </a:lnTo>
                  <a:lnTo>
                    <a:pt x="53" y="322"/>
                  </a:lnTo>
                  <a:lnTo>
                    <a:pt x="57" y="335"/>
                  </a:lnTo>
                  <a:lnTo>
                    <a:pt x="33" y="339"/>
                  </a:lnTo>
                  <a:lnTo>
                    <a:pt x="33" y="349"/>
                  </a:lnTo>
                  <a:lnTo>
                    <a:pt x="55" y="349"/>
                  </a:lnTo>
                  <a:lnTo>
                    <a:pt x="60" y="360"/>
                  </a:lnTo>
                  <a:lnTo>
                    <a:pt x="76" y="354"/>
                  </a:lnTo>
                  <a:lnTo>
                    <a:pt x="82" y="360"/>
                  </a:lnTo>
                  <a:lnTo>
                    <a:pt x="69" y="368"/>
                  </a:lnTo>
                  <a:lnTo>
                    <a:pt x="81" y="375"/>
                  </a:lnTo>
                  <a:lnTo>
                    <a:pt x="95" y="382"/>
                  </a:lnTo>
                  <a:lnTo>
                    <a:pt x="91" y="390"/>
                  </a:lnTo>
                  <a:lnTo>
                    <a:pt x="81" y="392"/>
                  </a:lnTo>
                  <a:lnTo>
                    <a:pt x="74" y="385"/>
                  </a:lnTo>
                  <a:lnTo>
                    <a:pt x="67" y="373"/>
                  </a:lnTo>
                  <a:lnTo>
                    <a:pt x="55" y="370"/>
                  </a:lnTo>
                  <a:lnTo>
                    <a:pt x="57" y="360"/>
                  </a:lnTo>
                  <a:lnTo>
                    <a:pt x="43" y="358"/>
                  </a:lnTo>
                  <a:lnTo>
                    <a:pt x="31" y="365"/>
                  </a:lnTo>
                  <a:lnTo>
                    <a:pt x="12" y="366"/>
                  </a:lnTo>
                  <a:lnTo>
                    <a:pt x="5" y="375"/>
                  </a:lnTo>
                  <a:lnTo>
                    <a:pt x="17" y="390"/>
                  </a:lnTo>
                  <a:lnTo>
                    <a:pt x="34" y="396"/>
                  </a:lnTo>
                  <a:lnTo>
                    <a:pt x="50" y="401"/>
                  </a:lnTo>
                  <a:lnTo>
                    <a:pt x="57" y="396"/>
                  </a:lnTo>
                  <a:lnTo>
                    <a:pt x="67" y="389"/>
                  </a:lnTo>
                  <a:lnTo>
                    <a:pt x="82" y="399"/>
                  </a:lnTo>
                  <a:lnTo>
                    <a:pt x="95" y="401"/>
                  </a:lnTo>
                  <a:lnTo>
                    <a:pt x="81" y="409"/>
                  </a:lnTo>
                  <a:lnTo>
                    <a:pt x="74" y="401"/>
                  </a:lnTo>
                  <a:lnTo>
                    <a:pt x="65" y="397"/>
                  </a:lnTo>
                  <a:lnTo>
                    <a:pt x="58" y="409"/>
                  </a:lnTo>
                  <a:lnTo>
                    <a:pt x="43" y="409"/>
                  </a:lnTo>
                  <a:lnTo>
                    <a:pt x="29" y="406"/>
                  </a:lnTo>
                  <a:lnTo>
                    <a:pt x="15" y="399"/>
                  </a:lnTo>
                  <a:lnTo>
                    <a:pt x="3" y="401"/>
                  </a:lnTo>
                  <a:lnTo>
                    <a:pt x="0" y="416"/>
                  </a:lnTo>
                  <a:lnTo>
                    <a:pt x="5" y="430"/>
                  </a:lnTo>
                  <a:lnTo>
                    <a:pt x="15" y="425"/>
                  </a:lnTo>
                  <a:lnTo>
                    <a:pt x="26" y="42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5" name="Freeform 725">
              <a:extLst>
                <a:ext uri="{FF2B5EF4-FFF2-40B4-BE49-F238E27FC236}">
                  <a16:creationId xmlns:a16="http://schemas.microsoft.com/office/drawing/2014/main" id="{B1B46F6F-D1E7-4314-AC58-084DC6F237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500" y="1914526"/>
              <a:ext cx="57150" cy="87313"/>
            </a:xfrm>
            <a:custGeom>
              <a:avLst/>
              <a:gdLst>
                <a:gd name="T0" fmla="*/ 17 w 36"/>
                <a:gd name="T1" fmla="*/ 52 h 55"/>
                <a:gd name="T2" fmla="*/ 27 w 36"/>
                <a:gd name="T3" fmla="*/ 55 h 55"/>
                <a:gd name="T4" fmla="*/ 32 w 36"/>
                <a:gd name="T5" fmla="*/ 41 h 55"/>
                <a:gd name="T6" fmla="*/ 36 w 36"/>
                <a:gd name="T7" fmla="*/ 31 h 55"/>
                <a:gd name="T8" fmla="*/ 32 w 36"/>
                <a:gd name="T9" fmla="*/ 19 h 55"/>
                <a:gd name="T10" fmla="*/ 34 w 36"/>
                <a:gd name="T11" fmla="*/ 10 h 55"/>
                <a:gd name="T12" fmla="*/ 32 w 36"/>
                <a:gd name="T13" fmla="*/ 0 h 55"/>
                <a:gd name="T14" fmla="*/ 19 w 36"/>
                <a:gd name="T15" fmla="*/ 4 h 55"/>
                <a:gd name="T16" fmla="*/ 8 w 36"/>
                <a:gd name="T17" fmla="*/ 21 h 55"/>
                <a:gd name="T18" fmla="*/ 0 w 36"/>
                <a:gd name="T19" fmla="*/ 36 h 55"/>
                <a:gd name="T20" fmla="*/ 15 w 36"/>
                <a:gd name="T21" fmla="*/ 38 h 55"/>
                <a:gd name="T22" fmla="*/ 17 w 36"/>
                <a:gd name="T23" fmla="*/ 5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52"/>
                  </a:moveTo>
                  <a:lnTo>
                    <a:pt x="27" y="55"/>
                  </a:lnTo>
                  <a:lnTo>
                    <a:pt x="32" y="41"/>
                  </a:lnTo>
                  <a:lnTo>
                    <a:pt x="36" y="31"/>
                  </a:lnTo>
                  <a:lnTo>
                    <a:pt x="32" y="19"/>
                  </a:lnTo>
                  <a:lnTo>
                    <a:pt x="34" y="10"/>
                  </a:lnTo>
                  <a:lnTo>
                    <a:pt x="32" y="0"/>
                  </a:lnTo>
                  <a:lnTo>
                    <a:pt x="19" y="4"/>
                  </a:lnTo>
                  <a:lnTo>
                    <a:pt x="8" y="21"/>
                  </a:lnTo>
                  <a:lnTo>
                    <a:pt x="0" y="36"/>
                  </a:lnTo>
                  <a:lnTo>
                    <a:pt x="15" y="38"/>
                  </a:lnTo>
                  <a:lnTo>
                    <a:pt x="17" y="5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6" name="Freeform 726">
              <a:extLst>
                <a:ext uri="{FF2B5EF4-FFF2-40B4-BE49-F238E27FC236}">
                  <a16:creationId xmlns:a16="http://schemas.microsoft.com/office/drawing/2014/main" id="{E495BAC3-F75B-48AB-BB0C-15E8C1FF35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9138" y="2008188"/>
              <a:ext cx="17463" cy="12700"/>
            </a:xfrm>
            <a:custGeom>
              <a:avLst/>
              <a:gdLst>
                <a:gd name="T0" fmla="*/ 11 w 11"/>
                <a:gd name="T1" fmla="*/ 1 h 8"/>
                <a:gd name="T2" fmla="*/ 0 w 11"/>
                <a:gd name="T3" fmla="*/ 0 h 8"/>
                <a:gd name="T4" fmla="*/ 0 w 11"/>
                <a:gd name="T5" fmla="*/ 8 h 8"/>
                <a:gd name="T6" fmla="*/ 11 w 11"/>
                <a:gd name="T7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8">
                  <a:moveTo>
                    <a:pt x="11" y="1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11" y="1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7" name="Freeform 727">
              <a:extLst>
                <a:ext uri="{FF2B5EF4-FFF2-40B4-BE49-F238E27FC236}">
                  <a16:creationId xmlns:a16="http://schemas.microsoft.com/office/drawing/2014/main" id="{8A4CC13B-3849-4F5A-AEB8-1B444E9FF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8338" y="2024063"/>
              <a:ext cx="20638" cy="11113"/>
            </a:xfrm>
            <a:custGeom>
              <a:avLst/>
              <a:gdLst>
                <a:gd name="T0" fmla="*/ 5 w 13"/>
                <a:gd name="T1" fmla="*/ 0 h 7"/>
                <a:gd name="T2" fmla="*/ 0 w 13"/>
                <a:gd name="T3" fmla="*/ 7 h 7"/>
                <a:gd name="T4" fmla="*/ 13 w 13"/>
                <a:gd name="T5" fmla="*/ 3 h 7"/>
                <a:gd name="T6" fmla="*/ 5 w 13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7">
                  <a:moveTo>
                    <a:pt x="5" y="0"/>
                  </a:moveTo>
                  <a:lnTo>
                    <a:pt x="0" y="7"/>
                  </a:lnTo>
                  <a:lnTo>
                    <a:pt x="13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8" name="Freeform 728">
              <a:extLst>
                <a:ext uri="{FF2B5EF4-FFF2-40B4-BE49-F238E27FC236}">
                  <a16:creationId xmlns:a16="http://schemas.microsoft.com/office/drawing/2014/main" id="{CC364B8E-4A64-4BDF-B8A8-FA04864FA0F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6450" y="2008188"/>
              <a:ext cx="22225" cy="23813"/>
            </a:xfrm>
            <a:custGeom>
              <a:avLst/>
              <a:gdLst>
                <a:gd name="T0" fmla="*/ 2 w 14"/>
                <a:gd name="T1" fmla="*/ 15 h 15"/>
                <a:gd name="T2" fmla="*/ 14 w 14"/>
                <a:gd name="T3" fmla="*/ 0 h 15"/>
                <a:gd name="T4" fmla="*/ 0 w 14"/>
                <a:gd name="T5" fmla="*/ 6 h 15"/>
                <a:gd name="T6" fmla="*/ 2 w 14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5">
                  <a:moveTo>
                    <a:pt x="2" y="15"/>
                  </a:moveTo>
                  <a:lnTo>
                    <a:pt x="14" y="0"/>
                  </a:lnTo>
                  <a:lnTo>
                    <a:pt x="0" y="6"/>
                  </a:lnTo>
                  <a:lnTo>
                    <a:pt x="2" y="1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199" name="Freeform 729">
              <a:extLst>
                <a:ext uri="{FF2B5EF4-FFF2-40B4-BE49-F238E27FC236}">
                  <a16:creationId xmlns:a16="http://schemas.microsoft.com/office/drawing/2014/main" id="{DD918492-0B0B-433B-A654-570E76640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525" y="1876426"/>
              <a:ext cx="44450" cy="95250"/>
            </a:xfrm>
            <a:custGeom>
              <a:avLst/>
              <a:gdLst>
                <a:gd name="T0" fmla="*/ 22 w 28"/>
                <a:gd name="T1" fmla="*/ 46 h 60"/>
                <a:gd name="T2" fmla="*/ 22 w 28"/>
                <a:gd name="T3" fmla="*/ 34 h 60"/>
                <a:gd name="T4" fmla="*/ 22 w 28"/>
                <a:gd name="T5" fmla="*/ 26 h 60"/>
                <a:gd name="T6" fmla="*/ 28 w 28"/>
                <a:gd name="T7" fmla="*/ 16 h 60"/>
                <a:gd name="T8" fmla="*/ 24 w 28"/>
                <a:gd name="T9" fmla="*/ 0 h 60"/>
                <a:gd name="T10" fmla="*/ 12 w 28"/>
                <a:gd name="T11" fmla="*/ 2 h 60"/>
                <a:gd name="T12" fmla="*/ 4 w 28"/>
                <a:gd name="T13" fmla="*/ 22 h 60"/>
                <a:gd name="T14" fmla="*/ 0 w 28"/>
                <a:gd name="T15" fmla="*/ 46 h 60"/>
                <a:gd name="T16" fmla="*/ 14 w 28"/>
                <a:gd name="T17" fmla="*/ 60 h 60"/>
                <a:gd name="T18" fmla="*/ 22 w 28"/>
                <a:gd name="T19" fmla="*/ 4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60">
                  <a:moveTo>
                    <a:pt x="22" y="46"/>
                  </a:moveTo>
                  <a:lnTo>
                    <a:pt x="22" y="34"/>
                  </a:lnTo>
                  <a:lnTo>
                    <a:pt x="22" y="26"/>
                  </a:lnTo>
                  <a:lnTo>
                    <a:pt x="28" y="16"/>
                  </a:lnTo>
                  <a:lnTo>
                    <a:pt x="24" y="0"/>
                  </a:lnTo>
                  <a:lnTo>
                    <a:pt x="12" y="2"/>
                  </a:lnTo>
                  <a:lnTo>
                    <a:pt x="4" y="22"/>
                  </a:lnTo>
                  <a:lnTo>
                    <a:pt x="0" y="46"/>
                  </a:lnTo>
                  <a:lnTo>
                    <a:pt x="14" y="60"/>
                  </a:lnTo>
                  <a:lnTo>
                    <a:pt x="22" y="4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0" name="Freeform 730">
              <a:extLst>
                <a:ext uri="{FF2B5EF4-FFF2-40B4-BE49-F238E27FC236}">
                  <a16:creationId xmlns:a16="http://schemas.microsoft.com/office/drawing/2014/main" id="{3AC91F60-3C06-4DAC-AA8A-05AC44B0B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7563" y="1911351"/>
              <a:ext cx="36513" cy="28575"/>
            </a:xfrm>
            <a:custGeom>
              <a:avLst/>
              <a:gdLst>
                <a:gd name="T0" fmla="*/ 19 w 23"/>
                <a:gd name="T1" fmla="*/ 18 h 18"/>
                <a:gd name="T2" fmla="*/ 23 w 23"/>
                <a:gd name="T3" fmla="*/ 11 h 18"/>
                <a:gd name="T4" fmla="*/ 14 w 23"/>
                <a:gd name="T5" fmla="*/ 0 h 18"/>
                <a:gd name="T6" fmla="*/ 0 w 23"/>
                <a:gd name="T7" fmla="*/ 6 h 18"/>
                <a:gd name="T8" fmla="*/ 7 w 23"/>
                <a:gd name="T9" fmla="*/ 14 h 18"/>
                <a:gd name="T10" fmla="*/ 7 w 23"/>
                <a:gd name="T11" fmla="*/ 14 h 18"/>
                <a:gd name="T12" fmla="*/ 12 w 23"/>
                <a:gd name="T13" fmla="*/ 16 h 18"/>
                <a:gd name="T14" fmla="*/ 19 w 23"/>
                <a:gd name="T15" fmla="*/ 18 h 18"/>
                <a:gd name="T16" fmla="*/ 19 w 23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18">
                  <a:moveTo>
                    <a:pt x="19" y="18"/>
                  </a:moveTo>
                  <a:lnTo>
                    <a:pt x="23" y="11"/>
                  </a:lnTo>
                  <a:lnTo>
                    <a:pt x="14" y="0"/>
                  </a:lnTo>
                  <a:lnTo>
                    <a:pt x="0" y="6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12" y="16"/>
                  </a:lnTo>
                  <a:lnTo>
                    <a:pt x="19" y="18"/>
                  </a:lnTo>
                  <a:lnTo>
                    <a:pt x="19" y="18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1" name="Freeform 731">
              <a:extLst>
                <a:ext uri="{FF2B5EF4-FFF2-40B4-BE49-F238E27FC236}">
                  <a16:creationId xmlns:a16="http://schemas.microsoft.com/office/drawing/2014/main" id="{EAB8156E-2726-493B-A540-0BD985098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5975" y="1833563"/>
              <a:ext cx="38100" cy="65088"/>
            </a:xfrm>
            <a:custGeom>
              <a:avLst/>
              <a:gdLst>
                <a:gd name="T0" fmla="*/ 13 w 24"/>
                <a:gd name="T1" fmla="*/ 32 h 41"/>
                <a:gd name="T2" fmla="*/ 17 w 24"/>
                <a:gd name="T3" fmla="*/ 22 h 41"/>
                <a:gd name="T4" fmla="*/ 24 w 24"/>
                <a:gd name="T5" fmla="*/ 15 h 41"/>
                <a:gd name="T6" fmla="*/ 24 w 24"/>
                <a:gd name="T7" fmla="*/ 0 h 41"/>
                <a:gd name="T8" fmla="*/ 7 w 24"/>
                <a:gd name="T9" fmla="*/ 1 h 41"/>
                <a:gd name="T10" fmla="*/ 0 w 24"/>
                <a:gd name="T11" fmla="*/ 27 h 41"/>
                <a:gd name="T12" fmla="*/ 5 w 24"/>
                <a:gd name="T13" fmla="*/ 41 h 41"/>
                <a:gd name="T14" fmla="*/ 13 w 24"/>
                <a:gd name="T15" fmla="*/ 3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41">
                  <a:moveTo>
                    <a:pt x="13" y="32"/>
                  </a:moveTo>
                  <a:lnTo>
                    <a:pt x="17" y="22"/>
                  </a:lnTo>
                  <a:lnTo>
                    <a:pt x="24" y="15"/>
                  </a:lnTo>
                  <a:lnTo>
                    <a:pt x="24" y="0"/>
                  </a:lnTo>
                  <a:lnTo>
                    <a:pt x="7" y="1"/>
                  </a:lnTo>
                  <a:lnTo>
                    <a:pt x="0" y="27"/>
                  </a:lnTo>
                  <a:lnTo>
                    <a:pt x="5" y="41"/>
                  </a:lnTo>
                  <a:lnTo>
                    <a:pt x="13" y="3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2" name="Freeform 732">
              <a:extLst>
                <a:ext uri="{FF2B5EF4-FFF2-40B4-BE49-F238E27FC236}">
                  <a16:creationId xmlns:a16="http://schemas.microsoft.com/office/drawing/2014/main" id="{CE84E18C-B8E0-4081-9D29-4D87B1F6D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4013" y="2551113"/>
              <a:ext cx="50800" cy="57150"/>
            </a:xfrm>
            <a:custGeom>
              <a:avLst/>
              <a:gdLst>
                <a:gd name="T0" fmla="*/ 32 w 32"/>
                <a:gd name="T1" fmla="*/ 20 h 36"/>
                <a:gd name="T2" fmla="*/ 26 w 32"/>
                <a:gd name="T3" fmla="*/ 10 h 36"/>
                <a:gd name="T4" fmla="*/ 19 w 32"/>
                <a:gd name="T5" fmla="*/ 0 h 36"/>
                <a:gd name="T6" fmla="*/ 1 w 32"/>
                <a:gd name="T7" fmla="*/ 2 h 36"/>
                <a:gd name="T8" fmla="*/ 0 w 32"/>
                <a:gd name="T9" fmla="*/ 17 h 36"/>
                <a:gd name="T10" fmla="*/ 22 w 32"/>
                <a:gd name="T11" fmla="*/ 36 h 36"/>
                <a:gd name="T12" fmla="*/ 22 w 32"/>
                <a:gd name="T13" fmla="*/ 36 h 36"/>
                <a:gd name="T14" fmla="*/ 32 w 32"/>
                <a:gd name="T15" fmla="*/ 20 h 36"/>
                <a:gd name="T16" fmla="*/ 32 w 32"/>
                <a:gd name="T17" fmla="*/ 2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36">
                  <a:moveTo>
                    <a:pt x="32" y="20"/>
                  </a:moveTo>
                  <a:lnTo>
                    <a:pt x="26" y="10"/>
                  </a:lnTo>
                  <a:lnTo>
                    <a:pt x="19" y="0"/>
                  </a:lnTo>
                  <a:lnTo>
                    <a:pt x="1" y="2"/>
                  </a:lnTo>
                  <a:lnTo>
                    <a:pt x="0" y="17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32" y="20"/>
                  </a:lnTo>
                  <a:lnTo>
                    <a:pt x="32" y="2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3" name="Freeform 733">
              <a:extLst>
                <a:ext uri="{FF2B5EF4-FFF2-40B4-BE49-F238E27FC236}">
                  <a16:creationId xmlns:a16="http://schemas.microsoft.com/office/drawing/2014/main" id="{FD293A1B-FAB0-4E45-8EAC-7E6D3D8C60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9888" y="2468563"/>
              <a:ext cx="114300" cy="106363"/>
            </a:xfrm>
            <a:custGeom>
              <a:avLst/>
              <a:gdLst>
                <a:gd name="T0" fmla="*/ 9 w 72"/>
                <a:gd name="T1" fmla="*/ 28 h 67"/>
                <a:gd name="T2" fmla="*/ 16 w 72"/>
                <a:gd name="T3" fmla="*/ 36 h 67"/>
                <a:gd name="T4" fmla="*/ 14 w 72"/>
                <a:gd name="T5" fmla="*/ 55 h 67"/>
                <a:gd name="T6" fmla="*/ 24 w 72"/>
                <a:gd name="T7" fmla="*/ 59 h 67"/>
                <a:gd name="T8" fmla="*/ 31 w 72"/>
                <a:gd name="T9" fmla="*/ 54 h 67"/>
                <a:gd name="T10" fmla="*/ 40 w 72"/>
                <a:gd name="T11" fmla="*/ 47 h 67"/>
                <a:gd name="T12" fmla="*/ 48 w 72"/>
                <a:gd name="T13" fmla="*/ 60 h 67"/>
                <a:gd name="T14" fmla="*/ 62 w 72"/>
                <a:gd name="T15" fmla="*/ 67 h 67"/>
                <a:gd name="T16" fmla="*/ 64 w 72"/>
                <a:gd name="T17" fmla="*/ 60 h 67"/>
                <a:gd name="T18" fmla="*/ 71 w 72"/>
                <a:gd name="T19" fmla="*/ 54 h 67"/>
                <a:gd name="T20" fmla="*/ 72 w 72"/>
                <a:gd name="T21" fmla="*/ 45 h 67"/>
                <a:gd name="T22" fmla="*/ 62 w 72"/>
                <a:gd name="T23" fmla="*/ 42 h 67"/>
                <a:gd name="T24" fmla="*/ 50 w 72"/>
                <a:gd name="T25" fmla="*/ 43 h 67"/>
                <a:gd name="T26" fmla="*/ 47 w 72"/>
                <a:gd name="T27" fmla="*/ 36 h 67"/>
                <a:gd name="T28" fmla="*/ 31 w 72"/>
                <a:gd name="T29" fmla="*/ 36 h 67"/>
                <a:gd name="T30" fmla="*/ 43 w 72"/>
                <a:gd name="T31" fmla="*/ 26 h 67"/>
                <a:gd name="T32" fmla="*/ 33 w 72"/>
                <a:gd name="T33" fmla="*/ 12 h 67"/>
                <a:gd name="T34" fmla="*/ 17 w 72"/>
                <a:gd name="T35" fmla="*/ 0 h 67"/>
                <a:gd name="T36" fmla="*/ 0 w 72"/>
                <a:gd name="T37" fmla="*/ 12 h 67"/>
                <a:gd name="T38" fmla="*/ 0 w 72"/>
                <a:gd name="T39" fmla="*/ 24 h 67"/>
                <a:gd name="T40" fmla="*/ 0 w 72"/>
                <a:gd name="T41" fmla="*/ 38 h 67"/>
                <a:gd name="T42" fmla="*/ 5 w 72"/>
                <a:gd name="T43" fmla="*/ 45 h 67"/>
                <a:gd name="T44" fmla="*/ 9 w 72"/>
                <a:gd name="T45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2" h="67">
                  <a:moveTo>
                    <a:pt x="9" y="28"/>
                  </a:moveTo>
                  <a:lnTo>
                    <a:pt x="16" y="36"/>
                  </a:lnTo>
                  <a:lnTo>
                    <a:pt x="14" y="55"/>
                  </a:lnTo>
                  <a:lnTo>
                    <a:pt x="24" y="59"/>
                  </a:lnTo>
                  <a:lnTo>
                    <a:pt x="31" y="54"/>
                  </a:lnTo>
                  <a:lnTo>
                    <a:pt x="40" y="47"/>
                  </a:lnTo>
                  <a:lnTo>
                    <a:pt x="48" y="60"/>
                  </a:lnTo>
                  <a:lnTo>
                    <a:pt x="62" y="67"/>
                  </a:lnTo>
                  <a:lnTo>
                    <a:pt x="64" y="60"/>
                  </a:lnTo>
                  <a:lnTo>
                    <a:pt x="71" y="54"/>
                  </a:lnTo>
                  <a:lnTo>
                    <a:pt x="72" y="45"/>
                  </a:lnTo>
                  <a:lnTo>
                    <a:pt x="62" y="42"/>
                  </a:lnTo>
                  <a:lnTo>
                    <a:pt x="50" y="43"/>
                  </a:lnTo>
                  <a:lnTo>
                    <a:pt x="47" y="36"/>
                  </a:lnTo>
                  <a:lnTo>
                    <a:pt x="31" y="36"/>
                  </a:lnTo>
                  <a:lnTo>
                    <a:pt x="43" y="26"/>
                  </a:lnTo>
                  <a:lnTo>
                    <a:pt x="33" y="12"/>
                  </a:lnTo>
                  <a:lnTo>
                    <a:pt x="17" y="0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0" y="38"/>
                  </a:lnTo>
                  <a:lnTo>
                    <a:pt x="5" y="45"/>
                  </a:lnTo>
                  <a:lnTo>
                    <a:pt x="9" y="28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4" name="Freeform 734">
              <a:extLst>
                <a:ext uri="{FF2B5EF4-FFF2-40B4-BE49-F238E27FC236}">
                  <a16:creationId xmlns:a16="http://schemas.microsoft.com/office/drawing/2014/main" id="{97CCF3D4-4A5A-43AE-A296-C1C88406C36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03388" y="2574926"/>
              <a:ext cx="26988" cy="41275"/>
            </a:xfrm>
            <a:custGeom>
              <a:avLst/>
              <a:gdLst>
                <a:gd name="T0" fmla="*/ 5 w 17"/>
                <a:gd name="T1" fmla="*/ 26 h 26"/>
                <a:gd name="T2" fmla="*/ 5 w 17"/>
                <a:gd name="T3" fmla="*/ 26 h 26"/>
                <a:gd name="T4" fmla="*/ 7 w 17"/>
                <a:gd name="T5" fmla="*/ 21 h 26"/>
                <a:gd name="T6" fmla="*/ 12 w 17"/>
                <a:gd name="T7" fmla="*/ 14 h 26"/>
                <a:gd name="T8" fmla="*/ 17 w 17"/>
                <a:gd name="T9" fmla="*/ 7 h 26"/>
                <a:gd name="T10" fmla="*/ 10 w 17"/>
                <a:gd name="T11" fmla="*/ 0 h 26"/>
                <a:gd name="T12" fmla="*/ 0 w 17"/>
                <a:gd name="T13" fmla="*/ 9 h 26"/>
                <a:gd name="T14" fmla="*/ 5 w 17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6">
                  <a:moveTo>
                    <a:pt x="5" y="26"/>
                  </a:moveTo>
                  <a:lnTo>
                    <a:pt x="5" y="26"/>
                  </a:lnTo>
                  <a:lnTo>
                    <a:pt x="7" y="21"/>
                  </a:lnTo>
                  <a:lnTo>
                    <a:pt x="12" y="14"/>
                  </a:lnTo>
                  <a:lnTo>
                    <a:pt x="17" y="7"/>
                  </a:lnTo>
                  <a:lnTo>
                    <a:pt x="10" y="0"/>
                  </a:lnTo>
                  <a:lnTo>
                    <a:pt x="0" y="9"/>
                  </a:lnTo>
                  <a:lnTo>
                    <a:pt x="5" y="2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5" name="Freeform 735">
              <a:extLst>
                <a:ext uri="{FF2B5EF4-FFF2-40B4-BE49-F238E27FC236}">
                  <a16:creationId xmlns:a16="http://schemas.microsoft.com/office/drawing/2014/main" id="{6AB18F37-75BB-4916-95BD-CC265EE83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163" y="2452688"/>
              <a:ext cx="33338" cy="26988"/>
            </a:xfrm>
            <a:custGeom>
              <a:avLst/>
              <a:gdLst>
                <a:gd name="T0" fmla="*/ 21 w 21"/>
                <a:gd name="T1" fmla="*/ 3 h 17"/>
                <a:gd name="T2" fmla="*/ 5 w 21"/>
                <a:gd name="T3" fmla="*/ 0 h 17"/>
                <a:gd name="T4" fmla="*/ 0 w 21"/>
                <a:gd name="T5" fmla="*/ 10 h 17"/>
                <a:gd name="T6" fmla="*/ 12 w 21"/>
                <a:gd name="T7" fmla="*/ 17 h 17"/>
                <a:gd name="T8" fmla="*/ 21 w 21"/>
                <a:gd name="T9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7">
                  <a:moveTo>
                    <a:pt x="21" y="3"/>
                  </a:moveTo>
                  <a:lnTo>
                    <a:pt x="5" y="0"/>
                  </a:lnTo>
                  <a:lnTo>
                    <a:pt x="0" y="10"/>
                  </a:lnTo>
                  <a:lnTo>
                    <a:pt x="12" y="17"/>
                  </a:lnTo>
                  <a:lnTo>
                    <a:pt x="21" y="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6" name="Freeform 736">
              <a:extLst>
                <a:ext uri="{FF2B5EF4-FFF2-40B4-BE49-F238E27FC236}">
                  <a16:creationId xmlns:a16="http://schemas.microsoft.com/office/drawing/2014/main" id="{6DFDB45D-4FEC-4163-A385-4375F8E4DE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9263" y="2498726"/>
              <a:ext cx="22225" cy="19050"/>
            </a:xfrm>
            <a:custGeom>
              <a:avLst/>
              <a:gdLst>
                <a:gd name="T0" fmla="*/ 14 w 14"/>
                <a:gd name="T1" fmla="*/ 12 h 12"/>
                <a:gd name="T2" fmla="*/ 14 w 14"/>
                <a:gd name="T3" fmla="*/ 0 h 12"/>
                <a:gd name="T4" fmla="*/ 0 w 14"/>
                <a:gd name="T5" fmla="*/ 9 h 12"/>
                <a:gd name="T6" fmla="*/ 14 w 14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2">
                  <a:moveTo>
                    <a:pt x="14" y="12"/>
                  </a:moveTo>
                  <a:lnTo>
                    <a:pt x="14" y="0"/>
                  </a:lnTo>
                  <a:lnTo>
                    <a:pt x="0" y="9"/>
                  </a:lnTo>
                  <a:lnTo>
                    <a:pt x="14" y="1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7" name="Freeform 737">
              <a:extLst>
                <a:ext uri="{FF2B5EF4-FFF2-40B4-BE49-F238E27FC236}">
                  <a16:creationId xmlns:a16="http://schemas.microsoft.com/office/drawing/2014/main" id="{EDEA8CB9-8E6F-47C5-A490-4E5F6F3EF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8475" y="2471738"/>
              <a:ext cx="26988" cy="23813"/>
            </a:xfrm>
            <a:custGeom>
              <a:avLst/>
              <a:gdLst>
                <a:gd name="T0" fmla="*/ 0 w 17"/>
                <a:gd name="T1" fmla="*/ 15 h 15"/>
                <a:gd name="T2" fmla="*/ 17 w 17"/>
                <a:gd name="T3" fmla="*/ 12 h 15"/>
                <a:gd name="T4" fmla="*/ 3 w 17"/>
                <a:gd name="T5" fmla="*/ 0 h 15"/>
                <a:gd name="T6" fmla="*/ 0 w 17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5">
                  <a:moveTo>
                    <a:pt x="0" y="15"/>
                  </a:moveTo>
                  <a:lnTo>
                    <a:pt x="17" y="12"/>
                  </a:lnTo>
                  <a:lnTo>
                    <a:pt x="3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8" name="Freeform 738">
              <a:extLst>
                <a:ext uri="{FF2B5EF4-FFF2-40B4-BE49-F238E27FC236}">
                  <a16:creationId xmlns:a16="http://schemas.microsoft.com/office/drawing/2014/main" id="{F3A22158-BCF5-45F7-BB6A-33FDEF338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138" y="2433638"/>
              <a:ext cx="22225" cy="34925"/>
            </a:xfrm>
            <a:custGeom>
              <a:avLst/>
              <a:gdLst>
                <a:gd name="T0" fmla="*/ 5 w 14"/>
                <a:gd name="T1" fmla="*/ 22 h 22"/>
                <a:gd name="T2" fmla="*/ 7 w 14"/>
                <a:gd name="T3" fmla="*/ 14 h 22"/>
                <a:gd name="T4" fmla="*/ 14 w 14"/>
                <a:gd name="T5" fmla="*/ 7 h 22"/>
                <a:gd name="T6" fmla="*/ 7 w 14"/>
                <a:gd name="T7" fmla="*/ 0 h 22"/>
                <a:gd name="T8" fmla="*/ 0 w 14"/>
                <a:gd name="T9" fmla="*/ 10 h 22"/>
                <a:gd name="T10" fmla="*/ 5 w 14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2">
                  <a:moveTo>
                    <a:pt x="5" y="22"/>
                  </a:moveTo>
                  <a:lnTo>
                    <a:pt x="7" y="14"/>
                  </a:lnTo>
                  <a:lnTo>
                    <a:pt x="14" y="7"/>
                  </a:lnTo>
                  <a:lnTo>
                    <a:pt x="7" y="0"/>
                  </a:lnTo>
                  <a:lnTo>
                    <a:pt x="0" y="10"/>
                  </a:lnTo>
                  <a:lnTo>
                    <a:pt x="5" y="2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09" name="Freeform 739">
              <a:extLst>
                <a:ext uri="{FF2B5EF4-FFF2-40B4-BE49-F238E27FC236}">
                  <a16:creationId xmlns:a16="http://schemas.microsoft.com/office/drawing/2014/main" id="{7428EF09-E15E-40CC-A55C-F897CB8933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7038" y="2395538"/>
              <a:ext cx="41275" cy="34925"/>
            </a:xfrm>
            <a:custGeom>
              <a:avLst/>
              <a:gdLst>
                <a:gd name="T0" fmla="*/ 16 w 26"/>
                <a:gd name="T1" fmla="*/ 22 h 22"/>
                <a:gd name="T2" fmla="*/ 26 w 26"/>
                <a:gd name="T3" fmla="*/ 17 h 22"/>
                <a:gd name="T4" fmla="*/ 11 w 26"/>
                <a:gd name="T5" fmla="*/ 8 h 22"/>
                <a:gd name="T6" fmla="*/ 9 w 26"/>
                <a:gd name="T7" fmla="*/ 0 h 22"/>
                <a:gd name="T8" fmla="*/ 0 w 26"/>
                <a:gd name="T9" fmla="*/ 7 h 22"/>
                <a:gd name="T10" fmla="*/ 4 w 26"/>
                <a:gd name="T11" fmla="*/ 20 h 22"/>
                <a:gd name="T12" fmla="*/ 16 w 2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2">
                  <a:moveTo>
                    <a:pt x="16" y="22"/>
                  </a:moveTo>
                  <a:lnTo>
                    <a:pt x="26" y="17"/>
                  </a:lnTo>
                  <a:lnTo>
                    <a:pt x="11" y="8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20"/>
                  </a:lnTo>
                  <a:lnTo>
                    <a:pt x="16" y="2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0" name="Freeform 740">
              <a:extLst>
                <a:ext uri="{FF2B5EF4-FFF2-40B4-BE49-F238E27FC236}">
                  <a16:creationId xmlns:a16="http://schemas.microsoft.com/office/drawing/2014/main" id="{0BB20551-1631-4BFC-942E-1D8DA9330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5300" y="2414588"/>
              <a:ext cx="49213" cy="34925"/>
            </a:xfrm>
            <a:custGeom>
              <a:avLst/>
              <a:gdLst>
                <a:gd name="T0" fmla="*/ 31 w 31"/>
                <a:gd name="T1" fmla="*/ 8 h 22"/>
                <a:gd name="T2" fmla="*/ 28 w 31"/>
                <a:gd name="T3" fmla="*/ 0 h 22"/>
                <a:gd name="T4" fmla="*/ 14 w 31"/>
                <a:gd name="T5" fmla="*/ 8 h 22"/>
                <a:gd name="T6" fmla="*/ 14 w 31"/>
                <a:gd name="T7" fmla="*/ 0 h 22"/>
                <a:gd name="T8" fmla="*/ 2 w 31"/>
                <a:gd name="T9" fmla="*/ 8 h 22"/>
                <a:gd name="T10" fmla="*/ 0 w 31"/>
                <a:gd name="T11" fmla="*/ 22 h 22"/>
                <a:gd name="T12" fmla="*/ 12 w 31"/>
                <a:gd name="T13" fmla="*/ 19 h 22"/>
                <a:gd name="T14" fmla="*/ 31 w 31"/>
                <a:gd name="T15" fmla="*/ 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22">
                  <a:moveTo>
                    <a:pt x="31" y="8"/>
                  </a:moveTo>
                  <a:lnTo>
                    <a:pt x="28" y="0"/>
                  </a:lnTo>
                  <a:lnTo>
                    <a:pt x="14" y="8"/>
                  </a:lnTo>
                  <a:lnTo>
                    <a:pt x="14" y="0"/>
                  </a:lnTo>
                  <a:lnTo>
                    <a:pt x="2" y="8"/>
                  </a:lnTo>
                  <a:lnTo>
                    <a:pt x="0" y="22"/>
                  </a:lnTo>
                  <a:lnTo>
                    <a:pt x="12" y="19"/>
                  </a:lnTo>
                  <a:lnTo>
                    <a:pt x="31" y="8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1" name="Freeform 741">
              <a:extLst>
                <a:ext uri="{FF2B5EF4-FFF2-40B4-BE49-F238E27FC236}">
                  <a16:creationId xmlns:a16="http://schemas.microsoft.com/office/drawing/2014/main" id="{582AFD27-DDA3-4BED-AF6B-C31F34C15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0750" y="2706688"/>
              <a:ext cx="185738" cy="269875"/>
            </a:xfrm>
            <a:custGeom>
              <a:avLst/>
              <a:gdLst>
                <a:gd name="T0" fmla="*/ 12 w 117"/>
                <a:gd name="T1" fmla="*/ 122 h 170"/>
                <a:gd name="T2" fmla="*/ 28 w 117"/>
                <a:gd name="T3" fmla="*/ 122 h 170"/>
                <a:gd name="T4" fmla="*/ 38 w 117"/>
                <a:gd name="T5" fmla="*/ 134 h 170"/>
                <a:gd name="T6" fmla="*/ 26 w 117"/>
                <a:gd name="T7" fmla="*/ 141 h 170"/>
                <a:gd name="T8" fmla="*/ 14 w 117"/>
                <a:gd name="T9" fmla="*/ 144 h 170"/>
                <a:gd name="T10" fmla="*/ 9 w 117"/>
                <a:gd name="T11" fmla="*/ 160 h 170"/>
                <a:gd name="T12" fmla="*/ 25 w 117"/>
                <a:gd name="T13" fmla="*/ 170 h 170"/>
                <a:gd name="T14" fmla="*/ 35 w 117"/>
                <a:gd name="T15" fmla="*/ 160 h 170"/>
                <a:gd name="T16" fmla="*/ 49 w 117"/>
                <a:gd name="T17" fmla="*/ 149 h 170"/>
                <a:gd name="T18" fmla="*/ 40 w 117"/>
                <a:gd name="T19" fmla="*/ 141 h 170"/>
                <a:gd name="T20" fmla="*/ 47 w 117"/>
                <a:gd name="T21" fmla="*/ 137 h 170"/>
                <a:gd name="T22" fmla="*/ 57 w 117"/>
                <a:gd name="T23" fmla="*/ 148 h 170"/>
                <a:gd name="T24" fmla="*/ 66 w 117"/>
                <a:gd name="T25" fmla="*/ 143 h 170"/>
                <a:gd name="T26" fmla="*/ 54 w 117"/>
                <a:gd name="T27" fmla="*/ 131 h 170"/>
                <a:gd name="T28" fmla="*/ 50 w 117"/>
                <a:gd name="T29" fmla="*/ 113 h 170"/>
                <a:gd name="T30" fmla="*/ 64 w 117"/>
                <a:gd name="T31" fmla="*/ 132 h 170"/>
                <a:gd name="T32" fmla="*/ 78 w 117"/>
                <a:gd name="T33" fmla="*/ 131 h 170"/>
                <a:gd name="T34" fmla="*/ 81 w 117"/>
                <a:gd name="T35" fmla="*/ 120 h 170"/>
                <a:gd name="T36" fmla="*/ 76 w 117"/>
                <a:gd name="T37" fmla="*/ 112 h 170"/>
                <a:gd name="T38" fmla="*/ 90 w 117"/>
                <a:gd name="T39" fmla="*/ 113 h 170"/>
                <a:gd name="T40" fmla="*/ 95 w 117"/>
                <a:gd name="T41" fmla="*/ 103 h 170"/>
                <a:gd name="T42" fmla="*/ 92 w 117"/>
                <a:gd name="T43" fmla="*/ 88 h 170"/>
                <a:gd name="T44" fmla="*/ 92 w 117"/>
                <a:gd name="T45" fmla="*/ 70 h 170"/>
                <a:gd name="T46" fmla="*/ 100 w 117"/>
                <a:gd name="T47" fmla="*/ 65 h 170"/>
                <a:gd name="T48" fmla="*/ 95 w 117"/>
                <a:gd name="T49" fmla="*/ 58 h 170"/>
                <a:gd name="T50" fmla="*/ 105 w 117"/>
                <a:gd name="T51" fmla="*/ 46 h 170"/>
                <a:gd name="T52" fmla="*/ 114 w 117"/>
                <a:gd name="T53" fmla="*/ 33 h 170"/>
                <a:gd name="T54" fmla="*/ 117 w 117"/>
                <a:gd name="T55" fmla="*/ 19 h 170"/>
                <a:gd name="T56" fmla="*/ 111 w 117"/>
                <a:gd name="T57" fmla="*/ 0 h 170"/>
                <a:gd name="T58" fmla="*/ 88 w 117"/>
                <a:gd name="T59" fmla="*/ 14 h 170"/>
                <a:gd name="T60" fmla="*/ 74 w 117"/>
                <a:gd name="T61" fmla="*/ 24 h 170"/>
                <a:gd name="T62" fmla="*/ 64 w 117"/>
                <a:gd name="T63" fmla="*/ 34 h 170"/>
                <a:gd name="T64" fmla="*/ 54 w 117"/>
                <a:gd name="T65" fmla="*/ 34 h 170"/>
                <a:gd name="T66" fmla="*/ 40 w 117"/>
                <a:gd name="T67" fmla="*/ 46 h 170"/>
                <a:gd name="T68" fmla="*/ 50 w 117"/>
                <a:gd name="T69" fmla="*/ 70 h 170"/>
                <a:gd name="T70" fmla="*/ 40 w 117"/>
                <a:gd name="T71" fmla="*/ 60 h 170"/>
                <a:gd name="T72" fmla="*/ 35 w 117"/>
                <a:gd name="T73" fmla="*/ 53 h 170"/>
                <a:gd name="T74" fmla="*/ 30 w 117"/>
                <a:gd name="T75" fmla="*/ 55 h 170"/>
                <a:gd name="T76" fmla="*/ 35 w 117"/>
                <a:gd name="T77" fmla="*/ 74 h 170"/>
                <a:gd name="T78" fmla="*/ 25 w 117"/>
                <a:gd name="T79" fmla="*/ 70 h 170"/>
                <a:gd name="T80" fmla="*/ 11 w 117"/>
                <a:gd name="T81" fmla="*/ 60 h 170"/>
                <a:gd name="T82" fmla="*/ 7 w 117"/>
                <a:gd name="T83" fmla="*/ 70 h 170"/>
                <a:gd name="T84" fmla="*/ 0 w 117"/>
                <a:gd name="T85" fmla="*/ 86 h 170"/>
                <a:gd name="T86" fmla="*/ 9 w 117"/>
                <a:gd name="T87" fmla="*/ 98 h 170"/>
                <a:gd name="T88" fmla="*/ 14 w 117"/>
                <a:gd name="T89" fmla="*/ 108 h 170"/>
                <a:gd name="T90" fmla="*/ 0 w 117"/>
                <a:gd name="T91" fmla="*/ 110 h 170"/>
                <a:gd name="T92" fmla="*/ 12 w 117"/>
                <a:gd name="T93" fmla="*/ 12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17" h="170">
                  <a:moveTo>
                    <a:pt x="12" y="122"/>
                  </a:moveTo>
                  <a:lnTo>
                    <a:pt x="28" y="122"/>
                  </a:lnTo>
                  <a:lnTo>
                    <a:pt x="38" y="134"/>
                  </a:lnTo>
                  <a:lnTo>
                    <a:pt x="26" y="141"/>
                  </a:lnTo>
                  <a:lnTo>
                    <a:pt x="14" y="144"/>
                  </a:lnTo>
                  <a:lnTo>
                    <a:pt x="9" y="160"/>
                  </a:lnTo>
                  <a:lnTo>
                    <a:pt x="25" y="170"/>
                  </a:lnTo>
                  <a:lnTo>
                    <a:pt x="35" y="160"/>
                  </a:lnTo>
                  <a:lnTo>
                    <a:pt x="49" y="149"/>
                  </a:lnTo>
                  <a:lnTo>
                    <a:pt x="40" y="141"/>
                  </a:lnTo>
                  <a:lnTo>
                    <a:pt x="47" y="137"/>
                  </a:lnTo>
                  <a:lnTo>
                    <a:pt x="57" y="148"/>
                  </a:lnTo>
                  <a:lnTo>
                    <a:pt x="66" y="143"/>
                  </a:lnTo>
                  <a:lnTo>
                    <a:pt x="54" y="131"/>
                  </a:lnTo>
                  <a:lnTo>
                    <a:pt x="50" y="113"/>
                  </a:lnTo>
                  <a:lnTo>
                    <a:pt x="64" y="132"/>
                  </a:lnTo>
                  <a:lnTo>
                    <a:pt x="78" y="131"/>
                  </a:lnTo>
                  <a:lnTo>
                    <a:pt x="81" y="120"/>
                  </a:lnTo>
                  <a:lnTo>
                    <a:pt x="76" y="112"/>
                  </a:lnTo>
                  <a:lnTo>
                    <a:pt x="90" y="113"/>
                  </a:lnTo>
                  <a:lnTo>
                    <a:pt x="95" y="103"/>
                  </a:lnTo>
                  <a:lnTo>
                    <a:pt x="92" y="88"/>
                  </a:lnTo>
                  <a:lnTo>
                    <a:pt x="92" y="70"/>
                  </a:lnTo>
                  <a:lnTo>
                    <a:pt x="100" y="65"/>
                  </a:lnTo>
                  <a:lnTo>
                    <a:pt x="95" y="58"/>
                  </a:lnTo>
                  <a:lnTo>
                    <a:pt x="105" y="46"/>
                  </a:lnTo>
                  <a:lnTo>
                    <a:pt x="114" y="33"/>
                  </a:lnTo>
                  <a:lnTo>
                    <a:pt x="117" y="19"/>
                  </a:lnTo>
                  <a:lnTo>
                    <a:pt x="111" y="0"/>
                  </a:lnTo>
                  <a:lnTo>
                    <a:pt x="88" y="14"/>
                  </a:lnTo>
                  <a:lnTo>
                    <a:pt x="74" y="24"/>
                  </a:lnTo>
                  <a:lnTo>
                    <a:pt x="64" y="34"/>
                  </a:lnTo>
                  <a:lnTo>
                    <a:pt x="54" y="34"/>
                  </a:lnTo>
                  <a:lnTo>
                    <a:pt x="40" y="46"/>
                  </a:lnTo>
                  <a:lnTo>
                    <a:pt x="50" y="70"/>
                  </a:lnTo>
                  <a:lnTo>
                    <a:pt x="40" y="60"/>
                  </a:lnTo>
                  <a:lnTo>
                    <a:pt x="35" y="53"/>
                  </a:lnTo>
                  <a:lnTo>
                    <a:pt x="30" y="55"/>
                  </a:lnTo>
                  <a:lnTo>
                    <a:pt x="35" y="74"/>
                  </a:lnTo>
                  <a:lnTo>
                    <a:pt x="25" y="70"/>
                  </a:lnTo>
                  <a:lnTo>
                    <a:pt x="11" y="60"/>
                  </a:lnTo>
                  <a:lnTo>
                    <a:pt x="7" y="70"/>
                  </a:lnTo>
                  <a:lnTo>
                    <a:pt x="0" y="86"/>
                  </a:lnTo>
                  <a:lnTo>
                    <a:pt x="9" y="98"/>
                  </a:lnTo>
                  <a:lnTo>
                    <a:pt x="14" y="108"/>
                  </a:lnTo>
                  <a:lnTo>
                    <a:pt x="0" y="110"/>
                  </a:lnTo>
                  <a:lnTo>
                    <a:pt x="12" y="12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2" name="Freeform 742">
              <a:extLst>
                <a:ext uri="{FF2B5EF4-FFF2-40B4-BE49-F238E27FC236}">
                  <a16:creationId xmlns:a16="http://schemas.microsoft.com/office/drawing/2014/main" id="{3AB19BD6-D958-48F0-B878-D7C74ED92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488" y="2992438"/>
              <a:ext cx="82550" cy="222250"/>
            </a:xfrm>
            <a:custGeom>
              <a:avLst/>
              <a:gdLst>
                <a:gd name="T0" fmla="*/ 24 w 52"/>
                <a:gd name="T1" fmla="*/ 45 h 140"/>
                <a:gd name="T2" fmla="*/ 16 w 52"/>
                <a:gd name="T3" fmla="*/ 50 h 140"/>
                <a:gd name="T4" fmla="*/ 14 w 52"/>
                <a:gd name="T5" fmla="*/ 64 h 140"/>
                <a:gd name="T6" fmla="*/ 11 w 52"/>
                <a:gd name="T7" fmla="*/ 78 h 140"/>
                <a:gd name="T8" fmla="*/ 11 w 52"/>
                <a:gd name="T9" fmla="*/ 90 h 140"/>
                <a:gd name="T10" fmla="*/ 11 w 52"/>
                <a:gd name="T11" fmla="*/ 111 h 140"/>
                <a:gd name="T12" fmla="*/ 14 w 52"/>
                <a:gd name="T13" fmla="*/ 126 h 140"/>
                <a:gd name="T14" fmla="*/ 26 w 52"/>
                <a:gd name="T15" fmla="*/ 140 h 140"/>
                <a:gd name="T16" fmla="*/ 33 w 52"/>
                <a:gd name="T17" fmla="*/ 128 h 140"/>
                <a:gd name="T18" fmla="*/ 28 w 52"/>
                <a:gd name="T19" fmla="*/ 116 h 140"/>
                <a:gd name="T20" fmla="*/ 30 w 52"/>
                <a:gd name="T21" fmla="*/ 97 h 140"/>
                <a:gd name="T22" fmla="*/ 37 w 52"/>
                <a:gd name="T23" fmla="*/ 88 h 140"/>
                <a:gd name="T24" fmla="*/ 33 w 52"/>
                <a:gd name="T25" fmla="*/ 76 h 140"/>
                <a:gd name="T26" fmla="*/ 21 w 52"/>
                <a:gd name="T27" fmla="*/ 64 h 140"/>
                <a:gd name="T28" fmla="*/ 33 w 52"/>
                <a:gd name="T29" fmla="*/ 64 h 140"/>
                <a:gd name="T30" fmla="*/ 31 w 52"/>
                <a:gd name="T31" fmla="*/ 55 h 140"/>
                <a:gd name="T32" fmla="*/ 40 w 52"/>
                <a:gd name="T33" fmla="*/ 54 h 140"/>
                <a:gd name="T34" fmla="*/ 43 w 52"/>
                <a:gd name="T35" fmla="*/ 42 h 140"/>
                <a:gd name="T36" fmla="*/ 42 w 52"/>
                <a:gd name="T37" fmla="*/ 31 h 140"/>
                <a:gd name="T38" fmla="*/ 42 w 52"/>
                <a:gd name="T39" fmla="*/ 31 h 140"/>
                <a:gd name="T40" fmla="*/ 47 w 52"/>
                <a:gd name="T41" fmla="*/ 25 h 140"/>
                <a:gd name="T42" fmla="*/ 50 w 52"/>
                <a:gd name="T43" fmla="*/ 19 h 140"/>
                <a:gd name="T44" fmla="*/ 52 w 52"/>
                <a:gd name="T45" fmla="*/ 18 h 140"/>
                <a:gd name="T46" fmla="*/ 43 w 52"/>
                <a:gd name="T47" fmla="*/ 12 h 140"/>
                <a:gd name="T48" fmla="*/ 40 w 52"/>
                <a:gd name="T49" fmla="*/ 0 h 140"/>
                <a:gd name="T50" fmla="*/ 33 w 52"/>
                <a:gd name="T51" fmla="*/ 7 h 140"/>
                <a:gd name="T52" fmla="*/ 21 w 52"/>
                <a:gd name="T53" fmla="*/ 4 h 140"/>
                <a:gd name="T54" fmla="*/ 19 w 52"/>
                <a:gd name="T55" fmla="*/ 14 h 140"/>
                <a:gd name="T56" fmla="*/ 4 w 52"/>
                <a:gd name="T57" fmla="*/ 7 h 140"/>
                <a:gd name="T58" fmla="*/ 0 w 52"/>
                <a:gd name="T59" fmla="*/ 21 h 140"/>
                <a:gd name="T60" fmla="*/ 16 w 52"/>
                <a:gd name="T61" fmla="*/ 35 h 140"/>
                <a:gd name="T62" fmla="*/ 24 w 52"/>
                <a:gd name="T63" fmla="*/ 4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" h="140">
                  <a:moveTo>
                    <a:pt x="24" y="45"/>
                  </a:moveTo>
                  <a:lnTo>
                    <a:pt x="16" y="50"/>
                  </a:lnTo>
                  <a:lnTo>
                    <a:pt x="14" y="64"/>
                  </a:lnTo>
                  <a:lnTo>
                    <a:pt x="11" y="78"/>
                  </a:lnTo>
                  <a:lnTo>
                    <a:pt x="11" y="90"/>
                  </a:lnTo>
                  <a:lnTo>
                    <a:pt x="11" y="111"/>
                  </a:lnTo>
                  <a:lnTo>
                    <a:pt x="14" y="126"/>
                  </a:lnTo>
                  <a:lnTo>
                    <a:pt x="26" y="140"/>
                  </a:lnTo>
                  <a:lnTo>
                    <a:pt x="33" y="128"/>
                  </a:lnTo>
                  <a:lnTo>
                    <a:pt x="28" y="116"/>
                  </a:lnTo>
                  <a:lnTo>
                    <a:pt x="30" y="97"/>
                  </a:lnTo>
                  <a:lnTo>
                    <a:pt x="37" y="88"/>
                  </a:lnTo>
                  <a:lnTo>
                    <a:pt x="33" y="76"/>
                  </a:lnTo>
                  <a:lnTo>
                    <a:pt x="21" y="64"/>
                  </a:lnTo>
                  <a:lnTo>
                    <a:pt x="33" y="64"/>
                  </a:lnTo>
                  <a:lnTo>
                    <a:pt x="31" y="55"/>
                  </a:lnTo>
                  <a:lnTo>
                    <a:pt x="40" y="54"/>
                  </a:lnTo>
                  <a:lnTo>
                    <a:pt x="43" y="42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7" y="25"/>
                  </a:lnTo>
                  <a:lnTo>
                    <a:pt x="50" y="19"/>
                  </a:lnTo>
                  <a:lnTo>
                    <a:pt x="52" y="18"/>
                  </a:lnTo>
                  <a:lnTo>
                    <a:pt x="43" y="12"/>
                  </a:lnTo>
                  <a:lnTo>
                    <a:pt x="40" y="0"/>
                  </a:lnTo>
                  <a:lnTo>
                    <a:pt x="33" y="7"/>
                  </a:lnTo>
                  <a:lnTo>
                    <a:pt x="21" y="4"/>
                  </a:lnTo>
                  <a:lnTo>
                    <a:pt x="19" y="14"/>
                  </a:lnTo>
                  <a:lnTo>
                    <a:pt x="4" y="7"/>
                  </a:lnTo>
                  <a:lnTo>
                    <a:pt x="0" y="21"/>
                  </a:lnTo>
                  <a:lnTo>
                    <a:pt x="16" y="35"/>
                  </a:lnTo>
                  <a:lnTo>
                    <a:pt x="24" y="4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3" name="Freeform 743">
              <a:extLst>
                <a:ext uri="{FF2B5EF4-FFF2-40B4-BE49-F238E27FC236}">
                  <a16:creationId xmlns:a16="http://schemas.microsoft.com/office/drawing/2014/main" id="{2B1CF2AF-E93E-4766-A11C-200FCD08E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2188" y="2646363"/>
              <a:ext cx="1609725" cy="2825750"/>
            </a:xfrm>
            <a:custGeom>
              <a:avLst/>
              <a:gdLst>
                <a:gd name="T0" fmla="*/ 372 w 1014"/>
                <a:gd name="T1" fmla="*/ 1728 h 1780"/>
                <a:gd name="T2" fmla="*/ 508 w 1014"/>
                <a:gd name="T3" fmla="*/ 1660 h 1780"/>
                <a:gd name="T4" fmla="*/ 651 w 1014"/>
                <a:gd name="T5" fmla="*/ 1627 h 1780"/>
                <a:gd name="T6" fmla="*/ 802 w 1014"/>
                <a:gd name="T7" fmla="*/ 1627 h 1780"/>
                <a:gd name="T8" fmla="*/ 935 w 1014"/>
                <a:gd name="T9" fmla="*/ 1567 h 1780"/>
                <a:gd name="T10" fmla="*/ 909 w 1014"/>
                <a:gd name="T11" fmla="*/ 1505 h 1780"/>
                <a:gd name="T12" fmla="*/ 919 w 1014"/>
                <a:gd name="T13" fmla="*/ 1464 h 1780"/>
                <a:gd name="T14" fmla="*/ 985 w 1014"/>
                <a:gd name="T15" fmla="*/ 1381 h 1780"/>
                <a:gd name="T16" fmla="*/ 954 w 1014"/>
                <a:gd name="T17" fmla="*/ 1211 h 1780"/>
                <a:gd name="T18" fmla="*/ 826 w 1014"/>
                <a:gd name="T19" fmla="*/ 1195 h 1780"/>
                <a:gd name="T20" fmla="*/ 792 w 1014"/>
                <a:gd name="T21" fmla="*/ 1029 h 1780"/>
                <a:gd name="T22" fmla="*/ 739 w 1014"/>
                <a:gd name="T23" fmla="*/ 901 h 1780"/>
                <a:gd name="T24" fmla="*/ 635 w 1014"/>
                <a:gd name="T25" fmla="*/ 800 h 1780"/>
                <a:gd name="T26" fmla="*/ 591 w 1014"/>
                <a:gd name="T27" fmla="*/ 654 h 1780"/>
                <a:gd name="T28" fmla="*/ 491 w 1014"/>
                <a:gd name="T29" fmla="*/ 574 h 1780"/>
                <a:gd name="T30" fmla="*/ 405 w 1014"/>
                <a:gd name="T31" fmla="*/ 580 h 1780"/>
                <a:gd name="T32" fmla="*/ 475 w 1014"/>
                <a:gd name="T33" fmla="*/ 494 h 1780"/>
                <a:gd name="T34" fmla="*/ 517 w 1014"/>
                <a:gd name="T35" fmla="*/ 437 h 1780"/>
                <a:gd name="T36" fmla="*/ 573 w 1014"/>
                <a:gd name="T37" fmla="*/ 294 h 1780"/>
                <a:gd name="T38" fmla="*/ 506 w 1014"/>
                <a:gd name="T39" fmla="*/ 224 h 1780"/>
                <a:gd name="T40" fmla="*/ 334 w 1014"/>
                <a:gd name="T41" fmla="*/ 237 h 1780"/>
                <a:gd name="T42" fmla="*/ 312 w 1014"/>
                <a:gd name="T43" fmla="*/ 225 h 1780"/>
                <a:gd name="T44" fmla="*/ 327 w 1014"/>
                <a:gd name="T45" fmla="*/ 169 h 1780"/>
                <a:gd name="T46" fmla="*/ 430 w 1014"/>
                <a:gd name="T47" fmla="*/ 33 h 1780"/>
                <a:gd name="T48" fmla="*/ 331 w 1014"/>
                <a:gd name="T49" fmla="*/ 19 h 1780"/>
                <a:gd name="T50" fmla="*/ 226 w 1014"/>
                <a:gd name="T51" fmla="*/ 10 h 1780"/>
                <a:gd name="T52" fmla="*/ 179 w 1014"/>
                <a:gd name="T53" fmla="*/ 93 h 1780"/>
                <a:gd name="T54" fmla="*/ 174 w 1014"/>
                <a:gd name="T55" fmla="*/ 172 h 1780"/>
                <a:gd name="T56" fmla="*/ 133 w 1014"/>
                <a:gd name="T57" fmla="*/ 218 h 1780"/>
                <a:gd name="T58" fmla="*/ 155 w 1014"/>
                <a:gd name="T59" fmla="*/ 282 h 1780"/>
                <a:gd name="T60" fmla="*/ 78 w 1014"/>
                <a:gd name="T61" fmla="*/ 289 h 1780"/>
                <a:gd name="T62" fmla="*/ 19 w 1014"/>
                <a:gd name="T63" fmla="*/ 263 h 1780"/>
                <a:gd name="T64" fmla="*/ 54 w 1014"/>
                <a:gd name="T65" fmla="*/ 334 h 1780"/>
                <a:gd name="T66" fmla="*/ 95 w 1014"/>
                <a:gd name="T67" fmla="*/ 366 h 1780"/>
                <a:gd name="T68" fmla="*/ 131 w 1014"/>
                <a:gd name="T69" fmla="*/ 366 h 1780"/>
                <a:gd name="T70" fmla="*/ 109 w 1014"/>
                <a:gd name="T71" fmla="*/ 423 h 1780"/>
                <a:gd name="T72" fmla="*/ 150 w 1014"/>
                <a:gd name="T73" fmla="*/ 468 h 1780"/>
                <a:gd name="T74" fmla="*/ 141 w 1014"/>
                <a:gd name="T75" fmla="*/ 509 h 1780"/>
                <a:gd name="T76" fmla="*/ 141 w 1014"/>
                <a:gd name="T77" fmla="*/ 604 h 1780"/>
                <a:gd name="T78" fmla="*/ 171 w 1014"/>
                <a:gd name="T79" fmla="*/ 611 h 1780"/>
                <a:gd name="T80" fmla="*/ 239 w 1014"/>
                <a:gd name="T81" fmla="*/ 588 h 1780"/>
                <a:gd name="T82" fmla="*/ 233 w 1014"/>
                <a:gd name="T83" fmla="*/ 657 h 1780"/>
                <a:gd name="T84" fmla="*/ 205 w 1014"/>
                <a:gd name="T85" fmla="*/ 808 h 1780"/>
                <a:gd name="T86" fmla="*/ 238 w 1014"/>
                <a:gd name="T87" fmla="*/ 829 h 1780"/>
                <a:gd name="T88" fmla="*/ 319 w 1014"/>
                <a:gd name="T89" fmla="*/ 843 h 1780"/>
                <a:gd name="T90" fmla="*/ 439 w 1014"/>
                <a:gd name="T91" fmla="*/ 810 h 1780"/>
                <a:gd name="T92" fmla="*/ 406 w 1014"/>
                <a:gd name="T93" fmla="*/ 960 h 1780"/>
                <a:gd name="T94" fmla="*/ 456 w 1014"/>
                <a:gd name="T95" fmla="*/ 1027 h 1780"/>
                <a:gd name="T96" fmla="*/ 436 w 1014"/>
                <a:gd name="T97" fmla="*/ 1114 h 1780"/>
                <a:gd name="T98" fmla="*/ 325 w 1014"/>
                <a:gd name="T99" fmla="*/ 1154 h 1780"/>
                <a:gd name="T100" fmla="*/ 264 w 1014"/>
                <a:gd name="T101" fmla="*/ 1149 h 1780"/>
                <a:gd name="T102" fmla="*/ 264 w 1014"/>
                <a:gd name="T103" fmla="*/ 1237 h 1780"/>
                <a:gd name="T104" fmla="*/ 320 w 1014"/>
                <a:gd name="T105" fmla="*/ 1307 h 1780"/>
                <a:gd name="T106" fmla="*/ 195 w 1014"/>
                <a:gd name="T107" fmla="*/ 1409 h 1780"/>
                <a:gd name="T108" fmla="*/ 241 w 1014"/>
                <a:gd name="T109" fmla="*/ 1465 h 1780"/>
                <a:gd name="T110" fmla="*/ 356 w 1014"/>
                <a:gd name="T111" fmla="*/ 1474 h 1780"/>
                <a:gd name="T112" fmla="*/ 470 w 1014"/>
                <a:gd name="T113" fmla="*/ 1500 h 1780"/>
                <a:gd name="T114" fmla="*/ 303 w 1014"/>
                <a:gd name="T115" fmla="*/ 1558 h 1780"/>
                <a:gd name="T116" fmla="*/ 227 w 1014"/>
                <a:gd name="T117" fmla="*/ 1663 h 1780"/>
                <a:gd name="T118" fmla="*/ 133 w 1014"/>
                <a:gd name="T119" fmla="*/ 1766 h 1780"/>
                <a:gd name="T120" fmla="*/ 227 w 1014"/>
                <a:gd name="T121" fmla="*/ 1730 h 1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14" h="1780">
                  <a:moveTo>
                    <a:pt x="245" y="1710"/>
                  </a:moveTo>
                  <a:lnTo>
                    <a:pt x="260" y="1710"/>
                  </a:lnTo>
                  <a:lnTo>
                    <a:pt x="279" y="1710"/>
                  </a:lnTo>
                  <a:lnTo>
                    <a:pt x="291" y="1706"/>
                  </a:lnTo>
                  <a:lnTo>
                    <a:pt x="307" y="1710"/>
                  </a:lnTo>
                  <a:lnTo>
                    <a:pt x="313" y="1706"/>
                  </a:lnTo>
                  <a:lnTo>
                    <a:pt x="325" y="1718"/>
                  </a:lnTo>
                  <a:lnTo>
                    <a:pt x="339" y="1718"/>
                  </a:lnTo>
                  <a:lnTo>
                    <a:pt x="344" y="1728"/>
                  </a:lnTo>
                  <a:lnTo>
                    <a:pt x="360" y="1735"/>
                  </a:lnTo>
                  <a:lnTo>
                    <a:pt x="372" y="1728"/>
                  </a:lnTo>
                  <a:lnTo>
                    <a:pt x="375" y="1715"/>
                  </a:lnTo>
                  <a:lnTo>
                    <a:pt x="387" y="1710"/>
                  </a:lnTo>
                  <a:lnTo>
                    <a:pt x="391" y="1701"/>
                  </a:lnTo>
                  <a:lnTo>
                    <a:pt x="382" y="1691"/>
                  </a:lnTo>
                  <a:lnTo>
                    <a:pt x="393" y="1685"/>
                  </a:lnTo>
                  <a:lnTo>
                    <a:pt x="389" y="1673"/>
                  </a:lnTo>
                  <a:lnTo>
                    <a:pt x="406" y="1660"/>
                  </a:lnTo>
                  <a:lnTo>
                    <a:pt x="432" y="1648"/>
                  </a:lnTo>
                  <a:lnTo>
                    <a:pt x="465" y="1641"/>
                  </a:lnTo>
                  <a:lnTo>
                    <a:pt x="498" y="1651"/>
                  </a:lnTo>
                  <a:lnTo>
                    <a:pt x="508" y="1660"/>
                  </a:lnTo>
                  <a:lnTo>
                    <a:pt x="515" y="1653"/>
                  </a:lnTo>
                  <a:lnTo>
                    <a:pt x="529" y="1656"/>
                  </a:lnTo>
                  <a:lnTo>
                    <a:pt x="546" y="1656"/>
                  </a:lnTo>
                  <a:lnTo>
                    <a:pt x="561" y="1665"/>
                  </a:lnTo>
                  <a:lnTo>
                    <a:pt x="575" y="1658"/>
                  </a:lnTo>
                  <a:lnTo>
                    <a:pt x="575" y="1641"/>
                  </a:lnTo>
                  <a:lnTo>
                    <a:pt x="585" y="1632"/>
                  </a:lnTo>
                  <a:lnTo>
                    <a:pt x="606" y="1639"/>
                  </a:lnTo>
                  <a:lnTo>
                    <a:pt x="622" y="1636"/>
                  </a:lnTo>
                  <a:lnTo>
                    <a:pt x="637" y="1629"/>
                  </a:lnTo>
                  <a:lnTo>
                    <a:pt x="651" y="1627"/>
                  </a:lnTo>
                  <a:lnTo>
                    <a:pt x="649" y="1615"/>
                  </a:lnTo>
                  <a:lnTo>
                    <a:pt x="658" y="1620"/>
                  </a:lnTo>
                  <a:lnTo>
                    <a:pt x="670" y="1625"/>
                  </a:lnTo>
                  <a:lnTo>
                    <a:pt x="689" y="1629"/>
                  </a:lnTo>
                  <a:lnTo>
                    <a:pt x="702" y="1629"/>
                  </a:lnTo>
                  <a:lnTo>
                    <a:pt x="714" y="1639"/>
                  </a:lnTo>
                  <a:lnTo>
                    <a:pt x="721" y="1629"/>
                  </a:lnTo>
                  <a:lnTo>
                    <a:pt x="751" y="1624"/>
                  </a:lnTo>
                  <a:lnTo>
                    <a:pt x="770" y="1620"/>
                  </a:lnTo>
                  <a:lnTo>
                    <a:pt x="785" y="1618"/>
                  </a:lnTo>
                  <a:lnTo>
                    <a:pt x="802" y="1627"/>
                  </a:lnTo>
                  <a:lnTo>
                    <a:pt x="816" y="1629"/>
                  </a:lnTo>
                  <a:lnTo>
                    <a:pt x="835" y="1634"/>
                  </a:lnTo>
                  <a:lnTo>
                    <a:pt x="844" y="1624"/>
                  </a:lnTo>
                  <a:lnTo>
                    <a:pt x="859" y="1617"/>
                  </a:lnTo>
                  <a:lnTo>
                    <a:pt x="868" y="1610"/>
                  </a:lnTo>
                  <a:lnTo>
                    <a:pt x="887" y="1610"/>
                  </a:lnTo>
                  <a:lnTo>
                    <a:pt x="897" y="1599"/>
                  </a:lnTo>
                  <a:lnTo>
                    <a:pt x="906" y="1601"/>
                  </a:lnTo>
                  <a:lnTo>
                    <a:pt x="923" y="1599"/>
                  </a:lnTo>
                  <a:lnTo>
                    <a:pt x="918" y="1584"/>
                  </a:lnTo>
                  <a:lnTo>
                    <a:pt x="935" y="1567"/>
                  </a:lnTo>
                  <a:lnTo>
                    <a:pt x="955" y="1567"/>
                  </a:lnTo>
                  <a:lnTo>
                    <a:pt x="967" y="1562"/>
                  </a:lnTo>
                  <a:lnTo>
                    <a:pt x="976" y="1546"/>
                  </a:lnTo>
                  <a:lnTo>
                    <a:pt x="967" y="1536"/>
                  </a:lnTo>
                  <a:lnTo>
                    <a:pt x="966" y="1526"/>
                  </a:lnTo>
                  <a:lnTo>
                    <a:pt x="978" y="1519"/>
                  </a:lnTo>
                  <a:lnTo>
                    <a:pt x="973" y="1512"/>
                  </a:lnTo>
                  <a:lnTo>
                    <a:pt x="955" y="1517"/>
                  </a:lnTo>
                  <a:lnTo>
                    <a:pt x="938" y="1517"/>
                  </a:lnTo>
                  <a:lnTo>
                    <a:pt x="918" y="1519"/>
                  </a:lnTo>
                  <a:lnTo>
                    <a:pt x="909" y="1505"/>
                  </a:lnTo>
                  <a:lnTo>
                    <a:pt x="899" y="1503"/>
                  </a:lnTo>
                  <a:lnTo>
                    <a:pt x="893" y="1515"/>
                  </a:lnTo>
                  <a:lnTo>
                    <a:pt x="881" y="1508"/>
                  </a:lnTo>
                  <a:lnTo>
                    <a:pt x="887" y="1498"/>
                  </a:lnTo>
                  <a:lnTo>
                    <a:pt x="856" y="1493"/>
                  </a:lnTo>
                  <a:lnTo>
                    <a:pt x="873" y="1491"/>
                  </a:lnTo>
                  <a:lnTo>
                    <a:pt x="880" y="1483"/>
                  </a:lnTo>
                  <a:lnTo>
                    <a:pt x="897" y="1488"/>
                  </a:lnTo>
                  <a:lnTo>
                    <a:pt x="911" y="1486"/>
                  </a:lnTo>
                  <a:lnTo>
                    <a:pt x="921" y="1479"/>
                  </a:lnTo>
                  <a:lnTo>
                    <a:pt x="919" y="1464"/>
                  </a:lnTo>
                  <a:lnTo>
                    <a:pt x="918" y="1448"/>
                  </a:lnTo>
                  <a:lnTo>
                    <a:pt x="900" y="1446"/>
                  </a:lnTo>
                  <a:lnTo>
                    <a:pt x="914" y="1441"/>
                  </a:lnTo>
                  <a:lnTo>
                    <a:pt x="926" y="1433"/>
                  </a:lnTo>
                  <a:lnTo>
                    <a:pt x="933" y="1443"/>
                  </a:lnTo>
                  <a:lnTo>
                    <a:pt x="947" y="1436"/>
                  </a:lnTo>
                  <a:lnTo>
                    <a:pt x="957" y="1428"/>
                  </a:lnTo>
                  <a:lnTo>
                    <a:pt x="955" y="1415"/>
                  </a:lnTo>
                  <a:lnTo>
                    <a:pt x="959" y="1402"/>
                  </a:lnTo>
                  <a:lnTo>
                    <a:pt x="973" y="1395"/>
                  </a:lnTo>
                  <a:lnTo>
                    <a:pt x="985" y="1381"/>
                  </a:lnTo>
                  <a:lnTo>
                    <a:pt x="1000" y="1359"/>
                  </a:lnTo>
                  <a:lnTo>
                    <a:pt x="998" y="1338"/>
                  </a:lnTo>
                  <a:lnTo>
                    <a:pt x="1007" y="1328"/>
                  </a:lnTo>
                  <a:lnTo>
                    <a:pt x="1014" y="1314"/>
                  </a:lnTo>
                  <a:lnTo>
                    <a:pt x="1009" y="1304"/>
                  </a:lnTo>
                  <a:lnTo>
                    <a:pt x="1010" y="1281"/>
                  </a:lnTo>
                  <a:lnTo>
                    <a:pt x="1005" y="1262"/>
                  </a:lnTo>
                  <a:lnTo>
                    <a:pt x="1000" y="1240"/>
                  </a:lnTo>
                  <a:lnTo>
                    <a:pt x="988" y="1235"/>
                  </a:lnTo>
                  <a:lnTo>
                    <a:pt x="971" y="1221"/>
                  </a:lnTo>
                  <a:lnTo>
                    <a:pt x="954" y="1211"/>
                  </a:lnTo>
                  <a:lnTo>
                    <a:pt x="935" y="1207"/>
                  </a:lnTo>
                  <a:lnTo>
                    <a:pt x="914" y="1206"/>
                  </a:lnTo>
                  <a:lnTo>
                    <a:pt x="888" y="1206"/>
                  </a:lnTo>
                  <a:lnTo>
                    <a:pt x="866" y="1207"/>
                  </a:lnTo>
                  <a:lnTo>
                    <a:pt x="859" y="1230"/>
                  </a:lnTo>
                  <a:lnTo>
                    <a:pt x="845" y="1238"/>
                  </a:lnTo>
                  <a:lnTo>
                    <a:pt x="830" y="1238"/>
                  </a:lnTo>
                  <a:lnTo>
                    <a:pt x="826" y="1225"/>
                  </a:lnTo>
                  <a:lnTo>
                    <a:pt x="811" y="1219"/>
                  </a:lnTo>
                  <a:lnTo>
                    <a:pt x="818" y="1206"/>
                  </a:lnTo>
                  <a:lnTo>
                    <a:pt x="826" y="1195"/>
                  </a:lnTo>
                  <a:lnTo>
                    <a:pt x="840" y="1187"/>
                  </a:lnTo>
                  <a:lnTo>
                    <a:pt x="849" y="1180"/>
                  </a:lnTo>
                  <a:lnTo>
                    <a:pt x="845" y="1149"/>
                  </a:lnTo>
                  <a:lnTo>
                    <a:pt x="833" y="1121"/>
                  </a:lnTo>
                  <a:lnTo>
                    <a:pt x="823" y="1106"/>
                  </a:lnTo>
                  <a:lnTo>
                    <a:pt x="813" y="1092"/>
                  </a:lnTo>
                  <a:lnTo>
                    <a:pt x="807" y="1084"/>
                  </a:lnTo>
                  <a:lnTo>
                    <a:pt x="821" y="1075"/>
                  </a:lnTo>
                  <a:lnTo>
                    <a:pt x="816" y="1065"/>
                  </a:lnTo>
                  <a:lnTo>
                    <a:pt x="802" y="1044"/>
                  </a:lnTo>
                  <a:lnTo>
                    <a:pt x="792" y="1029"/>
                  </a:lnTo>
                  <a:lnTo>
                    <a:pt x="790" y="1013"/>
                  </a:lnTo>
                  <a:lnTo>
                    <a:pt x="783" y="1008"/>
                  </a:lnTo>
                  <a:lnTo>
                    <a:pt x="778" y="996"/>
                  </a:lnTo>
                  <a:lnTo>
                    <a:pt x="785" y="982"/>
                  </a:lnTo>
                  <a:lnTo>
                    <a:pt x="797" y="977"/>
                  </a:lnTo>
                  <a:lnTo>
                    <a:pt x="775" y="967"/>
                  </a:lnTo>
                  <a:lnTo>
                    <a:pt x="770" y="958"/>
                  </a:lnTo>
                  <a:lnTo>
                    <a:pt x="757" y="943"/>
                  </a:lnTo>
                  <a:lnTo>
                    <a:pt x="752" y="927"/>
                  </a:lnTo>
                  <a:lnTo>
                    <a:pt x="744" y="917"/>
                  </a:lnTo>
                  <a:lnTo>
                    <a:pt x="739" y="901"/>
                  </a:lnTo>
                  <a:lnTo>
                    <a:pt x="727" y="900"/>
                  </a:lnTo>
                  <a:lnTo>
                    <a:pt x="716" y="889"/>
                  </a:lnTo>
                  <a:lnTo>
                    <a:pt x="696" y="881"/>
                  </a:lnTo>
                  <a:lnTo>
                    <a:pt x="680" y="877"/>
                  </a:lnTo>
                  <a:lnTo>
                    <a:pt x="665" y="867"/>
                  </a:lnTo>
                  <a:lnTo>
                    <a:pt x="661" y="857"/>
                  </a:lnTo>
                  <a:lnTo>
                    <a:pt x="651" y="843"/>
                  </a:lnTo>
                  <a:lnTo>
                    <a:pt x="647" y="826"/>
                  </a:lnTo>
                  <a:lnTo>
                    <a:pt x="647" y="814"/>
                  </a:lnTo>
                  <a:lnTo>
                    <a:pt x="628" y="810"/>
                  </a:lnTo>
                  <a:lnTo>
                    <a:pt x="635" y="800"/>
                  </a:lnTo>
                  <a:lnTo>
                    <a:pt x="622" y="801"/>
                  </a:lnTo>
                  <a:lnTo>
                    <a:pt x="623" y="795"/>
                  </a:lnTo>
                  <a:lnTo>
                    <a:pt x="632" y="791"/>
                  </a:lnTo>
                  <a:lnTo>
                    <a:pt x="649" y="786"/>
                  </a:lnTo>
                  <a:lnTo>
                    <a:pt x="646" y="771"/>
                  </a:lnTo>
                  <a:lnTo>
                    <a:pt x="632" y="750"/>
                  </a:lnTo>
                  <a:lnTo>
                    <a:pt x="625" y="736"/>
                  </a:lnTo>
                  <a:lnTo>
                    <a:pt x="615" y="724"/>
                  </a:lnTo>
                  <a:lnTo>
                    <a:pt x="616" y="705"/>
                  </a:lnTo>
                  <a:lnTo>
                    <a:pt x="613" y="678"/>
                  </a:lnTo>
                  <a:lnTo>
                    <a:pt x="591" y="654"/>
                  </a:lnTo>
                  <a:lnTo>
                    <a:pt x="570" y="645"/>
                  </a:lnTo>
                  <a:lnTo>
                    <a:pt x="566" y="631"/>
                  </a:lnTo>
                  <a:lnTo>
                    <a:pt x="560" y="621"/>
                  </a:lnTo>
                  <a:lnTo>
                    <a:pt x="563" y="609"/>
                  </a:lnTo>
                  <a:lnTo>
                    <a:pt x="584" y="605"/>
                  </a:lnTo>
                  <a:lnTo>
                    <a:pt x="582" y="593"/>
                  </a:lnTo>
                  <a:lnTo>
                    <a:pt x="565" y="583"/>
                  </a:lnTo>
                  <a:lnTo>
                    <a:pt x="542" y="588"/>
                  </a:lnTo>
                  <a:lnTo>
                    <a:pt x="523" y="592"/>
                  </a:lnTo>
                  <a:lnTo>
                    <a:pt x="501" y="583"/>
                  </a:lnTo>
                  <a:lnTo>
                    <a:pt x="491" y="574"/>
                  </a:lnTo>
                  <a:lnTo>
                    <a:pt x="472" y="574"/>
                  </a:lnTo>
                  <a:lnTo>
                    <a:pt x="465" y="585"/>
                  </a:lnTo>
                  <a:lnTo>
                    <a:pt x="444" y="583"/>
                  </a:lnTo>
                  <a:lnTo>
                    <a:pt x="439" y="599"/>
                  </a:lnTo>
                  <a:lnTo>
                    <a:pt x="425" y="593"/>
                  </a:lnTo>
                  <a:lnTo>
                    <a:pt x="406" y="593"/>
                  </a:lnTo>
                  <a:lnTo>
                    <a:pt x="382" y="585"/>
                  </a:lnTo>
                  <a:lnTo>
                    <a:pt x="372" y="583"/>
                  </a:lnTo>
                  <a:lnTo>
                    <a:pt x="356" y="576"/>
                  </a:lnTo>
                  <a:lnTo>
                    <a:pt x="386" y="569"/>
                  </a:lnTo>
                  <a:lnTo>
                    <a:pt x="405" y="580"/>
                  </a:lnTo>
                  <a:lnTo>
                    <a:pt x="412" y="574"/>
                  </a:lnTo>
                  <a:lnTo>
                    <a:pt x="430" y="569"/>
                  </a:lnTo>
                  <a:lnTo>
                    <a:pt x="430" y="561"/>
                  </a:lnTo>
                  <a:lnTo>
                    <a:pt x="449" y="544"/>
                  </a:lnTo>
                  <a:lnTo>
                    <a:pt x="468" y="547"/>
                  </a:lnTo>
                  <a:lnTo>
                    <a:pt x="482" y="537"/>
                  </a:lnTo>
                  <a:lnTo>
                    <a:pt x="504" y="525"/>
                  </a:lnTo>
                  <a:lnTo>
                    <a:pt x="482" y="514"/>
                  </a:lnTo>
                  <a:lnTo>
                    <a:pt x="463" y="506"/>
                  </a:lnTo>
                  <a:lnTo>
                    <a:pt x="472" y="502"/>
                  </a:lnTo>
                  <a:lnTo>
                    <a:pt x="475" y="494"/>
                  </a:lnTo>
                  <a:lnTo>
                    <a:pt x="451" y="492"/>
                  </a:lnTo>
                  <a:lnTo>
                    <a:pt x="425" y="504"/>
                  </a:lnTo>
                  <a:lnTo>
                    <a:pt x="439" y="490"/>
                  </a:lnTo>
                  <a:lnTo>
                    <a:pt x="453" y="482"/>
                  </a:lnTo>
                  <a:lnTo>
                    <a:pt x="467" y="482"/>
                  </a:lnTo>
                  <a:lnTo>
                    <a:pt x="482" y="485"/>
                  </a:lnTo>
                  <a:lnTo>
                    <a:pt x="496" y="471"/>
                  </a:lnTo>
                  <a:lnTo>
                    <a:pt x="503" y="464"/>
                  </a:lnTo>
                  <a:lnTo>
                    <a:pt x="510" y="452"/>
                  </a:lnTo>
                  <a:lnTo>
                    <a:pt x="508" y="442"/>
                  </a:lnTo>
                  <a:lnTo>
                    <a:pt x="517" y="437"/>
                  </a:lnTo>
                  <a:lnTo>
                    <a:pt x="515" y="427"/>
                  </a:lnTo>
                  <a:lnTo>
                    <a:pt x="523" y="418"/>
                  </a:lnTo>
                  <a:lnTo>
                    <a:pt x="539" y="404"/>
                  </a:lnTo>
                  <a:lnTo>
                    <a:pt x="549" y="396"/>
                  </a:lnTo>
                  <a:lnTo>
                    <a:pt x="548" y="380"/>
                  </a:lnTo>
                  <a:lnTo>
                    <a:pt x="549" y="366"/>
                  </a:lnTo>
                  <a:lnTo>
                    <a:pt x="554" y="353"/>
                  </a:lnTo>
                  <a:lnTo>
                    <a:pt x="553" y="330"/>
                  </a:lnTo>
                  <a:lnTo>
                    <a:pt x="566" y="322"/>
                  </a:lnTo>
                  <a:lnTo>
                    <a:pt x="566" y="306"/>
                  </a:lnTo>
                  <a:lnTo>
                    <a:pt x="573" y="294"/>
                  </a:lnTo>
                  <a:lnTo>
                    <a:pt x="589" y="277"/>
                  </a:lnTo>
                  <a:lnTo>
                    <a:pt x="568" y="277"/>
                  </a:lnTo>
                  <a:lnTo>
                    <a:pt x="592" y="263"/>
                  </a:lnTo>
                  <a:lnTo>
                    <a:pt x="589" y="243"/>
                  </a:lnTo>
                  <a:lnTo>
                    <a:pt x="582" y="230"/>
                  </a:lnTo>
                  <a:lnTo>
                    <a:pt x="572" y="220"/>
                  </a:lnTo>
                  <a:lnTo>
                    <a:pt x="554" y="215"/>
                  </a:lnTo>
                  <a:lnTo>
                    <a:pt x="542" y="220"/>
                  </a:lnTo>
                  <a:lnTo>
                    <a:pt x="530" y="217"/>
                  </a:lnTo>
                  <a:lnTo>
                    <a:pt x="523" y="225"/>
                  </a:lnTo>
                  <a:lnTo>
                    <a:pt x="506" y="224"/>
                  </a:lnTo>
                  <a:lnTo>
                    <a:pt x="496" y="220"/>
                  </a:lnTo>
                  <a:lnTo>
                    <a:pt x="479" y="222"/>
                  </a:lnTo>
                  <a:lnTo>
                    <a:pt x="463" y="217"/>
                  </a:lnTo>
                  <a:lnTo>
                    <a:pt x="446" y="225"/>
                  </a:lnTo>
                  <a:lnTo>
                    <a:pt x="434" y="220"/>
                  </a:lnTo>
                  <a:lnTo>
                    <a:pt x="412" y="213"/>
                  </a:lnTo>
                  <a:lnTo>
                    <a:pt x="393" y="218"/>
                  </a:lnTo>
                  <a:lnTo>
                    <a:pt x="384" y="227"/>
                  </a:lnTo>
                  <a:lnTo>
                    <a:pt x="365" y="225"/>
                  </a:lnTo>
                  <a:lnTo>
                    <a:pt x="348" y="243"/>
                  </a:lnTo>
                  <a:lnTo>
                    <a:pt x="334" y="237"/>
                  </a:lnTo>
                  <a:lnTo>
                    <a:pt x="325" y="239"/>
                  </a:lnTo>
                  <a:lnTo>
                    <a:pt x="327" y="255"/>
                  </a:lnTo>
                  <a:lnTo>
                    <a:pt x="317" y="258"/>
                  </a:lnTo>
                  <a:lnTo>
                    <a:pt x="303" y="265"/>
                  </a:lnTo>
                  <a:lnTo>
                    <a:pt x="284" y="263"/>
                  </a:lnTo>
                  <a:lnTo>
                    <a:pt x="305" y="258"/>
                  </a:lnTo>
                  <a:lnTo>
                    <a:pt x="312" y="249"/>
                  </a:lnTo>
                  <a:lnTo>
                    <a:pt x="320" y="249"/>
                  </a:lnTo>
                  <a:lnTo>
                    <a:pt x="319" y="237"/>
                  </a:lnTo>
                  <a:lnTo>
                    <a:pt x="331" y="225"/>
                  </a:lnTo>
                  <a:lnTo>
                    <a:pt x="312" y="225"/>
                  </a:lnTo>
                  <a:lnTo>
                    <a:pt x="331" y="212"/>
                  </a:lnTo>
                  <a:lnTo>
                    <a:pt x="336" y="218"/>
                  </a:lnTo>
                  <a:lnTo>
                    <a:pt x="350" y="198"/>
                  </a:lnTo>
                  <a:lnTo>
                    <a:pt x="360" y="187"/>
                  </a:lnTo>
                  <a:lnTo>
                    <a:pt x="355" y="182"/>
                  </a:lnTo>
                  <a:lnTo>
                    <a:pt x="343" y="189"/>
                  </a:lnTo>
                  <a:lnTo>
                    <a:pt x="336" y="186"/>
                  </a:lnTo>
                  <a:lnTo>
                    <a:pt x="325" y="196"/>
                  </a:lnTo>
                  <a:lnTo>
                    <a:pt x="320" y="182"/>
                  </a:lnTo>
                  <a:lnTo>
                    <a:pt x="329" y="179"/>
                  </a:lnTo>
                  <a:lnTo>
                    <a:pt x="327" y="169"/>
                  </a:lnTo>
                  <a:lnTo>
                    <a:pt x="331" y="157"/>
                  </a:lnTo>
                  <a:lnTo>
                    <a:pt x="350" y="146"/>
                  </a:lnTo>
                  <a:lnTo>
                    <a:pt x="355" y="136"/>
                  </a:lnTo>
                  <a:lnTo>
                    <a:pt x="382" y="115"/>
                  </a:lnTo>
                  <a:lnTo>
                    <a:pt x="396" y="98"/>
                  </a:lnTo>
                  <a:lnTo>
                    <a:pt x="406" y="83"/>
                  </a:lnTo>
                  <a:lnTo>
                    <a:pt x="422" y="83"/>
                  </a:lnTo>
                  <a:lnTo>
                    <a:pt x="434" y="76"/>
                  </a:lnTo>
                  <a:lnTo>
                    <a:pt x="439" y="60"/>
                  </a:lnTo>
                  <a:lnTo>
                    <a:pt x="441" y="46"/>
                  </a:lnTo>
                  <a:lnTo>
                    <a:pt x="430" y="33"/>
                  </a:lnTo>
                  <a:lnTo>
                    <a:pt x="439" y="19"/>
                  </a:lnTo>
                  <a:lnTo>
                    <a:pt x="444" y="5"/>
                  </a:lnTo>
                  <a:lnTo>
                    <a:pt x="430" y="0"/>
                  </a:lnTo>
                  <a:lnTo>
                    <a:pt x="412" y="3"/>
                  </a:lnTo>
                  <a:lnTo>
                    <a:pt x="403" y="3"/>
                  </a:lnTo>
                  <a:lnTo>
                    <a:pt x="401" y="19"/>
                  </a:lnTo>
                  <a:lnTo>
                    <a:pt x="393" y="10"/>
                  </a:lnTo>
                  <a:lnTo>
                    <a:pt x="369" y="9"/>
                  </a:lnTo>
                  <a:lnTo>
                    <a:pt x="362" y="22"/>
                  </a:lnTo>
                  <a:lnTo>
                    <a:pt x="346" y="22"/>
                  </a:lnTo>
                  <a:lnTo>
                    <a:pt x="331" y="19"/>
                  </a:lnTo>
                  <a:lnTo>
                    <a:pt x="307" y="28"/>
                  </a:lnTo>
                  <a:lnTo>
                    <a:pt x="291" y="29"/>
                  </a:lnTo>
                  <a:lnTo>
                    <a:pt x="279" y="40"/>
                  </a:lnTo>
                  <a:lnTo>
                    <a:pt x="277" y="26"/>
                  </a:lnTo>
                  <a:lnTo>
                    <a:pt x="258" y="22"/>
                  </a:lnTo>
                  <a:lnTo>
                    <a:pt x="258" y="36"/>
                  </a:lnTo>
                  <a:lnTo>
                    <a:pt x="243" y="43"/>
                  </a:lnTo>
                  <a:lnTo>
                    <a:pt x="250" y="28"/>
                  </a:lnTo>
                  <a:lnTo>
                    <a:pt x="241" y="21"/>
                  </a:lnTo>
                  <a:lnTo>
                    <a:pt x="233" y="22"/>
                  </a:lnTo>
                  <a:lnTo>
                    <a:pt x="226" y="10"/>
                  </a:lnTo>
                  <a:lnTo>
                    <a:pt x="214" y="10"/>
                  </a:lnTo>
                  <a:lnTo>
                    <a:pt x="208" y="29"/>
                  </a:lnTo>
                  <a:lnTo>
                    <a:pt x="198" y="33"/>
                  </a:lnTo>
                  <a:lnTo>
                    <a:pt x="196" y="38"/>
                  </a:lnTo>
                  <a:lnTo>
                    <a:pt x="214" y="46"/>
                  </a:lnTo>
                  <a:lnTo>
                    <a:pt x="203" y="52"/>
                  </a:lnTo>
                  <a:lnTo>
                    <a:pt x="193" y="59"/>
                  </a:lnTo>
                  <a:lnTo>
                    <a:pt x="191" y="74"/>
                  </a:lnTo>
                  <a:lnTo>
                    <a:pt x="198" y="89"/>
                  </a:lnTo>
                  <a:lnTo>
                    <a:pt x="195" y="98"/>
                  </a:lnTo>
                  <a:lnTo>
                    <a:pt x="179" y="93"/>
                  </a:lnTo>
                  <a:lnTo>
                    <a:pt x="165" y="93"/>
                  </a:lnTo>
                  <a:lnTo>
                    <a:pt x="169" y="103"/>
                  </a:lnTo>
                  <a:lnTo>
                    <a:pt x="183" y="117"/>
                  </a:lnTo>
                  <a:lnTo>
                    <a:pt x="179" y="126"/>
                  </a:lnTo>
                  <a:lnTo>
                    <a:pt x="176" y="136"/>
                  </a:lnTo>
                  <a:lnTo>
                    <a:pt x="157" y="129"/>
                  </a:lnTo>
                  <a:lnTo>
                    <a:pt x="162" y="143"/>
                  </a:lnTo>
                  <a:lnTo>
                    <a:pt x="174" y="155"/>
                  </a:lnTo>
                  <a:lnTo>
                    <a:pt x="190" y="160"/>
                  </a:lnTo>
                  <a:lnTo>
                    <a:pt x="190" y="170"/>
                  </a:lnTo>
                  <a:lnTo>
                    <a:pt x="174" y="172"/>
                  </a:lnTo>
                  <a:lnTo>
                    <a:pt x="162" y="174"/>
                  </a:lnTo>
                  <a:lnTo>
                    <a:pt x="160" y="184"/>
                  </a:lnTo>
                  <a:lnTo>
                    <a:pt x="148" y="179"/>
                  </a:lnTo>
                  <a:lnTo>
                    <a:pt x="145" y="170"/>
                  </a:lnTo>
                  <a:lnTo>
                    <a:pt x="136" y="170"/>
                  </a:lnTo>
                  <a:lnTo>
                    <a:pt x="140" y="193"/>
                  </a:lnTo>
                  <a:lnTo>
                    <a:pt x="122" y="179"/>
                  </a:lnTo>
                  <a:lnTo>
                    <a:pt x="114" y="186"/>
                  </a:lnTo>
                  <a:lnTo>
                    <a:pt x="114" y="208"/>
                  </a:lnTo>
                  <a:lnTo>
                    <a:pt x="131" y="212"/>
                  </a:lnTo>
                  <a:lnTo>
                    <a:pt x="133" y="218"/>
                  </a:lnTo>
                  <a:lnTo>
                    <a:pt x="119" y="218"/>
                  </a:lnTo>
                  <a:lnTo>
                    <a:pt x="114" y="229"/>
                  </a:lnTo>
                  <a:lnTo>
                    <a:pt x="129" y="249"/>
                  </a:lnTo>
                  <a:lnTo>
                    <a:pt x="145" y="255"/>
                  </a:lnTo>
                  <a:lnTo>
                    <a:pt x="128" y="255"/>
                  </a:lnTo>
                  <a:lnTo>
                    <a:pt x="112" y="246"/>
                  </a:lnTo>
                  <a:lnTo>
                    <a:pt x="109" y="273"/>
                  </a:lnTo>
                  <a:lnTo>
                    <a:pt x="112" y="286"/>
                  </a:lnTo>
                  <a:lnTo>
                    <a:pt x="117" y="298"/>
                  </a:lnTo>
                  <a:lnTo>
                    <a:pt x="138" y="284"/>
                  </a:lnTo>
                  <a:lnTo>
                    <a:pt x="155" y="282"/>
                  </a:lnTo>
                  <a:lnTo>
                    <a:pt x="138" y="296"/>
                  </a:lnTo>
                  <a:lnTo>
                    <a:pt x="124" y="306"/>
                  </a:lnTo>
                  <a:lnTo>
                    <a:pt x="114" y="318"/>
                  </a:lnTo>
                  <a:lnTo>
                    <a:pt x="103" y="316"/>
                  </a:lnTo>
                  <a:lnTo>
                    <a:pt x="100" y="304"/>
                  </a:lnTo>
                  <a:lnTo>
                    <a:pt x="93" y="301"/>
                  </a:lnTo>
                  <a:lnTo>
                    <a:pt x="95" y="292"/>
                  </a:lnTo>
                  <a:lnTo>
                    <a:pt x="91" y="280"/>
                  </a:lnTo>
                  <a:lnTo>
                    <a:pt x="97" y="263"/>
                  </a:lnTo>
                  <a:lnTo>
                    <a:pt x="86" y="270"/>
                  </a:lnTo>
                  <a:lnTo>
                    <a:pt x="78" y="289"/>
                  </a:lnTo>
                  <a:lnTo>
                    <a:pt x="76" y="268"/>
                  </a:lnTo>
                  <a:lnTo>
                    <a:pt x="78" y="249"/>
                  </a:lnTo>
                  <a:lnTo>
                    <a:pt x="66" y="229"/>
                  </a:lnTo>
                  <a:lnTo>
                    <a:pt x="52" y="217"/>
                  </a:lnTo>
                  <a:lnTo>
                    <a:pt x="43" y="229"/>
                  </a:lnTo>
                  <a:lnTo>
                    <a:pt x="48" y="256"/>
                  </a:lnTo>
                  <a:lnTo>
                    <a:pt x="36" y="258"/>
                  </a:lnTo>
                  <a:lnTo>
                    <a:pt x="19" y="239"/>
                  </a:lnTo>
                  <a:lnTo>
                    <a:pt x="17" y="251"/>
                  </a:lnTo>
                  <a:lnTo>
                    <a:pt x="24" y="261"/>
                  </a:lnTo>
                  <a:lnTo>
                    <a:pt x="19" y="263"/>
                  </a:lnTo>
                  <a:lnTo>
                    <a:pt x="23" y="277"/>
                  </a:lnTo>
                  <a:lnTo>
                    <a:pt x="5" y="260"/>
                  </a:lnTo>
                  <a:lnTo>
                    <a:pt x="0" y="272"/>
                  </a:lnTo>
                  <a:lnTo>
                    <a:pt x="7" y="291"/>
                  </a:lnTo>
                  <a:lnTo>
                    <a:pt x="24" y="298"/>
                  </a:lnTo>
                  <a:lnTo>
                    <a:pt x="24" y="287"/>
                  </a:lnTo>
                  <a:lnTo>
                    <a:pt x="35" y="286"/>
                  </a:lnTo>
                  <a:lnTo>
                    <a:pt x="41" y="296"/>
                  </a:lnTo>
                  <a:lnTo>
                    <a:pt x="33" y="303"/>
                  </a:lnTo>
                  <a:lnTo>
                    <a:pt x="38" y="320"/>
                  </a:lnTo>
                  <a:lnTo>
                    <a:pt x="54" y="334"/>
                  </a:lnTo>
                  <a:lnTo>
                    <a:pt x="67" y="344"/>
                  </a:lnTo>
                  <a:lnTo>
                    <a:pt x="71" y="330"/>
                  </a:lnTo>
                  <a:lnTo>
                    <a:pt x="78" y="329"/>
                  </a:lnTo>
                  <a:lnTo>
                    <a:pt x="78" y="344"/>
                  </a:lnTo>
                  <a:lnTo>
                    <a:pt x="86" y="344"/>
                  </a:lnTo>
                  <a:lnTo>
                    <a:pt x="90" y="329"/>
                  </a:lnTo>
                  <a:lnTo>
                    <a:pt x="95" y="335"/>
                  </a:lnTo>
                  <a:lnTo>
                    <a:pt x="105" y="334"/>
                  </a:lnTo>
                  <a:lnTo>
                    <a:pt x="95" y="346"/>
                  </a:lnTo>
                  <a:lnTo>
                    <a:pt x="90" y="361"/>
                  </a:lnTo>
                  <a:lnTo>
                    <a:pt x="95" y="366"/>
                  </a:lnTo>
                  <a:lnTo>
                    <a:pt x="110" y="353"/>
                  </a:lnTo>
                  <a:lnTo>
                    <a:pt x="115" y="337"/>
                  </a:lnTo>
                  <a:lnTo>
                    <a:pt x="128" y="325"/>
                  </a:lnTo>
                  <a:lnTo>
                    <a:pt x="138" y="329"/>
                  </a:lnTo>
                  <a:lnTo>
                    <a:pt x="126" y="339"/>
                  </a:lnTo>
                  <a:lnTo>
                    <a:pt x="146" y="339"/>
                  </a:lnTo>
                  <a:lnTo>
                    <a:pt x="152" y="353"/>
                  </a:lnTo>
                  <a:lnTo>
                    <a:pt x="141" y="344"/>
                  </a:lnTo>
                  <a:lnTo>
                    <a:pt x="126" y="344"/>
                  </a:lnTo>
                  <a:lnTo>
                    <a:pt x="119" y="363"/>
                  </a:lnTo>
                  <a:lnTo>
                    <a:pt x="131" y="366"/>
                  </a:lnTo>
                  <a:lnTo>
                    <a:pt x="134" y="382"/>
                  </a:lnTo>
                  <a:lnTo>
                    <a:pt x="124" y="372"/>
                  </a:lnTo>
                  <a:lnTo>
                    <a:pt x="110" y="366"/>
                  </a:lnTo>
                  <a:lnTo>
                    <a:pt x="109" y="377"/>
                  </a:lnTo>
                  <a:lnTo>
                    <a:pt x="122" y="384"/>
                  </a:lnTo>
                  <a:lnTo>
                    <a:pt x="109" y="385"/>
                  </a:lnTo>
                  <a:lnTo>
                    <a:pt x="105" y="396"/>
                  </a:lnTo>
                  <a:lnTo>
                    <a:pt x="122" y="397"/>
                  </a:lnTo>
                  <a:lnTo>
                    <a:pt x="121" y="404"/>
                  </a:lnTo>
                  <a:lnTo>
                    <a:pt x="107" y="411"/>
                  </a:lnTo>
                  <a:lnTo>
                    <a:pt x="109" y="423"/>
                  </a:lnTo>
                  <a:lnTo>
                    <a:pt x="95" y="418"/>
                  </a:lnTo>
                  <a:lnTo>
                    <a:pt x="71" y="425"/>
                  </a:lnTo>
                  <a:lnTo>
                    <a:pt x="71" y="437"/>
                  </a:lnTo>
                  <a:lnTo>
                    <a:pt x="90" y="440"/>
                  </a:lnTo>
                  <a:lnTo>
                    <a:pt x="109" y="440"/>
                  </a:lnTo>
                  <a:lnTo>
                    <a:pt x="124" y="435"/>
                  </a:lnTo>
                  <a:lnTo>
                    <a:pt x="107" y="447"/>
                  </a:lnTo>
                  <a:lnTo>
                    <a:pt x="90" y="449"/>
                  </a:lnTo>
                  <a:lnTo>
                    <a:pt x="105" y="466"/>
                  </a:lnTo>
                  <a:lnTo>
                    <a:pt x="136" y="476"/>
                  </a:lnTo>
                  <a:lnTo>
                    <a:pt x="150" y="468"/>
                  </a:lnTo>
                  <a:lnTo>
                    <a:pt x="157" y="452"/>
                  </a:lnTo>
                  <a:lnTo>
                    <a:pt x="169" y="439"/>
                  </a:lnTo>
                  <a:lnTo>
                    <a:pt x="183" y="428"/>
                  </a:lnTo>
                  <a:lnTo>
                    <a:pt x="186" y="437"/>
                  </a:lnTo>
                  <a:lnTo>
                    <a:pt x="176" y="442"/>
                  </a:lnTo>
                  <a:lnTo>
                    <a:pt x="174" y="452"/>
                  </a:lnTo>
                  <a:lnTo>
                    <a:pt x="165" y="463"/>
                  </a:lnTo>
                  <a:lnTo>
                    <a:pt x="157" y="478"/>
                  </a:lnTo>
                  <a:lnTo>
                    <a:pt x="165" y="487"/>
                  </a:lnTo>
                  <a:lnTo>
                    <a:pt x="148" y="495"/>
                  </a:lnTo>
                  <a:lnTo>
                    <a:pt x="141" y="509"/>
                  </a:lnTo>
                  <a:lnTo>
                    <a:pt x="134" y="518"/>
                  </a:lnTo>
                  <a:lnTo>
                    <a:pt x="131" y="530"/>
                  </a:lnTo>
                  <a:lnTo>
                    <a:pt x="134" y="544"/>
                  </a:lnTo>
                  <a:lnTo>
                    <a:pt x="146" y="537"/>
                  </a:lnTo>
                  <a:lnTo>
                    <a:pt x="138" y="554"/>
                  </a:lnTo>
                  <a:lnTo>
                    <a:pt x="146" y="552"/>
                  </a:lnTo>
                  <a:lnTo>
                    <a:pt x="146" y="566"/>
                  </a:lnTo>
                  <a:lnTo>
                    <a:pt x="138" y="571"/>
                  </a:lnTo>
                  <a:lnTo>
                    <a:pt x="128" y="592"/>
                  </a:lnTo>
                  <a:lnTo>
                    <a:pt x="131" y="607"/>
                  </a:lnTo>
                  <a:lnTo>
                    <a:pt x="141" y="604"/>
                  </a:lnTo>
                  <a:lnTo>
                    <a:pt x="129" y="631"/>
                  </a:lnTo>
                  <a:lnTo>
                    <a:pt x="143" y="635"/>
                  </a:lnTo>
                  <a:lnTo>
                    <a:pt x="160" y="612"/>
                  </a:lnTo>
                  <a:lnTo>
                    <a:pt x="157" y="593"/>
                  </a:lnTo>
                  <a:lnTo>
                    <a:pt x="160" y="578"/>
                  </a:lnTo>
                  <a:lnTo>
                    <a:pt x="171" y="580"/>
                  </a:lnTo>
                  <a:lnTo>
                    <a:pt x="179" y="568"/>
                  </a:lnTo>
                  <a:lnTo>
                    <a:pt x="190" y="561"/>
                  </a:lnTo>
                  <a:lnTo>
                    <a:pt x="174" y="583"/>
                  </a:lnTo>
                  <a:lnTo>
                    <a:pt x="171" y="597"/>
                  </a:lnTo>
                  <a:lnTo>
                    <a:pt x="171" y="611"/>
                  </a:lnTo>
                  <a:lnTo>
                    <a:pt x="184" y="616"/>
                  </a:lnTo>
                  <a:lnTo>
                    <a:pt x="195" y="621"/>
                  </a:lnTo>
                  <a:lnTo>
                    <a:pt x="198" y="635"/>
                  </a:lnTo>
                  <a:lnTo>
                    <a:pt x="210" y="642"/>
                  </a:lnTo>
                  <a:lnTo>
                    <a:pt x="212" y="624"/>
                  </a:lnTo>
                  <a:lnTo>
                    <a:pt x="203" y="619"/>
                  </a:lnTo>
                  <a:lnTo>
                    <a:pt x="210" y="614"/>
                  </a:lnTo>
                  <a:lnTo>
                    <a:pt x="220" y="597"/>
                  </a:lnTo>
                  <a:lnTo>
                    <a:pt x="222" y="583"/>
                  </a:lnTo>
                  <a:lnTo>
                    <a:pt x="231" y="590"/>
                  </a:lnTo>
                  <a:lnTo>
                    <a:pt x="239" y="588"/>
                  </a:lnTo>
                  <a:lnTo>
                    <a:pt x="238" y="578"/>
                  </a:lnTo>
                  <a:lnTo>
                    <a:pt x="250" y="597"/>
                  </a:lnTo>
                  <a:lnTo>
                    <a:pt x="265" y="599"/>
                  </a:lnTo>
                  <a:lnTo>
                    <a:pt x="276" y="616"/>
                  </a:lnTo>
                  <a:lnTo>
                    <a:pt x="262" y="602"/>
                  </a:lnTo>
                  <a:lnTo>
                    <a:pt x="234" y="599"/>
                  </a:lnTo>
                  <a:lnTo>
                    <a:pt x="227" y="605"/>
                  </a:lnTo>
                  <a:lnTo>
                    <a:pt x="226" y="621"/>
                  </a:lnTo>
                  <a:lnTo>
                    <a:pt x="231" y="636"/>
                  </a:lnTo>
                  <a:lnTo>
                    <a:pt x="226" y="648"/>
                  </a:lnTo>
                  <a:lnTo>
                    <a:pt x="233" y="657"/>
                  </a:lnTo>
                  <a:lnTo>
                    <a:pt x="251" y="671"/>
                  </a:lnTo>
                  <a:lnTo>
                    <a:pt x="255" y="688"/>
                  </a:lnTo>
                  <a:lnTo>
                    <a:pt x="255" y="705"/>
                  </a:lnTo>
                  <a:lnTo>
                    <a:pt x="239" y="710"/>
                  </a:lnTo>
                  <a:lnTo>
                    <a:pt x="239" y="721"/>
                  </a:lnTo>
                  <a:lnTo>
                    <a:pt x="227" y="726"/>
                  </a:lnTo>
                  <a:lnTo>
                    <a:pt x="231" y="743"/>
                  </a:lnTo>
                  <a:lnTo>
                    <a:pt x="217" y="762"/>
                  </a:lnTo>
                  <a:lnTo>
                    <a:pt x="205" y="786"/>
                  </a:lnTo>
                  <a:lnTo>
                    <a:pt x="214" y="808"/>
                  </a:lnTo>
                  <a:lnTo>
                    <a:pt x="205" y="808"/>
                  </a:lnTo>
                  <a:lnTo>
                    <a:pt x="195" y="791"/>
                  </a:lnTo>
                  <a:lnTo>
                    <a:pt x="186" y="798"/>
                  </a:lnTo>
                  <a:lnTo>
                    <a:pt x="188" y="815"/>
                  </a:lnTo>
                  <a:lnTo>
                    <a:pt x="195" y="829"/>
                  </a:lnTo>
                  <a:lnTo>
                    <a:pt x="210" y="846"/>
                  </a:lnTo>
                  <a:lnTo>
                    <a:pt x="214" y="862"/>
                  </a:lnTo>
                  <a:lnTo>
                    <a:pt x="226" y="870"/>
                  </a:lnTo>
                  <a:lnTo>
                    <a:pt x="224" y="850"/>
                  </a:lnTo>
                  <a:lnTo>
                    <a:pt x="219" y="834"/>
                  </a:lnTo>
                  <a:lnTo>
                    <a:pt x="227" y="827"/>
                  </a:lnTo>
                  <a:lnTo>
                    <a:pt x="238" y="829"/>
                  </a:lnTo>
                  <a:lnTo>
                    <a:pt x="255" y="838"/>
                  </a:lnTo>
                  <a:lnTo>
                    <a:pt x="260" y="850"/>
                  </a:lnTo>
                  <a:lnTo>
                    <a:pt x="277" y="862"/>
                  </a:lnTo>
                  <a:lnTo>
                    <a:pt x="288" y="858"/>
                  </a:lnTo>
                  <a:lnTo>
                    <a:pt x="289" y="838"/>
                  </a:lnTo>
                  <a:lnTo>
                    <a:pt x="282" y="829"/>
                  </a:lnTo>
                  <a:lnTo>
                    <a:pt x="282" y="819"/>
                  </a:lnTo>
                  <a:lnTo>
                    <a:pt x="293" y="827"/>
                  </a:lnTo>
                  <a:lnTo>
                    <a:pt x="305" y="829"/>
                  </a:lnTo>
                  <a:lnTo>
                    <a:pt x="307" y="836"/>
                  </a:lnTo>
                  <a:lnTo>
                    <a:pt x="319" y="843"/>
                  </a:lnTo>
                  <a:lnTo>
                    <a:pt x="336" y="843"/>
                  </a:lnTo>
                  <a:lnTo>
                    <a:pt x="350" y="832"/>
                  </a:lnTo>
                  <a:lnTo>
                    <a:pt x="358" y="824"/>
                  </a:lnTo>
                  <a:lnTo>
                    <a:pt x="365" y="819"/>
                  </a:lnTo>
                  <a:lnTo>
                    <a:pt x="375" y="822"/>
                  </a:lnTo>
                  <a:lnTo>
                    <a:pt x="384" y="815"/>
                  </a:lnTo>
                  <a:lnTo>
                    <a:pt x="377" y="803"/>
                  </a:lnTo>
                  <a:lnTo>
                    <a:pt x="396" y="800"/>
                  </a:lnTo>
                  <a:lnTo>
                    <a:pt x="425" y="803"/>
                  </a:lnTo>
                  <a:lnTo>
                    <a:pt x="439" y="803"/>
                  </a:lnTo>
                  <a:lnTo>
                    <a:pt x="439" y="810"/>
                  </a:lnTo>
                  <a:lnTo>
                    <a:pt x="420" y="810"/>
                  </a:lnTo>
                  <a:lnTo>
                    <a:pt x="412" y="819"/>
                  </a:lnTo>
                  <a:lnTo>
                    <a:pt x="401" y="824"/>
                  </a:lnTo>
                  <a:lnTo>
                    <a:pt x="401" y="843"/>
                  </a:lnTo>
                  <a:lnTo>
                    <a:pt x="393" y="857"/>
                  </a:lnTo>
                  <a:lnTo>
                    <a:pt x="381" y="872"/>
                  </a:lnTo>
                  <a:lnTo>
                    <a:pt x="377" y="894"/>
                  </a:lnTo>
                  <a:lnTo>
                    <a:pt x="386" y="908"/>
                  </a:lnTo>
                  <a:lnTo>
                    <a:pt x="396" y="922"/>
                  </a:lnTo>
                  <a:lnTo>
                    <a:pt x="398" y="941"/>
                  </a:lnTo>
                  <a:lnTo>
                    <a:pt x="406" y="960"/>
                  </a:lnTo>
                  <a:lnTo>
                    <a:pt x="420" y="965"/>
                  </a:lnTo>
                  <a:lnTo>
                    <a:pt x="415" y="977"/>
                  </a:lnTo>
                  <a:lnTo>
                    <a:pt x="425" y="986"/>
                  </a:lnTo>
                  <a:lnTo>
                    <a:pt x="437" y="973"/>
                  </a:lnTo>
                  <a:lnTo>
                    <a:pt x="444" y="960"/>
                  </a:lnTo>
                  <a:lnTo>
                    <a:pt x="449" y="972"/>
                  </a:lnTo>
                  <a:lnTo>
                    <a:pt x="463" y="963"/>
                  </a:lnTo>
                  <a:lnTo>
                    <a:pt x="472" y="984"/>
                  </a:lnTo>
                  <a:lnTo>
                    <a:pt x="465" y="992"/>
                  </a:lnTo>
                  <a:lnTo>
                    <a:pt x="458" y="1001"/>
                  </a:lnTo>
                  <a:lnTo>
                    <a:pt x="456" y="1027"/>
                  </a:lnTo>
                  <a:lnTo>
                    <a:pt x="456" y="1035"/>
                  </a:lnTo>
                  <a:lnTo>
                    <a:pt x="444" y="1046"/>
                  </a:lnTo>
                  <a:lnTo>
                    <a:pt x="448" y="1053"/>
                  </a:lnTo>
                  <a:lnTo>
                    <a:pt x="463" y="1054"/>
                  </a:lnTo>
                  <a:lnTo>
                    <a:pt x="451" y="1059"/>
                  </a:lnTo>
                  <a:lnTo>
                    <a:pt x="444" y="1070"/>
                  </a:lnTo>
                  <a:lnTo>
                    <a:pt x="439" y="1084"/>
                  </a:lnTo>
                  <a:lnTo>
                    <a:pt x="444" y="1099"/>
                  </a:lnTo>
                  <a:lnTo>
                    <a:pt x="458" y="1111"/>
                  </a:lnTo>
                  <a:lnTo>
                    <a:pt x="448" y="1121"/>
                  </a:lnTo>
                  <a:lnTo>
                    <a:pt x="436" y="1114"/>
                  </a:lnTo>
                  <a:lnTo>
                    <a:pt x="425" y="1121"/>
                  </a:lnTo>
                  <a:lnTo>
                    <a:pt x="430" y="1132"/>
                  </a:lnTo>
                  <a:lnTo>
                    <a:pt x="437" y="1147"/>
                  </a:lnTo>
                  <a:lnTo>
                    <a:pt x="420" y="1142"/>
                  </a:lnTo>
                  <a:lnTo>
                    <a:pt x="412" y="1132"/>
                  </a:lnTo>
                  <a:lnTo>
                    <a:pt x="391" y="1132"/>
                  </a:lnTo>
                  <a:lnTo>
                    <a:pt x="381" y="1142"/>
                  </a:lnTo>
                  <a:lnTo>
                    <a:pt x="367" y="1142"/>
                  </a:lnTo>
                  <a:lnTo>
                    <a:pt x="346" y="1132"/>
                  </a:lnTo>
                  <a:lnTo>
                    <a:pt x="346" y="1144"/>
                  </a:lnTo>
                  <a:lnTo>
                    <a:pt x="325" y="1154"/>
                  </a:lnTo>
                  <a:lnTo>
                    <a:pt x="317" y="1152"/>
                  </a:lnTo>
                  <a:lnTo>
                    <a:pt x="325" y="1144"/>
                  </a:lnTo>
                  <a:lnTo>
                    <a:pt x="312" y="1140"/>
                  </a:lnTo>
                  <a:lnTo>
                    <a:pt x="307" y="1142"/>
                  </a:lnTo>
                  <a:lnTo>
                    <a:pt x="303" y="1130"/>
                  </a:lnTo>
                  <a:lnTo>
                    <a:pt x="296" y="1118"/>
                  </a:lnTo>
                  <a:lnTo>
                    <a:pt x="282" y="1116"/>
                  </a:lnTo>
                  <a:lnTo>
                    <a:pt x="260" y="1120"/>
                  </a:lnTo>
                  <a:lnTo>
                    <a:pt x="264" y="1140"/>
                  </a:lnTo>
                  <a:lnTo>
                    <a:pt x="250" y="1139"/>
                  </a:lnTo>
                  <a:lnTo>
                    <a:pt x="264" y="1149"/>
                  </a:lnTo>
                  <a:lnTo>
                    <a:pt x="269" y="1161"/>
                  </a:lnTo>
                  <a:lnTo>
                    <a:pt x="279" y="1168"/>
                  </a:lnTo>
                  <a:lnTo>
                    <a:pt x="289" y="1175"/>
                  </a:lnTo>
                  <a:lnTo>
                    <a:pt x="293" y="1187"/>
                  </a:lnTo>
                  <a:lnTo>
                    <a:pt x="284" y="1199"/>
                  </a:lnTo>
                  <a:lnTo>
                    <a:pt x="269" y="1213"/>
                  </a:lnTo>
                  <a:lnTo>
                    <a:pt x="260" y="1214"/>
                  </a:lnTo>
                  <a:lnTo>
                    <a:pt x="241" y="1235"/>
                  </a:lnTo>
                  <a:lnTo>
                    <a:pt x="239" y="1245"/>
                  </a:lnTo>
                  <a:lnTo>
                    <a:pt x="251" y="1238"/>
                  </a:lnTo>
                  <a:lnTo>
                    <a:pt x="264" y="1237"/>
                  </a:lnTo>
                  <a:lnTo>
                    <a:pt x="265" y="1245"/>
                  </a:lnTo>
                  <a:lnTo>
                    <a:pt x="276" y="1243"/>
                  </a:lnTo>
                  <a:lnTo>
                    <a:pt x="274" y="1226"/>
                  </a:lnTo>
                  <a:lnTo>
                    <a:pt x="286" y="1221"/>
                  </a:lnTo>
                  <a:lnTo>
                    <a:pt x="303" y="1216"/>
                  </a:lnTo>
                  <a:lnTo>
                    <a:pt x="315" y="1221"/>
                  </a:lnTo>
                  <a:lnTo>
                    <a:pt x="312" y="1238"/>
                  </a:lnTo>
                  <a:lnTo>
                    <a:pt x="324" y="1256"/>
                  </a:lnTo>
                  <a:lnTo>
                    <a:pt x="315" y="1274"/>
                  </a:lnTo>
                  <a:lnTo>
                    <a:pt x="325" y="1295"/>
                  </a:lnTo>
                  <a:lnTo>
                    <a:pt x="320" y="1307"/>
                  </a:lnTo>
                  <a:lnTo>
                    <a:pt x="315" y="1323"/>
                  </a:lnTo>
                  <a:lnTo>
                    <a:pt x="312" y="1338"/>
                  </a:lnTo>
                  <a:lnTo>
                    <a:pt x="298" y="1352"/>
                  </a:lnTo>
                  <a:lnTo>
                    <a:pt x="286" y="1354"/>
                  </a:lnTo>
                  <a:lnTo>
                    <a:pt x="274" y="1364"/>
                  </a:lnTo>
                  <a:lnTo>
                    <a:pt x="265" y="1371"/>
                  </a:lnTo>
                  <a:lnTo>
                    <a:pt x="245" y="1372"/>
                  </a:lnTo>
                  <a:lnTo>
                    <a:pt x="229" y="1390"/>
                  </a:lnTo>
                  <a:lnTo>
                    <a:pt x="217" y="1393"/>
                  </a:lnTo>
                  <a:lnTo>
                    <a:pt x="205" y="1393"/>
                  </a:lnTo>
                  <a:lnTo>
                    <a:pt x="195" y="1409"/>
                  </a:lnTo>
                  <a:lnTo>
                    <a:pt x="177" y="1412"/>
                  </a:lnTo>
                  <a:lnTo>
                    <a:pt x="171" y="1422"/>
                  </a:lnTo>
                  <a:lnTo>
                    <a:pt x="198" y="1428"/>
                  </a:lnTo>
                  <a:lnTo>
                    <a:pt x="203" y="1441"/>
                  </a:lnTo>
                  <a:lnTo>
                    <a:pt x="184" y="1441"/>
                  </a:lnTo>
                  <a:lnTo>
                    <a:pt x="184" y="1450"/>
                  </a:lnTo>
                  <a:lnTo>
                    <a:pt x="198" y="1450"/>
                  </a:lnTo>
                  <a:lnTo>
                    <a:pt x="203" y="1458"/>
                  </a:lnTo>
                  <a:lnTo>
                    <a:pt x="208" y="1467"/>
                  </a:lnTo>
                  <a:lnTo>
                    <a:pt x="222" y="1474"/>
                  </a:lnTo>
                  <a:lnTo>
                    <a:pt x="241" y="1465"/>
                  </a:lnTo>
                  <a:lnTo>
                    <a:pt x="248" y="1455"/>
                  </a:lnTo>
                  <a:lnTo>
                    <a:pt x="255" y="1446"/>
                  </a:lnTo>
                  <a:lnTo>
                    <a:pt x="281" y="1443"/>
                  </a:lnTo>
                  <a:lnTo>
                    <a:pt x="293" y="1457"/>
                  </a:lnTo>
                  <a:lnTo>
                    <a:pt x="307" y="1458"/>
                  </a:lnTo>
                  <a:lnTo>
                    <a:pt x="312" y="1467"/>
                  </a:lnTo>
                  <a:lnTo>
                    <a:pt x="317" y="1477"/>
                  </a:lnTo>
                  <a:lnTo>
                    <a:pt x="325" y="1481"/>
                  </a:lnTo>
                  <a:lnTo>
                    <a:pt x="341" y="1474"/>
                  </a:lnTo>
                  <a:lnTo>
                    <a:pt x="346" y="1465"/>
                  </a:lnTo>
                  <a:lnTo>
                    <a:pt x="356" y="1474"/>
                  </a:lnTo>
                  <a:lnTo>
                    <a:pt x="369" y="1496"/>
                  </a:lnTo>
                  <a:lnTo>
                    <a:pt x="382" y="1510"/>
                  </a:lnTo>
                  <a:lnTo>
                    <a:pt x="403" y="1513"/>
                  </a:lnTo>
                  <a:lnTo>
                    <a:pt x="429" y="1507"/>
                  </a:lnTo>
                  <a:lnTo>
                    <a:pt x="432" y="1493"/>
                  </a:lnTo>
                  <a:lnTo>
                    <a:pt x="448" y="1483"/>
                  </a:lnTo>
                  <a:lnTo>
                    <a:pt x="467" y="1484"/>
                  </a:lnTo>
                  <a:lnTo>
                    <a:pt x="486" y="1476"/>
                  </a:lnTo>
                  <a:lnTo>
                    <a:pt x="491" y="1486"/>
                  </a:lnTo>
                  <a:lnTo>
                    <a:pt x="489" y="1496"/>
                  </a:lnTo>
                  <a:lnTo>
                    <a:pt x="470" y="1500"/>
                  </a:lnTo>
                  <a:lnTo>
                    <a:pt x="453" y="1512"/>
                  </a:lnTo>
                  <a:lnTo>
                    <a:pt x="448" y="1532"/>
                  </a:lnTo>
                  <a:lnTo>
                    <a:pt x="446" y="1548"/>
                  </a:lnTo>
                  <a:lnTo>
                    <a:pt x="424" y="1548"/>
                  </a:lnTo>
                  <a:lnTo>
                    <a:pt x="401" y="1551"/>
                  </a:lnTo>
                  <a:lnTo>
                    <a:pt x="384" y="1541"/>
                  </a:lnTo>
                  <a:lnTo>
                    <a:pt x="363" y="1539"/>
                  </a:lnTo>
                  <a:lnTo>
                    <a:pt x="339" y="1541"/>
                  </a:lnTo>
                  <a:lnTo>
                    <a:pt x="322" y="1546"/>
                  </a:lnTo>
                  <a:lnTo>
                    <a:pt x="307" y="1548"/>
                  </a:lnTo>
                  <a:lnTo>
                    <a:pt x="303" y="1558"/>
                  </a:lnTo>
                  <a:lnTo>
                    <a:pt x="303" y="1569"/>
                  </a:lnTo>
                  <a:lnTo>
                    <a:pt x="296" y="1582"/>
                  </a:lnTo>
                  <a:lnTo>
                    <a:pt x="286" y="1589"/>
                  </a:lnTo>
                  <a:lnTo>
                    <a:pt x="277" y="1581"/>
                  </a:lnTo>
                  <a:lnTo>
                    <a:pt x="265" y="1582"/>
                  </a:lnTo>
                  <a:lnTo>
                    <a:pt x="260" y="1610"/>
                  </a:lnTo>
                  <a:lnTo>
                    <a:pt x="264" y="1624"/>
                  </a:lnTo>
                  <a:lnTo>
                    <a:pt x="258" y="1636"/>
                  </a:lnTo>
                  <a:lnTo>
                    <a:pt x="239" y="1649"/>
                  </a:lnTo>
                  <a:lnTo>
                    <a:pt x="239" y="1663"/>
                  </a:lnTo>
                  <a:lnTo>
                    <a:pt x="227" y="1663"/>
                  </a:lnTo>
                  <a:lnTo>
                    <a:pt x="208" y="1673"/>
                  </a:lnTo>
                  <a:lnTo>
                    <a:pt x="205" y="1692"/>
                  </a:lnTo>
                  <a:lnTo>
                    <a:pt x="195" y="1698"/>
                  </a:lnTo>
                  <a:lnTo>
                    <a:pt x="191" y="1711"/>
                  </a:lnTo>
                  <a:lnTo>
                    <a:pt x="179" y="1723"/>
                  </a:lnTo>
                  <a:lnTo>
                    <a:pt x="167" y="1728"/>
                  </a:lnTo>
                  <a:lnTo>
                    <a:pt x="160" y="1737"/>
                  </a:lnTo>
                  <a:lnTo>
                    <a:pt x="150" y="1730"/>
                  </a:lnTo>
                  <a:lnTo>
                    <a:pt x="133" y="1746"/>
                  </a:lnTo>
                  <a:lnTo>
                    <a:pt x="126" y="1759"/>
                  </a:lnTo>
                  <a:lnTo>
                    <a:pt x="133" y="1766"/>
                  </a:lnTo>
                  <a:lnTo>
                    <a:pt x="148" y="1759"/>
                  </a:lnTo>
                  <a:lnTo>
                    <a:pt x="157" y="1753"/>
                  </a:lnTo>
                  <a:lnTo>
                    <a:pt x="165" y="1758"/>
                  </a:lnTo>
                  <a:lnTo>
                    <a:pt x="179" y="1761"/>
                  </a:lnTo>
                  <a:lnTo>
                    <a:pt x="176" y="1771"/>
                  </a:lnTo>
                  <a:lnTo>
                    <a:pt x="184" y="1780"/>
                  </a:lnTo>
                  <a:lnTo>
                    <a:pt x="200" y="1771"/>
                  </a:lnTo>
                  <a:lnTo>
                    <a:pt x="200" y="1756"/>
                  </a:lnTo>
                  <a:lnTo>
                    <a:pt x="207" y="1746"/>
                  </a:lnTo>
                  <a:lnTo>
                    <a:pt x="217" y="1742"/>
                  </a:lnTo>
                  <a:lnTo>
                    <a:pt x="227" y="1730"/>
                  </a:lnTo>
                  <a:lnTo>
                    <a:pt x="239" y="1727"/>
                  </a:lnTo>
                  <a:lnTo>
                    <a:pt x="245" y="171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4" name="Freeform 744">
              <a:extLst>
                <a:ext uri="{FF2B5EF4-FFF2-40B4-BE49-F238E27FC236}">
                  <a16:creationId xmlns:a16="http://schemas.microsoft.com/office/drawing/2014/main" id="{A197D8A3-D8CA-4980-876E-CE86DB7E2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0913" y="3394076"/>
              <a:ext cx="47625" cy="30163"/>
            </a:xfrm>
            <a:custGeom>
              <a:avLst/>
              <a:gdLst>
                <a:gd name="T0" fmla="*/ 7 w 30"/>
                <a:gd name="T1" fmla="*/ 19 h 19"/>
                <a:gd name="T2" fmla="*/ 23 w 30"/>
                <a:gd name="T3" fmla="*/ 11 h 19"/>
                <a:gd name="T4" fmla="*/ 30 w 30"/>
                <a:gd name="T5" fmla="*/ 0 h 19"/>
                <a:gd name="T6" fmla="*/ 11 w 30"/>
                <a:gd name="T7" fmla="*/ 2 h 19"/>
                <a:gd name="T8" fmla="*/ 0 w 30"/>
                <a:gd name="T9" fmla="*/ 7 h 19"/>
                <a:gd name="T10" fmla="*/ 7 w 30"/>
                <a:gd name="T11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9">
                  <a:moveTo>
                    <a:pt x="7" y="19"/>
                  </a:moveTo>
                  <a:lnTo>
                    <a:pt x="23" y="11"/>
                  </a:lnTo>
                  <a:lnTo>
                    <a:pt x="30" y="0"/>
                  </a:lnTo>
                  <a:lnTo>
                    <a:pt x="11" y="2"/>
                  </a:lnTo>
                  <a:lnTo>
                    <a:pt x="0" y="7"/>
                  </a:lnTo>
                  <a:lnTo>
                    <a:pt x="7" y="1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5" name="Freeform 745">
              <a:extLst>
                <a:ext uri="{FF2B5EF4-FFF2-40B4-BE49-F238E27FC236}">
                  <a16:creationId xmlns:a16="http://schemas.microsoft.com/office/drawing/2014/main" id="{FB4DE5DD-4386-4807-8CE1-503AA8AD8A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963" y="3227388"/>
              <a:ext cx="38100" cy="30163"/>
            </a:xfrm>
            <a:custGeom>
              <a:avLst/>
              <a:gdLst>
                <a:gd name="T0" fmla="*/ 24 w 24"/>
                <a:gd name="T1" fmla="*/ 6 h 19"/>
                <a:gd name="T2" fmla="*/ 8 w 24"/>
                <a:gd name="T3" fmla="*/ 0 h 19"/>
                <a:gd name="T4" fmla="*/ 0 w 24"/>
                <a:gd name="T5" fmla="*/ 14 h 19"/>
                <a:gd name="T6" fmla="*/ 15 w 24"/>
                <a:gd name="T7" fmla="*/ 19 h 19"/>
                <a:gd name="T8" fmla="*/ 24 w 24"/>
                <a:gd name="T9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19">
                  <a:moveTo>
                    <a:pt x="24" y="6"/>
                  </a:moveTo>
                  <a:lnTo>
                    <a:pt x="8" y="0"/>
                  </a:lnTo>
                  <a:lnTo>
                    <a:pt x="0" y="14"/>
                  </a:lnTo>
                  <a:lnTo>
                    <a:pt x="15" y="19"/>
                  </a:lnTo>
                  <a:lnTo>
                    <a:pt x="24" y="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6" name="Freeform 746">
              <a:extLst>
                <a:ext uri="{FF2B5EF4-FFF2-40B4-BE49-F238E27FC236}">
                  <a16:creationId xmlns:a16="http://schemas.microsoft.com/office/drawing/2014/main" id="{622DACEA-2299-42B6-8821-F460151F3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325" y="3287713"/>
              <a:ext cx="20638" cy="30163"/>
            </a:xfrm>
            <a:custGeom>
              <a:avLst/>
              <a:gdLst>
                <a:gd name="T0" fmla="*/ 13 w 13"/>
                <a:gd name="T1" fmla="*/ 0 h 19"/>
                <a:gd name="T2" fmla="*/ 0 w 13"/>
                <a:gd name="T3" fmla="*/ 11 h 19"/>
                <a:gd name="T4" fmla="*/ 6 w 13"/>
                <a:gd name="T5" fmla="*/ 19 h 19"/>
                <a:gd name="T6" fmla="*/ 13 w 13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9">
                  <a:moveTo>
                    <a:pt x="13" y="0"/>
                  </a:moveTo>
                  <a:lnTo>
                    <a:pt x="0" y="11"/>
                  </a:lnTo>
                  <a:lnTo>
                    <a:pt x="6" y="19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7" name="Freeform 747">
              <a:extLst>
                <a:ext uri="{FF2B5EF4-FFF2-40B4-BE49-F238E27FC236}">
                  <a16:creationId xmlns:a16="http://schemas.microsoft.com/office/drawing/2014/main" id="{EFDE3DB2-5603-45F7-AB5C-807B1C40D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513" y="3216276"/>
              <a:ext cx="41275" cy="39688"/>
            </a:xfrm>
            <a:custGeom>
              <a:avLst/>
              <a:gdLst>
                <a:gd name="T0" fmla="*/ 9 w 26"/>
                <a:gd name="T1" fmla="*/ 0 h 25"/>
                <a:gd name="T2" fmla="*/ 0 w 26"/>
                <a:gd name="T3" fmla="*/ 13 h 25"/>
                <a:gd name="T4" fmla="*/ 19 w 26"/>
                <a:gd name="T5" fmla="*/ 25 h 25"/>
                <a:gd name="T6" fmla="*/ 26 w 26"/>
                <a:gd name="T7" fmla="*/ 18 h 25"/>
                <a:gd name="T8" fmla="*/ 22 w 26"/>
                <a:gd name="T9" fmla="*/ 4 h 25"/>
                <a:gd name="T10" fmla="*/ 9 w 26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5">
                  <a:moveTo>
                    <a:pt x="9" y="0"/>
                  </a:moveTo>
                  <a:lnTo>
                    <a:pt x="0" y="13"/>
                  </a:lnTo>
                  <a:lnTo>
                    <a:pt x="19" y="25"/>
                  </a:lnTo>
                  <a:lnTo>
                    <a:pt x="26" y="18"/>
                  </a:lnTo>
                  <a:lnTo>
                    <a:pt x="22" y="4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8" name="Freeform 748">
              <a:extLst>
                <a:ext uri="{FF2B5EF4-FFF2-40B4-BE49-F238E27FC236}">
                  <a16:creationId xmlns:a16="http://schemas.microsoft.com/office/drawing/2014/main" id="{7767134C-EBF5-467F-95B9-827D76098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8550" y="3257551"/>
              <a:ext cx="17463" cy="25400"/>
            </a:xfrm>
            <a:custGeom>
              <a:avLst/>
              <a:gdLst>
                <a:gd name="T0" fmla="*/ 11 w 11"/>
                <a:gd name="T1" fmla="*/ 0 h 16"/>
                <a:gd name="T2" fmla="*/ 0 w 11"/>
                <a:gd name="T3" fmla="*/ 12 h 16"/>
                <a:gd name="T4" fmla="*/ 9 w 11"/>
                <a:gd name="T5" fmla="*/ 16 h 16"/>
                <a:gd name="T6" fmla="*/ 11 w 11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6">
                  <a:moveTo>
                    <a:pt x="11" y="0"/>
                  </a:moveTo>
                  <a:lnTo>
                    <a:pt x="0" y="12"/>
                  </a:lnTo>
                  <a:lnTo>
                    <a:pt x="9" y="16"/>
                  </a:lnTo>
                  <a:lnTo>
                    <a:pt x="11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19" name="Freeform 749">
              <a:extLst>
                <a:ext uri="{FF2B5EF4-FFF2-40B4-BE49-F238E27FC236}">
                  <a16:creationId xmlns:a16="http://schemas.microsoft.com/office/drawing/2014/main" id="{7DD43296-3111-4680-89C7-9F708CF71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6475" y="3348038"/>
              <a:ext cx="50800" cy="38100"/>
            </a:xfrm>
            <a:custGeom>
              <a:avLst/>
              <a:gdLst>
                <a:gd name="T0" fmla="*/ 0 w 32"/>
                <a:gd name="T1" fmla="*/ 17 h 24"/>
                <a:gd name="T2" fmla="*/ 14 w 32"/>
                <a:gd name="T3" fmla="*/ 24 h 24"/>
                <a:gd name="T4" fmla="*/ 32 w 32"/>
                <a:gd name="T5" fmla="*/ 0 h 24"/>
                <a:gd name="T6" fmla="*/ 20 w 32"/>
                <a:gd name="T7" fmla="*/ 0 h 24"/>
                <a:gd name="T8" fmla="*/ 0 w 32"/>
                <a:gd name="T9" fmla="*/ 1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4">
                  <a:moveTo>
                    <a:pt x="0" y="17"/>
                  </a:moveTo>
                  <a:lnTo>
                    <a:pt x="14" y="24"/>
                  </a:lnTo>
                  <a:lnTo>
                    <a:pt x="32" y="0"/>
                  </a:lnTo>
                  <a:lnTo>
                    <a:pt x="2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0" name="Freeform 750">
              <a:extLst>
                <a:ext uri="{FF2B5EF4-FFF2-40B4-BE49-F238E27FC236}">
                  <a16:creationId xmlns:a16="http://schemas.microsoft.com/office/drawing/2014/main" id="{21558512-A07B-4B5D-9444-E298C7D6B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3625" y="3362326"/>
              <a:ext cx="144463" cy="127000"/>
            </a:xfrm>
            <a:custGeom>
              <a:avLst/>
              <a:gdLst>
                <a:gd name="T0" fmla="*/ 10 w 91"/>
                <a:gd name="T1" fmla="*/ 20 h 80"/>
                <a:gd name="T2" fmla="*/ 24 w 91"/>
                <a:gd name="T3" fmla="*/ 24 h 80"/>
                <a:gd name="T4" fmla="*/ 31 w 91"/>
                <a:gd name="T5" fmla="*/ 34 h 80"/>
                <a:gd name="T6" fmla="*/ 48 w 91"/>
                <a:gd name="T7" fmla="*/ 37 h 80"/>
                <a:gd name="T8" fmla="*/ 33 w 91"/>
                <a:gd name="T9" fmla="*/ 43 h 80"/>
                <a:gd name="T10" fmla="*/ 24 w 91"/>
                <a:gd name="T11" fmla="*/ 58 h 80"/>
                <a:gd name="T12" fmla="*/ 48 w 91"/>
                <a:gd name="T13" fmla="*/ 58 h 80"/>
                <a:gd name="T14" fmla="*/ 21 w 91"/>
                <a:gd name="T15" fmla="*/ 67 h 80"/>
                <a:gd name="T16" fmla="*/ 14 w 91"/>
                <a:gd name="T17" fmla="*/ 62 h 80"/>
                <a:gd name="T18" fmla="*/ 0 w 91"/>
                <a:gd name="T19" fmla="*/ 67 h 80"/>
                <a:gd name="T20" fmla="*/ 15 w 91"/>
                <a:gd name="T21" fmla="*/ 80 h 80"/>
                <a:gd name="T22" fmla="*/ 34 w 91"/>
                <a:gd name="T23" fmla="*/ 72 h 80"/>
                <a:gd name="T24" fmla="*/ 53 w 91"/>
                <a:gd name="T25" fmla="*/ 70 h 80"/>
                <a:gd name="T26" fmla="*/ 57 w 91"/>
                <a:gd name="T27" fmla="*/ 62 h 80"/>
                <a:gd name="T28" fmla="*/ 67 w 91"/>
                <a:gd name="T29" fmla="*/ 70 h 80"/>
                <a:gd name="T30" fmla="*/ 81 w 91"/>
                <a:gd name="T31" fmla="*/ 62 h 80"/>
                <a:gd name="T32" fmla="*/ 91 w 91"/>
                <a:gd name="T33" fmla="*/ 48 h 80"/>
                <a:gd name="T34" fmla="*/ 86 w 91"/>
                <a:gd name="T35" fmla="*/ 36 h 80"/>
                <a:gd name="T36" fmla="*/ 70 w 91"/>
                <a:gd name="T37" fmla="*/ 29 h 80"/>
                <a:gd name="T38" fmla="*/ 53 w 91"/>
                <a:gd name="T39" fmla="*/ 22 h 80"/>
                <a:gd name="T40" fmla="*/ 48 w 91"/>
                <a:gd name="T41" fmla="*/ 12 h 80"/>
                <a:gd name="T42" fmla="*/ 36 w 91"/>
                <a:gd name="T43" fmla="*/ 0 h 80"/>
                <a:gd name="T44" fmla="*/ 24 w 91"/>
                <a:gd name="T45" fmla="*/ 3 h 80"/>
                <a:gd name="T46" fmla="*/ 10 w 91"/>
                <a:gd name="T47" fmla="*/ 7 h 80"/>
                <a:gd name="T48" fmla="*/ 10 w 91"/>
                <a:gd name="T49" fmla="*/ 2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1" h="80">
                  <a:moveTo>
                    <a:pt x="10" y="20"/>
                  </a:moveTo>
                  <a:lnTo>
                    <a:pt x="24" y="24"/>
                  </a:lnTo>
                  <a:lnTo>
                    <a:pt x="31" y="34"/>
                  </a:lnTo>
                  <a:lnTo>
                    <a:pt x="48" y="37"/>
                  </a:lnTo>
                  <a:lnTo>
                    <a:pt x="33" y="43"/>
                  </a:lnTo>
                  <a:lnTo>
                    <a:pt x="24" y="58"/>
                  </a:lnTo>
                  <a:lnTo>
                    <a:pt x="48" y="58"/>
                  </a:lnTo>
                  <a:lnTo>
                    <a:pt x="21" y="67"/>
                  </a:lnTo>
                  <a:lnTo>
                    <a:pt x="14" y="62"/>
                  </a:lnTo>
                  <a:lnTo>
                    <a:pt x="0" y="67"/>
                  </a:lnTo>
                  <a:lnTo>
                    <a:pt x="15" y="80"/>
                  </a:lnTo>
                  <a:lnTo>
                    <a:pt x="34" y="72"/>
                  </a:lnTo>
                  <a:lnTo>
                    <a:pt x="53" y="70"/>
                  </a:lnTo>
                  <a:lnTo>
                    <a:pt x="57" y="62"/>
                  </a:lnTo>
                  <a:lnTo>
                    <a:pt x="67" y="70"/>
                  </a:lnTo>
                  <a:lnTo>
                    <a:pt x="81" y="62"/>
                  </a:lnTo>
                  <a:lnTo>
                    <a:pt x="91" y="48"/>
                  </a:lnTo>
                  <a:lnTo>
                    <a:pt x="86" y="36"/>
                  </a:lnTo>
                  <a:lnTo>
                    <a:pt x="70" y="29"/>
                  </a:lnTo>
                  <a:lnTo>
                    <a:pt x="53" y="2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24" y="3"/>
                  </a:lnTo>
                  <a:lnTo>
                    <a:pt x="10" y="7"/>
                  </a:lnTo>
                  <a:lnTo>
                    <a:pt x="10" y="2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1" name="Freeform 751">
              <a:extLst>
                <a:ext uri="{FF2B5EF4-FFF2-40B4-BE49-F238E27FC236}">
                  <a16:creationId xmlns:a16="http://schemas.microsoft.com/office/drawing/2014/main" id="{C9D6FE4F-4261-4E18-A22A-DB252640F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1400" y="3597276"/>
              <a:ext cx="90488" cy="125413"/>
            </a:xfrm>
            <a:custGeom>
              <a:avLst/>
              <a:gdLst>
                <a:gd name="T0" fmla="*/ 24 w 57"/>
                <a:gd name="T1" fmla="*/ 70 h 79"/>
                <a:gd name="T2" fmla="*/ 28 w 57"/>
                <a:gd name="T3" fmla="*/ 79 h 79"/>
                <a:gd name="T4" fmla="*/ 38 w 57"/>
                <a:gd name="T5" fmla="*/ 67 h 79"/>
                <a:gd name="T6" fmla="*/ 50 w 57"/>
                <a:gd name="T7" fmla="*/ 70 h 79"/>
                <a:gd name="T8" fmla="*/ 57 w 57"/>
                <a:gd name="T9" fmla="*/ 60 h 79"/>
                <a:gd name="T10" fmla="*/ 54 w 57"/>
                <a:gd name="T11" fmla="*/ 39 h 79"/>
                <a:gd name="T12" fmla="*/ 47 w 57"/>
                <a:gd name="T13" fmla="*/ 30 h 79"/>
                <a:gd name="T14" fmla="*/ 45 w 57"/>
                <a:gd name="T15" fmla="*/ 15 h 79"/>
                <a:gd name="T16" fmla="*/ 43 w 57"/>
                <a:gd name="T17" fmla="*/ 0 h 79"/>
                <a:gd name="T18" fmla="*/ 29 w 57"/>
                <a:gd name="T19" fmla="*/ 8 h 79"/>
                <a:gd name="T20" fmla="*/ 21 w 57"/>
                <a:gd name="T21" fmla="*/ 22 h 79"/>
                <a:gd name="T22" fmla="*/ 24 w 57"/>
                <a:gd name="T23" fmla="*/ 10 h 79"/>
                <a:gd name="T24" fmla="*/ 10 w 57"/>
                <a:gd name="T25" fmla="*/ 20 h 79"/>
                <a:gd name="T26" fmla="*/ 0 w 57"/>
                <a:gd name="T27" fmla="*/ 41 h 79"/>
                <a:gd name="T28" fmla="*/ 0 w 57"/>
                <a:gd name="T29" fmla="*/ 56 h 79"/>
                <a:gd name="T30" fmla="*/ 19 w 57"/>
                <a:gd name="T31" fmla="*/ 37 h 79"/>
                <a:gd name="T32" fmla="*/ 26 w 57"/>
                <a:gd name="T33" fmla="*/ 32 h 79"/>
                <a:gd name="T34" fmla="*/ 33 w 57"/>
                <a:gd name="T35" fmla="*/ 37 h 79"/>
                <a:gd name="T36" fmla="*/ 24 w 57"/>
                <a:gd name="T37" fmla="*/ 48 h 79"/>
                <a:gd name="T38" fmla="*/ 31 w 57"/>
                <a:gd name="T39" fmla="*/ 60 h 79"/>
                <a:gd name="T40" fmla="*/ 23 w 57"/>
                <a:gd name="T41" fmla="*/ 65 h 79"/>
                <a:gd name="T42" fmla="*/ 24 w 57"/>
                <a:gd name="T43" fmla="*/ 7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7" h="79">
                  <a:moveTo>
                    <a:pt x="24" y="70"/>
                  </a:moveTo>
                  <a:lnTo>
                    <a:pt x="28" y="79"/>
                  </a:lnTo>
                  <a:lnTo>
                    <a:pt x="38" y="67"/>
                  </a:lnTo>
                  <a:lnTo>
                    <a:pt x="50" y="70"/>
                  </a:lnTo>
                  <a:lnTo>
                    <a:pt x="57" y="60"/>
                  </a:lnTo>
                  <a:lnTo>
                    <a:pt x="54" y="39"/>
                  </a:lnTo>
                  <a:lnTo>
                    <a:pt x="47" y="30"/>
                  </a:lnTo>
                  <a:lnTo>
                    <a:pt x="45" y="15"/>
                  </a:lnTo>
                  <a:lnTo>
                    <a:pt x="43" y="0"/>
                  </a:lnTo>
                  <a:lnTo>
                    <a:pt x="29" y="8"/>
                  </a:lnTo>
                  <a:lnTo>
                    <a:pt x="21" y="22"/>
                  </a:lnTo>
                  <a:lnTo>
                    <a:pt x="24" y="10"/>
                  </a:lnTo>
                  <a:lnTo>
                    <a:pt x="10" y="20"/>
                  </a:lnTo>
                  <a:lnTo>
                    <a:pt x="0" y="41"/>
                  </a:lnTo>
                  <a:lnTo>
                    <a:pt x="0" y="56"/>
                  </a:lnTo>
                  <a:lnTo>
                    <a:pt x="19" y="37"/>
                  </a:lnTo>
                  <a:lnTo>
                    <a:pt x="26" y="32"/>
                  </a:lnTo>
                  <a:lnTo>
                    <a:pt x="33" y="37"/>
                  </a:lnTo>
                  <a:lnTo>
                    <a:pt x="24" y="48"/>
                  </a:lnTo>
                  <a:lnTo>
                    <a:pt x="31" y="60"/>
                  </a:lnTo>
                  <a:lnTo>
                    <a:pt x="23" y="65"/>
                  </a:lnTo>
                  <a:lnTo>
                    <a:pt x="24" y="7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2" name="Freeform 752">
              <a:extLst>
                <a:ext uri="{FF2B5EF4-FFF2-40B4-BE49-F238E27FC236}">
                  <a16:creationId xmlns:a16="http://schemas.microsoft.com/office/drawing/2014/main" id="{BF7C6376-F861-4CB9-B33D-01112AF221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2675" y="3536951"/>
              <a:ext cx="26988" cy="34925"/>
            </a:xfrm>
            <a:custGeom>
              <a:avLst/>
              <a:gdLst>
                <a:gd name="T0" fmla="*/ 17 w 17"/>
                <a:gd name="T1" fmla="*/ 0 h 22"/>
                <a:gd name="T2" fmla="*/ 7 w 17"/>
                <a:gd name="T3" fmla="*/ 3 h 22"/>
                <a:gd name="T4" fmla="*/ 0 w 17"/>
                <a:gd name="T5" fmla="*/ 15 h 22"/>
                <a:gd name="T6" fmla="*/ 7 w 17"/>
                <a:gd name="T7" fmla="*/ 22 h 22"/>
                <a:gd name="T8" fmla="*/ 17 w 17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22">
                  <a:moveTo>
                    <a:pt x="17" y="0"/>
                  </a:moveTo>
                  <a:lnTo>
                    <a:pt x="7" y="3"/>
                  </a:lnTo>
                  <a:lnTo>
                    <a:pt x="0" y="15"/>
                  </a:lnTo>
                  <a:lnTo>
                    <a:pt x="7" y="22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3" name="Freeform 753">
              <a:extLst>
                <a:ext uri="{FF2B5EF4-FFF2-40B4-BE49-F238E27FC236}">
                  <a16:creationId xmlns:a16="http://schemas.microsoft.com/office/drawing/2014/main" id="{42921932-637D-4248-A4F2-35219C8B5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7438" y="2782888"/>
              <a:ext cx="33338" cy="41275"/>
            </a:xfrm>
            <a:custGeom>
              <a:avLst/>
              <a:gdLst>
                <a:gd name="T0" fmla="*/ 0 w 21"/>
                <a:gd name="T1" fmla="*/ 26 h 26"/>
                <a:gd name="T2" fmla="*/ 21 w 21"/>
                <a:gd name="T3" fmla="*/ 12 h 26"/>
                <a:gd name="T4" fmla="*/ 14 w 21"/>
                <a:gd name="T5" fmla="*/ 0 h 26"/>
                <a:gd name="T6" fmla="*/ 0 w 21"/>
                <a:gd name="T7" fmla="*/ 14 h 26"/>
                <a:gd name="T8" fmla="*/ 0 w 21"/>
                <a:gd name="T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6">
                  <a:moveTo>
                    <a:pt x="0" y="26"/>
                  </a:moveTo>
                  <a:lnTo>
                    <a:pt x="21" y="12"/>
                  </a:lnTo>
                  <a:lnTo>
                    <a:pt x="14" y="0"/>
                  </a:lnTo>
                  <a:lnTo>
                    <a:pt x="0" y="14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4" name="Freeform 754">
              <a:extLst>
                <a:ext uri="{FF2B5EF4-FFF2-40B4-BE49-F238E27FC236}">
                  <a16:creationId xmlns:a16="http://schemas.microsoft.com/office/drawing/2014/main" id="{AE3618D9-51EB-4EA6-9253-BE15D74753D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250" y="3781426"/>
              <a:ext cx="519113" cy="442913"/>
            </a:xfrm>
            <a:custGeom>
              <a:avLst/>
              <a:gdLst>
                <a:gd name="T0" fmla="*/ 311 w 327"/>
                <a:gd name="T1" fmla="*/ 226 h 279"/>
                <a:gd name="T2" fmla="*/ 320 w 327"/>
                <a:gd name="T3" fmla="*/ 200 h 279"/>
                <a:gd name="T4" fmla="*/ 318 w 327"/>
                <a:gd name="T5" fmla="*/ 179 h 279"/>
                <a:gd name="T6" fmla="*/ 310 w 327"/>
                <a:gd name="T7" fmla="*/ 150 h 279"/>
                <a:gd name="T8" fmla="*/ 298 w 327"/>
                <a:gd name="T9" fmla="*/ 123 h 279"/>
                <a:gd name="T10" fmla="*/ 279 w 327"/>
                <a:gd name="T11" fmla="*/ 104 h 279"/>
                <a:gd name="T12" fmla="*/ 268 w 327"/>
                <a:gd name="T13" fmla="*/ 66 h 279"/>
                <a:gd name="T14" fmla="*/ 258 w 327"/>
                <a:gd name="T15" fmla="*/ 50 h 279"/>
                <a:gd name="T16" fmla="*/ 232 w 327"/>
                <a:gd name="T17" fmla="*/ 33 h 279"/>
                <a:gd name="T18" fmla="*/ 198 w 327"/>
                <a:gd name="T19" fmla="*/ 31 h 279"/>
                <a:gd name="T20" fmla="*/ 163 w 327"/>
                <a:gd name="T21" fmla="*/ 43 h 279"/>
                <a:gd name="T22" fmla="*/ 124 w 327"/>
                <a:gd name="T23" fmla="*/ 26 h 279"/>
                <a:gd name="T24" fmla="*/ 91 w 327"/>
                <a:gd name="T25" fmla="*/ 0 h 279"/>
                <a:gd name="T26" fmla="*/ 100 w 327"/>
                <a:gd name="T27" fmla="*/ 25 h 279"/>
                <a:gd name="T28" fmla="*/ 101 w 327"/>
                <a:gd name="T29" fmla="*/ 71 h 279"/>
                <a:gd name="T30" fmla="*/ 86 w 327"/>
                <a:gd name="T31" fmla="*/ 97 h 279"/>
                <a:gd name="T32" fmla="*/ 76 w 327"/>
                <a:gd name="T33" fmla="*/ 119 h 279"/>
                <a:gd name="T34" fmla="*/ 64 w 327"/>
                <a:gd name="T35" fmla="*/ 133 h 279"/>
                <a:gd name="T36" fmla="*/ 41 w 327"/>
                <a:gd name="T37" fmla="*/ 135 h 279"/>
                <a:gd name="T38" fmla="*/ 34 w 327"/>
                <a:gd name="T39" fmla="*/ 155 h 279"/>
                <a:gd name="T40" fmla="*/ 41 w 327"/>
                <a:gd name="T41" fmla="*/ 174 h 279"/>
                <a:gd name="T42" fmla="*/ 15 w 327"/>
                <a:gd name="T43" fmla="*/ 188 h 279"/>
                <a:gd name="T44" fmla="*/ 14 w 327"/>
                <a:gd name="T45" fmla="*/ 210 h 279"/>
                <a:gd name="T46" fmla="*/ 26 w 327"/>
                <a:gd name="T47" fmla="*/ 221 h 279"/>
                <a:gd name="T48" fmla="*/ 38 w 327"/>
                <a:gd name="T49" fmla="*/ 241 h 279"/>
                <a:gd name="T50" fmla="*/ 67 w 327"/>
                <a:gd name="T51" fmla="*/ 257 h 279"/>
                <a:gd name="T52" fmla="*/ 89 w 327"/>
                <a:gd name="T53" fmla="*/ 255 h 279"/>
                <a:gd name="T54" fmla="*/ 108 w 327"/>
                <a:gd name="T55" fmla="*/ 245 h 279"/>
                <a:gd name="T56" fmla="*/ 115 w 327"/>
                <a:gd name="T57" fmla="*/ 224 h 279"/>
                <a:gd name="T58" fmla="*/ 127 w 327"/>
                <a:gd name="T59" fmla="*/ 212 h 279"/>
                <a:gd name="T60" fmla="*/ 157 w 327"/>
                <a:gd name="T61" fmla="*/ 214 h 279"/>
                <a:gd name="T62" fmla="*/ 165 w 327"/>
                <a:gd name="T63" fmla="*/ 246 h 279"/>
                <a:gd name="T64" fmla="*/ 179 w 327"/>
                <a:gd name="T65" fmla="*/ 274 h 279"/>
                <a:gd name="T66" fmla="*/ 201 w 327"/>
                <a:gd name="T67" fmla="*/ 271 h 279"/>
                <a:gd name="T68" fmla="*/ 213 w 327"/>
                <a:gd name="T69" fmla="*/ 260 h 279"/>
                <a:gd name="T70" fmla="*/ 241 w 327"/>
                <a:gd name="T71" fmla="*/ 269 h 279"/>
                <a:gd name="T72" fmla="*/ 267 w 327"/>
                <a:gd name="T73" fmla="*/ 269 h 279"/>
                <a:gd name="T74" fmla="*/ 272 w 327"/>
                <a:gd name="T75" fmla="*/ 241 h 279"/>
                <a:gd name="T76" fmla="*/ 293 w 327"/>
                <a:gd name="T77" fmla="*/ 234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7" h="279">
                  <a:moveTo>
                    <a:pt x="303" y="241"/>
                  </a:moveTo>
                  <a:lnTo>
                    <a:pt x="311" y="226"/>
                  </a:lnTo>
                  <a:lnTo>
                    <a:pt x="320" y="214"/>
                  </a:lnTo>
                  <a:lnTo>
                    <a:pt x="320" y="200"/>
                  </a:lnTo>
                  <a:lnTo>
                    <a:pt x="327" y="190"/>
                  </a:lnTo>
                  <a:lnTo>
                    <a:pt x="318" y="179"/>
                  </a:lnTo>
                  <a:lnTo>
                    <a:pt x="318" y="164"/>
                  </a:lnTo>
                  <a:lnTo>
                    <a:pt x="310" y="150"/>
                  </a:lnTo>
                  <a:lnTo>
                    <a:pt x="306" y="138"/>
                  </a:lnTo>
                  <a:lnTo>
                    <a:pt x="298" y="123"/>
                  </a:lnTo>
                  <a:lnTo>
                    <a:pt x="287" y="109"/>
                  </a:lnTo>
                  <a:lnTo>
                    <a:pt x="279" y="104"/>
                  </a:lnTo>
                  <a:lnTo>
                    <a:pt x="267" y="81"/>
                  </a:lnTo>
                  <a:lnTo>
                    <a:pt x="268" y="66"/>
                  </a:lnTo>
                  <a:lnTo>
                    <a:pt x="251" y="64"/>
                  </a:lnTo>
                  <a:lnTo>
                    <a:pt x="258" y="50"/>
                  </a:lnTo>
                  <a:lnTo>
                    <a:pt x="248" y="37"/>
                  </a:lnTo>
                  <a:lnTo>
                    <a:pt x="232" y="33"/>
                  </a:lnTo>
                  <a:lnTo>
                    <a:pt x="213" y="31"/>
                  </a:lnTo>
                  <a:lnTo>
                    <a:pt x="198" y="31"/>
                  </a:lnTo>
                  <a:lnTo>
                    <a:pt x="181" y="43"/>
                  </a:lnTo>
                  <a:lnTo>
                    <a:pt x="163" y="43"/>
                  </a:lnTo>
                  <a:lnTo>
                    <a:pt x="153" y="33"/>
                  </a:lnTo>
                  <a:lnTo>
                    <a:pt x="124" y="26"/>
                  </a:lnTo>
                  <a:lnTo>
                    <a:pt x="114" y="9"/>
                  </a:lnTo>
                  <a:lnTo>
                    <a:pt x="91" y="0"/>
                  </a:lnTo>
                  <a:lnTo>
                    <a:pt x="91" y="13"/>
                  </a:lnTo>
                  <a:lnTo>
                    <a:pt x="100" y="25"/>
                  </a:lnTo>
                  <a:lnTo>
                    <a:pt x="108" y="50"/>
                  </a:lnTo>
                  <a:lnTo>
                    <a:pt x="101" y="71"/>
                  </a:lnTo>
                  <a:lnTo>
                    <a:pt x="95" y="92"/>
                  </a:lnTo>
                  <a:lnTo>
                    <a:pt x="86" y="97"/>
                  </a:lnTo>
                  <a:lnTo>
                    <a:pt x="86" y="111"/>
                  </a:lnTo>
                  <a:lnTo>
                    <a:pt x="76" y="119"/>
                  </a:lnTo>
                  <a:lnTo>
                    <a:pt x="76" y="136"/>
                  </a:lnTo>
                  <a:lnTo>
                    <a:pt x="64" y="133"/>
                  </a:lnTo>
                  <a:lnTo>
                    <a:pt x="53" y="145"/>
                  </a:lnTo>
                  <a:lnTo>
                    <a:pt x="41" y="135"/>
                  </a:lnTo>
                  <a:lnTo>
                    <a:pt x="29" y="143"/>
                  </a:lnTo>
                  <a:lnTo>
                    <a:pt x="34" y="155"/>
                  </a:lnTo>
                  <a:lnTo>
                    <a:pt x="57" y="159"/>
                  </a:lnTo>
                  <a:lnTo>
                    <a:pt x="41" y="174"/>
                  </a:lnTo>
                  <a:lnTo>
                    <a:pt x="24" y="174"/>
                  </a:lnTo>
                  <a:lnTo>
                    <a:pt x="15" y="188"/>
                  </a:lnTo>
                  <a:lnTo>
                    <a:pt x="0" y="193"/>
                  </a:lnTo>
                  <a:lnTo>
                    <a:pt x="14" y="210"/>
                  </a:lnTo>
                  <a:lnTo>
                    <a:pt x="22" y="212"/>
                  </a:lnTo>
                  <a:lnTo>
                    <a:pt x="26" y="221"/>
                  </a:lnTo>
                  <a:lnTo>
                    <a:pt x="36" y="224"/>
                  </a:lnTo>
                  <a:lnTo>
                    <a:pt x="38" y="241"/>
                  </a:lnTo>
                  <a:lnTo>
                    <a:pt x="53" y="241"/>
                  </a:lnTo>
                  <a:lnTo>
                    <a:pt x="67" y="257"/>
                  </a:lnTo>
                  <a:lnTo>
                    <a:pt x="81" y="260"/>
                  </a:lnTo>
                  <a:lnTo>
                    <a:pt x="89" y="255"/>
                  </a:lnTo>
                  <a:lnTo>
                    <a:pt x="105" y="260"/>
                  </a:lnTo>
                  <a:lnTo>
                    <a:pt x="108" y="245"/>
                  </a:lnTo>
                  <a:lnTo>
                    <a:pt x="120" y="238"/>
                  </a:lnTo>
                  <a:lnTo>
                    <a:pt x="115" y="224"/>
                  </a:lnTo>
                  <a:lnTo>
                    <a:pt x="117" y="214"/>
                  </a:lnTo>
                  <a:lnTo>
                    <a:pt x="127" y="212"/>
                  </a:lnTo>
                  <a:lnTo>
                    <a:pt x="138" y="200"/>
                  </a:lnTo>
                  <a:lnTo>
                    <a:pt x="157" y="214"/>
                  </a:lnTo>
                  <a:lnTo>
                    <a:pt x="153" y="231"/>
                  </a:lnTo>
                  <a:lnTo>
                    <a:pt x="165" y="246"/>
                  </a:lnTo>
                  <a:lnTo>
                    <a:pt x="181" y="245"/>
                  </a:lnTo>
                  <a:lnTo>
                    <a:pt x="179" y="274"/>
                  </a:lnTo>
                  <a:lnTo>
                    <a:pt x="189" y="279"/>
                  </a:lnTo>
                  <a:lnTo>
                    <a:pt x="201" y="271"/>
                  </a:lnTo>
                  <a:lnTo>
                    <a:pt x="213" y="277"/>
                  </a:lnTo>
                  <a:lnTo>
                    <a:pt x="213" y="260"/>
                  </a:lnTo>
                  <a:lnTo>
                    <a:pt x="229" y="264"/>
                  </a:lnTo>
                  <a:lnTo>
                    <a:pt x="241" y="269"/>
                  </a:lnTo>
                  <a:lnTo>
                    <a:pt x="251" y="279"/>
                  </a:lnTo>
                  <a:lnTo>
                    <a:pt x="267" y="269"/>
                  </a:lnTo>
                  <a:lnTo>
                    <a:pt x="272" y="255"/>
                  </a:lnTo>
                  <a:lnTo>
                    <a:pt x="272" y="241"/>
                  </a:lnTo>
                  <a:lnTo>
                    <a:pt x="282" y="236"/>
                  </a:lnTo>
                  <a:lnTo>
                    <a:pt x="293" y="234"/>
                  </a:lnTo>
                  <a:lnTo>
                    <a:pt x="303" y="241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5" name="Freeform 755">
              <a:extLst>
                <a:ext uri="{FF2B5EF4-FFF2-40B4-BE49-F238E27FC236}">
                  <a16:creationId xmlns:a16="http://schemas.microsoft.com/office/drawing/2014/main" id="{B241A90D-0002-4048-BA51-75D4D1FE2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9550" y="5027613"/>
              <a:ext cx="731838" cy="576263"/>
            </a:xfrm>
            <a:custGeom>
              <a:avLst/>
              <a:gdLst>
                <a:gd name="T0" fmla="*/ 399 w 461"/>
                <a:gd name="T1" fmla="*/ 332 h 363"/>
                <a:gd name="T2" fmla="*/ 384 w 461"/>
                <a:gd name="T3" fmla="*/ 297 h 363"/>
                <a:gd name="T4" fmla="*/ 387 w 461"/>
                <a:gd name="T5" fmla="*/ 278 h 363"/>
                <a:gd name="T6" fmla="*/ 397 w 461"/>
                <a:gd name="T7" fmla="*/ 254 h 363"/>
                <a:gd name="T8" fmla="*/ 406 w 461"/>
                <a:gd name="T9" fmla="*/ 237 h 363"/>
                <a:gd name="T10" fmla="*/ 422 w 461"/>
                <a:gd name="T11" fmla="*/ 241 h 363"/>
                <a:gd name="T12" fmla="*/ 444 w 461"/>
                <a:gd name="T13" fmla="*/ 223 h 363"/>
                <a:gd name="T14" fmla="*/ 458 w 461"/>
                <a:gd name="T15" fmla="*/ 206 h 363"/>
                <a:gd name="T16" fmla="*/ 449 w 461"/>
                <a:gd name="T17" fmla="*/ 182 h 363"/>
                <a:gd name="T18" fmla="*/ 435 w 461"/>
                <a:gd name="T19" fmla="*/ 177 h 363"/>
                <a:gd name="T20" fmla="*/ 434 w 461"/>
                <a:gd name="T21" fmla="*/ 170 h 363"/>
                <a:gd name="T22" fmla="*/ 425 w 461"/>
                <a:gd name="T23" fmla="*/ 144 h 363"/>
                <a:gd name="T24" fmla="*/ 401 w 461"/>
                <a:gd name="T25" fmla="*/ 134 h 363"/>
                <a:gd name="T26" fmla="*/ 397 w 461"/>
                <a:gd name="T27" fmla="*/ 132 h 363"/>
                <a:gd name="T28" fmla="*/ 373 w 461"/>
                <a:gd name="T29" fmla="*/ 129 h 363"/>
                <a:gd name="T30" fmla="*/ 384 w 461"/>
                <a:gd name="T31" fmla="*/ 93 h 363"/>
                <a:gd name="T32" fmla="*/ 394 w 461"/>
                <a:gd name="T33" fmla="*/ 58 h 363"/>
                <a:gd name="T34" fmla="*/ 363 w 461"/>
                <a:gd name="T35" fmla="*/ 36 h 363"/>
                <a:gd name="T36" fmla="*/ 320 w 461"/>
                <a:gd name="T37" fmla="*/ 27 h 363"/>
                <a:gd name="T38" fmla="*/ 310 w 461"/>
                <a:gd name="T39" fmla="*/ 27 h 363"/>
                <a:gd name="T40" fmla="*/ 274 w 461"/>
                <a:gd name="T41" fmla="*/ 1 h 363"/>
                <a:gd name="T42" fmla="*/ 201 w 461"/>
                <a:gd name="T43" fmla="*/ 17 h 363"/>
                <a:gd name="T44" fmla="*/ 175 w 461"/>
                <a:gd name="T45" fmla="*/ 43 h 363"/>
                <a:gd name="T46" fmla="*/ 172 w 461"/>
                <a:gd name="T47" fmla="*/ 46 h 363"/>
                <a:gd name="T48" fmla="*/ 131 w 461"/>
                <a:gd name="T49" fmla="*/ 31 h 363"/>
                <a:gd name="T50" fmla="*/ 110 w 461"/>
                <a:gd name="T51" fmla="*/ 41 h 363"/>
                <a:gd name="T52" fmla="*/ 82 w 461"/>
                <a:gd name="T53" fmla="*/ 24 h 363"/>
                <a:gd name="T54" fmla="*/ 31 w 461"/>
                <a:gd name="T55" fmla="*/ 53 h 363"/>
                <a:gd name="T56" fmla="*/ 12 w 461"/>
                <a:gd name="T57" fmla="*/ 94 h 363"/>
                <a:gd name="T58" fmla="*/ 24 w 461"/>
                <a:gd name="T59" fmla="*/ 122 h 363"/>
                <a:gd name="T60" fmla="*/ 38 w 461"/>
                <a:gd name="T61" fmla="*/ 139 h 363"/>
                <a:gd name="T62" fmla="*/ 64 w 461"/>
                <a:gd name="T63" fmla="*/ 129 h 363"/>
                <a:gd name="T64" fmla="*/ 77 w 461"/>
                <a:gd name="T65" fmla="*/ 127 h 363"/>
                <a:gd name="T66" fmla="*/ 81 w 461"/>
                <a:gd name="T67" fmla="*/ 158 h 363"/>
                <a:gd name="T68" fmla="*/ 112 w 461"/>
                <a:gd name="T69" fmla="*/ 172 h 363"/>
                <a:gd name="T70" fmla="*/ 117 w 461"/>
                <a:gd name="T71" fmla="*/ 180 h 363"/>
                <a:gd name="T72" fmla="*/ 134 w 461"/>
                <a:gd name="T73" fmla="*/ 204 h 363"/>
                <a:gd name="T74" fmla="*/ 144 w 461"/>
                <a:gd name="T75" fmla="*/ 204 h 363"/>
                <a:gd name="T76" fmla="*/ 162 w 461"/>
                <a:gd name="T77" fmla="*/ 213 h 363"/>
                <a:gd name="T78" fmla="*/ 177 w 461"/>
                <a:gd name="T79" fmla="*/ 206 h 363"/>
                <a:gd name="T80" fmla="*/ 196 w 461"/>
                <a:gd name="T81" fmla="*/ 220 h 363"/>
                <a:gd name="T82" fmla="*/ 201 w 461"/>
                <a:gd name="T83" fmla="*/ 227 h 363"/>
                <a:gd name="T84" fmla="*/ 198 w 461"/>
                <a:gd name="T85" fmla="*/ 247 h 363"/>
                <a:gd name="T86" fmla="*/ 191 w 461"/>
                <a:gd name="T87" fmla="*/ 277 h 363"/>
                <a:gd name="T88" fmla="*/ 234 w 461"/>
                <a:gd name="T89" fmla="*/ 280 h 363"/>
                <a:gd name="T90" fmla="*/ 256 w 461"/>
                <a:gd name="T91" fmla="*/ 273 h 363"/>
                <a:gd name="T92" fmla="*/ 267 w 461"/>
                <a:gd name="T93" fmla="*/ 242 h 363"/>
                <a:gd name="T94" fmla="*/ 280 w 461"/>
                <a:gd name="T95" fmla="*/ 254 h 363"/>
                <a:gd name="T96" fmla="*/ 267 w 461"/>
                <a:gd name="T97" fmla="*/ 277 h 363"/>
                <a:gd name="T98" fmla="*/ 277 w 461"/>
                <a:gd name="T99" fmla="*/ 309 h 363"/>
                <a:gd name="T100" fmla="*/ 291 w 461"/>
                <a:gd name="T101" fmla="*/ 309 h 363"/>
                <a:gd name="T102" fmla="*/ 323 w 461"/>
                <a:gd name="T103" fmla="*/ 328 h 363"/>
                <a:gd name="T104" fmla="*/ 348 w 461"/>
                <a:gd name="T105" fmla="*/ 351 h 363"/>
                <a:gd name="T106" fmla="*/ 360 w 461"/>
                <a:gd name="T107" fmla="*/ 359 h 363"/>
                <a:gd name="T108" fmla="*/ 373 w 461"/>
                <a:gd name="T109" fmla="*/ 352 h 363"/>
                <a:gd name="T110" fmla="*/ 391 w 461"/>
                <a:gd name="T111" fmla="*/ 354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61" h="363">
                  <a:moveTo>
                    <a:pt x="391" y="354"/>
                  </a:moveTo>
                  <a:lnTo>
                    <a:pt x="397" y="345"/>
                  </a:lnTo>
                  <a:lnTo>
                    <a:pt x="399" y="332"/>
                  </a:lnTo>
                  <a:lnTo>
                    <a:pt x="389" y="320"/>
                  </a:lnTo>
                  <a:lnTo>
                    <a:pt x="380" y="308"/>
                  </a:lnTo>
                  <a:lnTo>
                    <a:pt x="384" y="297"/>
                  </a:lnTo>
                  <a:lnTo>
                    <a:pt x="380" y="289"/>
                  </a:lnTo>
                  <a:lnTo>
                    <a:pt x="385" y="278"/>
                  </a:lnTo>
                  <a:lnTo>
                    <a:pt x="387" y="278"/>
                  </a:lnTo>
                  <a:lnTo>
                    <a:pt x="392" y="277"/>
                  </a:lnTo>
                  <a:lnTo>
                    <a:pt x="392" y="261"/>
                  </a:lnTo>
                  <a:lnTo>
                    <a:pt x="397" y="254"/>
                  </a:lnTo>
                  <a:lnTo>
                    <a:pt x="399" y="253"/>
                  </a:lnTo>
                  <a:lnTo>
                    <a:pt x="410" y="247"/>
                  </a:lnTo>
                  <a:lnTo>
                    <a:pt x="406" y="237"/>
                  </a:lnTo>
                  <a:lnTo>
                    <a:pt x="406" y="237"/>
                  </a:lnTo>
                  <a:lnTo>
                    <a:pt x="406" y="237"/>
                  </a:lnTo>
                  <a:lnTo>
                    <a:pt x="422" y="241"/>
                  </a:lnTo>
                  <a:lnTo>
                    <a:pt x="427" y="244"/>
                  </a:lnTo>
                  <a:lnTo>
                    <a:pt x="432" y="225"/>
                  </a:lnTo>
                  <a:lnTo>
                    <a:pt x="444" y="223"/>
                  </a:lnTo>
                  <a:lnTo>
                    <a:pt x="447" y="213"/>
                  </a:lnTo>
                  <a:lnTo>
                    <a:pt x="461" y="211"/>
                  </a:lnTo>
                  <a:lnTo>
                    <a:pt x="458" y="206"/>
                  </a:lnTo>
                  <a:lnTo>
                    <a:pt x="454" y="201"/>
                  </a:lnTo>
                  <a:lnTo>
                    <a:pt x="459" y="187"/>
                  </a:lnTo>
                  <a:lnTo>
                    <a:pt x="449" y="182"/>
                  </a:lnTo>
                  <a:lnTo>
                    <a:pt x="444" y="180"/>
                  </a:lnTo>
                  <a:lnTo>
                    <a:pt x="437" y="179"/>
                  </a:lnTo>
                  <a:lnTo>
                    <a:pt x="435" y="177"/>
                  </a:lnTo>
                  <a:lnTo>
                    <a:pt x="434" y="170"/>
                  </a:lnTo>
                  <a:lnTo>
                    <a:pt x="434" y="170"/>
                  </a:lnTo>
                  <a:lnTo>
                    <a:pt x="434" y="170"/>
                  </a:lnTo>
                  <a:lnTo>
                    <a:pt x="434" y="168"/>
                  </a:lnTo>
                  <a:lnTo>
                    <a:pt x="437" y="155"/>
                  </a:lnTo>
                  <a:lnTo>
                    <a:pt x="425" y="144"/>
                  </a:lnTo>
                  <a:lnTo>
                    <a:pt x="416" y="132"/>
                  </a:lnTo>
                  <a:lnTo>
                    <a:pt x="403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397" y="132"/>
                  </a:lnTo>
                  <a:lnTo>
                    <a:pt x="387" y="130"/>
                  </a:lnTo>
                  <a:lnTo>
                    <a:pt x="379" y="129"/>
                  </a:lnTo>
                  <a:lnTo>
                    <a:pt x="373" y="129"/>
                  </a:lnTo>
                  <a:lnTo>
                    <a:pt x="373" y="117"/>
                  </a:lnTo>
                  <a:lnTo>
                    <a:pt x="373" y="108"/>
                  </a:lnTo>
                  <a:lnTo>
                    <a:pt x="384" y="93"/>
                  </a:lnTo>
                  <a:lnTo>
                    <a:pt x="385" y="75"/>
                  </a:lnTo>
                  <a:lnTo>
                    <a:pt x="389" y="70"/>
                  </a:lnTo>
                  <a:lnTo>
                    <a:pt x="394" y="58"/>
                  </a:lnTo>
                  <a:lnTo>
                    <a:pt x="389" y="53"/>
                  </a:lnTo>
                  <a:lnTo>
                    <a:pt x="382" y="46"/>
                  </a:lnTo>
                  <a:lnTo>
                    <a:pt x="363" y="36"/>
                  </a:lnTo>
                  <a:lnTo>
                    <a:pt x="323" y="34"/>
                  </a:lnTo>
                  <a:lnTo>
                    <a:pt x="322" y="31"/>
                  </a:lnTo>
                  <a:lnTo>
                    <a:pt x="32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298" y="0"/>
                  </a:lnTo>
                  <a:lnTo>
                    <a:pt x="274" y="1"/>
                  </a:lnTo>
                  <a:lnTo>
                    <a:pt x="243" y="7"/>
                  </a:lnTo>
                  <a:lnTo>
                    <a:pt x="206" y="15"/>
                  </a:lnTo>
                  <a:lnTo>
                    <a:pt x="201" y="17"/>
                  </a:lnTo>
                  <a:lnTo>
                    <a:pt x="196" y="24"/>
                  </a:lnTo>
                  <a:lnTo>
                    <a:pt x="187" y="32"/>
                  </a:lnTo>
                  <a:lnTo>
                    <a:pt x="175" y="43"/>
                  </a:lnTo>
                  <a:lnTo>
                    <a:pt x="172" y="46"/>
                  </a:lnTo>
                  <a:lnTo>
                    <a:pt x="172" y="46"/>
                  </a:lnTo>
                  <a:lnTo>
                    <a:pt x="172" y="46"/>
                  </a:lnTo>
                  <a:lnTo>
                    <a:pt x="151" y="44"/>
                  </a:lnTo>
                  <a:lnTo>
                    <a:pt x="146" y="36"/>
                  </a:lnTo>
                  <a:lnTo>
                    <a:pt x="131" y="31"/>
                  </a:lnTo>
                  <a:lnTo>
                    <a:pt x="120" y="36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00" y="34"/>
                  </a:lnTo>
                  <a:lnTo>
                    <a:pt x="82" y="24"/>
                  </a:lnTo>
                  <a:lnTo>
                    <a:pt x="55" y="29"/>
                  </a:lnTo>
                  <a:lnTo>
                    <a:pt x="45" y="41"/>
                  </a:lnTo>
                  <a:lnTo>
                    <a:pt x="31" y="53"/>
                  </a:lnTo>
                  <a:lnTo>
                    <a:pt x="12" y="63"/>
                  </a:lnTo>
                  <a:lnTo>
                    <a:pt x="0" y="69"/>
                  </a:lnTo>
                  <a:lnTo>
                    <a:pt x="12" y="94"/>
                  </a:lnTo>
                  <a:lnTo>
                    <a:pt x="8" y="101"/>
                  </a:lnTo>
                  <a:lnTo>
                    <a:pt x="10" y="122"/>
                  </a:lnTo>
                  <a:lnTo>
                    <a:pt x="24" y="122"/>
                  </a:lnTo>
                  <a:lnTo>
                    <a:pt x="26" y="127"/>
                  </a:lnTo>
                  <a:lnTo>
                    <a:pt x="27" y="136"/>
                  </a:lnTo>
                  <a:lnTo>
                    <a:pt x="38" y="139"/>
                  </a:lnTo>
                  <a:lnTo>
                    <a:pt x="43" y="141"/>
                  </a:lnTo>
                  <a:lnTo>
                    <a:pt x="57" y="129"/>
                  </a:lnTo>
                  <a:lnTo>
                    <a:pt x="64" y="129"/>
                  </a:lnTo>
                  <a:lnTo>
                    <a:pt x="77" y="127"/>
                  </a:lnTo>
                  <a:lnTo>
                    <a:pt x="77" y="127"/>
                  </a:lnTo>
                  <a:lnTo>
                    <a:pt x="77" y="127"/>
                  </a:lnTo>
                  <a:lnTo>
                    <a:pt x="79" y="141"/>
                  </a:lnTo>
                  <a:lnTo>
                    <a:pt x="79" y="153"/>
                  </a:lnTo>
                  <a:lnTo>
                    <a:pt x="81" y="158"/>
                  </a:lnTo>
                  <a:lnTo>
                    <a:pt x="93" y="172"/>
                  </a:lnTo>
                  <a:lnTo>
                    <a:pt x="101" y="182"/>
                  </a:lnTo>
                  <a:lnTo>
                    <a:pt x="112" y="172"/>
                  </a:lnTo>
                  <a:lnTo>
                    <a:pt x="113" y="173"/>
                  </a:lnTo>
                  <a:lnTo>
                    <a:pt x="120" y="173"/>
                  </a:lnTo>
                  <a:lnTo>
                    <a:pt x="117" y="180"/>
                  </a:lnTo>
                  <a:lnTo>
                    <a:pt x="127" y="182"/>
                  </a:lnTo>
                  <a:lnTo>
                    <a:pt x="138" y="189"/>
                  </a:lnTo>
                  <a:lnTo>
                    <a:pt x="134" y="204"/>
                  </a:lnTo>
                  <a:lnTo>
                    <a:pt x="139" y="213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58" y="206"/>
                  </a:lnTo>
                  <a:lnTo>
                    <a:pt x="162" y="213"/>
                  </a:lnTo>
                  <a:lnTo>
                    <a:pt x="167" y="210"/>
                  </a:lnTo>
                  <a:lnTo>
                    <a:pt x="177" y="206"/>
                  </a:lnTo>
                  <a:lnTo>
                    <a:pt x="177" y="206"/>
                  </a:lnTo>
                  <a:lnTo>
                    <a:pt x="177" y="206"/>
                  </a:lnTo>
                  <a:lnTo>
                    <a:pt x="187" y="222"/>
                  </a:lnTo>
                  <a:lnTo>
                    <a:pt x="196" y="220"/>
                  </a:lnTo>
                  <a:lnTo>
                    <a:pt x="196" y="220"/>
                  </a:lnTo>
                  <a:lnTo>
                    <a:pt x="196" y="220"/>
                  </a:lnTo>
                  <a:lnTo>
                    <a:pt x="201" y="227"/>
                  </a:lnTo>
                  <a:lnTo>
                    <a:pt x="191" y="234"/>
                  </a:lnTo>
                  <a:lnTo>
                    <a:pt x="189" y="246"/>
                  </a:lnTo>
                  <a:lnTo>
                    <a:pt x="198" y="247"/>
                  </a:lnTo>
                  <a:lnTo>
                    <a:pt x="201" y="259"/>
                  </a:lnTo>
                  <a:lnTo>
                    <a:pt x="193" y="265"/>
                  </a:lnTo>
                  <a:lnTo>
                    <a:pt x="191" y="277"/>
                  </a:lnTo>
                  <a:lnTo>
                    <a:pt x="208" y="277"/>
                  </a:lnTo>
                  <a:lnTo>
                    <a:pt x="222" y="284"/>
                  </a:lnTo>
                  <a:lnTo>
                    <a:pt x="234" y="280"/>
                  </a:lnTo>
                  <a:lnTo>
                    <a:pt x="239" y="278"/>
                  </a:lnTo>
                  <a:lnTo>
                    <a:pt x="244" y="277"/>
                  </a:lnTo>
                  <a:lnTo>
                    <a:pt x="256" y="273"/>
                  </a:lnTo>
                  <a:lnTo>
                    <a:pt x="256" y="261"/>
                  </a:lnTo>
                  <a:lnTo>
                    <a:pt x="258" y="254"/>
                  </a:lnTo>
                  <a:lnTo>
                    <a:pt x="267" y="242"/>
                  </a:lnTo>
                  <a:lnTo>
                    <a:pt x="280" y="244"/>
                  </a:lnTo>
                  <a:lnTo>
                    <a:pt x="280" y="244"/>
                  </a:lnTo>
                  <a:lnTo>
                    <a:pt x="280" y="254"/>
                  </a:lnTo>
                  <a:lnTo>
                    <a:pt x="274" y="254"/>
                  </a:lnTo>
                  <a:lnTo>
                    <a:pt x="272" y="265"/>
                  </a:lnTo>
                  <a:lnTo>
                    <a:pt x="267" y="277"/>
                  </a:lnTo>
                  <a:lnTo>
                    <a:pt x="274" y="282"/>
                  </a:lnTo>
                  <a:lnTo>
                    <a:pt x="279" y="292"/>
                  </a:lnTo>
                  <a:lnTo>
                    <a:pt x="277" y="309"/>
                  </a:lnTo>
                  <a:lnTo>
                    <a:pt x="291" y="309"/>
                  </a:lnTo>
                  <a:lnTo>
                    <a:pt x="291" y="309"/>
                  </a:lnTo>
                  <a:lnTo>
                    <a:pt x="291" y="309"/>
                  </a:lnTo>
                  <a:lnTo>
                    <a:pt x="305" y="314"/>
                  </a:lnTo>
                  <a:lnTo>
                    <a:pt x="313" y="328"/>
                  </a:lnTo>
                  <a:lnTo>
                    <a:pt x="323" y="328"/>
                  </a:lnTo>
                  <a:lnTo>
                    <a:pt x="323" y="328"/>
                  </a:lnTo>
                  <a:lnTo>
                    <a:pt x="334" y="340"/>
                  </a:lnTo>
                  <a:lnTo>
                    <a:pt x="348" y="351"/>
                  </a:lnTo>
                  <a:lnTo>
                    <a:pt x="349" y="363"/>
                  </a:lnTo>
                  <a:lnTo>
                    <a:pt x="360" y="359"/>
                  </a:lnTo>
                  <a:lnTo>
                    <a:pt x="360" y="359"/>
                  </a:lnTo>
                  <a:lnTo>
                    <a:pt x="360" y="359"/>
                  </a:lnTo>
                  <a:lnTo>
                    <a:pt x="366" y="363"/>
                  </a:lnTo>
                  <a:lnTo>
                    <a:pt x="373" y="352"/>
                  </a:lnTo>
                  <a:lnTo>
                    <a:pt x="373" y="352"/>
                  </a:lnTo>
                  <a:lnTo>
                    <a:pt x="373" y="352"/>
                  </a:lnTo>
                  <a:lnTo>
                    <a:pt x="391" y="35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6" name="Freeform 756">
              <a:extLst>
                <a:ext uri="{FF2B5EF4-FFF2-40B4-BE49-F238E27FC236}">
                  <a16:creationId xmlns:a16="http://schemas.microsoft.com/office/drawing/2014/main" id="{85070BFE-8293-4233-B75D-A807BB91D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2800" y="5468938"/>
              <a:ext cx="30163" cy="120650"/>
            </a:xfrm>
            <a:custGeom>
              <a:avLst/>
              <a:gdLst>
                <a:gd name="T0" fmla="*/ 0 w 19"/>
                <a:gd name="T1" fmla="*/ 11 h 76"/>
                <a:gd name="T2" fmla="*/ 4 w 19"/>
                <a:gd name="T3" fmla="*/ 19 h 76"/>
                <a:gd name="T4" fmla="*/ 0 w 19"/>
                <a:gd name="T5" fmla="*/ 30 h 76"/>
                <a:gd name="T6" fmla="*/ 9 w 19"/>
                <a:gd name="T7" fmla="*/ 42 h 76"/>
                <a:gd name="T8" fmla="*/ 19 w 19"/>
                <a:gd name="T9" fmla="*/ 54 h 76"/>
                <a:gd name="T10" fmla="*/ 17 w 19"/>
                <a:gd name="T11" fmla="*/ 67 h 76"/>
                <a:gd name="T12" fmla="*/ 11 w 19"/>
                <a:gd name="T13" fmla="*/ 76 h 76"/>
                <a:gd name="T14" fmla="*/ 11 w 19"/>
                <a:gd name="T15" fmla="*/ 76 h 76"/>
                <a:gd name="T16" fmla="*/ 17 w 19"/>
                <a:gd name="T17" fmla="*/ 67 h 76"/>
                <a:gd name="T18" fmla="*/ 19 w 19"/>
                <a:gd name="T19" fmla="*/ 54 h 76"/>
                <a:gd name="T20" fmla="*/ 9 w 19"/>
                <a:gd name="T21" fmla="*/ 42 h 76"/>
                <a:gd name="T22" fmla="*/ 0 w 19"/>
                <a:gd name="T23" fmla="*/ 30 h 76"/>
                <a:gd name="T24" fmla="*/ 4 w 19"/>
                <a:gd name="T25" fmla="*/ 19 h 76"/>
                <a:gd name="T26" fmla="*/ 0 w 19"/>
                <a:gd name="T27" fmla="*/ 11 h 76"/>
                <a:gd name="T28" fmla="*/ 5 w 19"/>
                <a:gd name="T29" fmla="*/ 0 h 76"/>
                <a:gd name="T30" fmla="*/ 7 w 19"/>
                <a:gd name="T31" fmla="*/ 0 h 76"/>
                <a:gd name="T32" fmla="*/ 5 w 19"/>
                <a:gd name="T33" fmla="*/ 0 h 76"/>
                <a:gd name="T34" fmla="*/ 0 w 19"/>
                <a:gd name="T35" fmla="*/ 1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" h="76">
                  <a:moveTo>
                    <a:pt x="0" y="11"/>
                  </a:moveTo>
                  <a:lnTo>
                    <a:pt x="4" y="19"/>
                  </a:lnTo>
                  <a:lnTo>
                    <a:pt x="0" y="30"/>
                  </a:lnTo>
                  <a:lnTo>
                    <a:pt x="9" y="42"/>
                  </a:lnTo>
                  <a:lnTo>
                    <a:pt x="19" y="54"/>
                  </a:lnTo>
                  <a:lnTo>
                    <a:pt x="17" y="67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7" y="67"/>
                  </a:lnTo>
                  <a:lnTo>
                    <a:pt x="19" y="54"/>
                  </a:lnTo>
                  <a:lnTo>
                    <a:pt x="9" y="42"/>
                  </a:lnTo>
                  <a:lnTo>
                    <a:pt x="0" y="30"/>
                  </a:lnTo>
                  <a:lnTo>
                    <a:pt x="4" y="19"/>
                  </a:lnTo>
                  <a:lnTo>
                    <a:pt x="0" y="11"/>
                  </a:lnTo>
                  <a:lnTo>
                    <a:pt x="5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7" name="Freeform 757">
              <a:extLst>
                <a:ext uri="{FF2B5EF4-FFF2-40B4-BE49-F238E27FC236}">
                  <a16:creationId xmlns:a16="http://schemas.microsoft.com/office/drawing/2014/main" id="{6186ED6C-F627-48E4-B052-1A391BCA556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788" y="5403851"/>
              <a:ext cx="20638" cy="26988"/>
            </a:xfrm>
            <a:custGeom>
              <a:avLst/>
              <a:gdLst>
                <a:gd name="T0" fmla="*/ 13 w 13"/>
                <a:gd name="T1" fmla="*/ 10 h 17"/>
                <a:gd name="T2" fmla="*/ 2 w 13"/>
                <a:gd name="T3" fmla="*/ 16 h 17"/>
                <a:gd name="T4" fmla="*/ 0 w 13"/>
                <a:gd name="T5" fmla="*/ 17 h 17"/>
                <a:gd name="T6" fmla="*/ 2 w 13"/>
                <a:gd name="T7" fmla="*/ 16 h 17"/>
                <a:gd name="T8" fmla="*/ 13 w 13"/>
                <a:gd name="T9" fmla="*/ 10 h 17"/>
                <a:gd name="T10" fmla="*/ 9 w 13"/>
                <a:gd name="T11" fmla="*/ 0 h 17"/>
                <a:gd name="T12" fmla="*/ 9 w 13"/>
                <a:gd name="T13" fmla="*/ 0 h 17"/>
                <a:gd name="T14" fmla="*/ 13 w 13"/>
                <a:gd name="T15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7">
                  <a:moveTo>
                    <a:pt x="13" y="10"/>
                  </a:moveTo>
                  <a:lnTo>
                    <a:pt x="2" y="16"/>
                  </a:lnTo>
                  <a:lnTo>
                    <a:pt x="0" y="17"/>
                  </a:lnTo>
                  <a:lnTo>
                    <a:pt x="2" y="16"/>
                  </a:lnTo>
                  <a:lnTo>
                    <a:pt x="13" y="1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3" y="1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8" name="Freeform 758">
              <a:extLst>
                <a:ext uri="{FF2B5EF4-FFF2-40B4-BE49-F238E27FC236}">
                  <a16:creationId xmlns:a16="http://schemas.microsoft.com/office/drawing/2014/main" id="{7751113C-D648-470E-AC27-17E4137D35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575" y="5027613"/>
              <a:ext cx="146050" cy="23813"/>
            </a:xfrm>
            <a:custGeom>
              <a:avLst/>
              <a:gdLst>
                <a:gd name="T0" fmla="*/ 68 w 92"/>
                <a:gd name="T1" fmla="*/ 1 h 15"/>
                <a:gd name="T2" fmla="*/ 37 w 92"/>
                <a:gd name="T3" fmla="*/ 7 h 15"/>
                <a:gd name="T4" fmla="*/ 0 w 92"/>
                <a:gd name="T5" fmla="*/ 15 h 15"/>
                <a:gd name="T6" fmla="*/ 37 w 92"/>
                <a:gd name="T7" fmla="*/ 7 h 15"/>
                <a:gd name="T8" fmla="*/ 68 w 92"/>
                <a:gd name="T9" fmla="*/ 1 h 15"/>
                <a:gd name="T10" fmla="*/ 92 w 92"/>
                <a:gd name="T11" fmla="*/ 0 h 15"/>
                <a:gd name="T12" fmla="*/ 92 w 92"/>
                <a:gd name="T13" fmla="*/ 0 h 15"/>
                <a:gd name="T14" fmla="*/ 68 w 92"/>
                <a:gd name="T15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5">
                  <a:moveTo>
                    <a:pt x="68" y="1"/>
                  </a:moveTo>
                  <a:lnTo>
                    <a:pt x="37" y="7"/>
                  </a:lnTo>
                  <a:lnTo>
                    <a:pt x="0" y="15"/>
                  </a:lnTo>
                  <a:lnTo>
                    <a:pt x="37" y="7"/>
                  </a:lnTo>
                  <a:lnTo>
                    <a:pt x="68" y="1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68" y="1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29" name="Freeform 759">
              <a:extLst>
                <a:ext uri="{FF2B5EF4-FFF2-40B4-BE49-F238E27FC236}">
                  <a16:creationId xmlns:a16="http://schemas.microsoft.com/office/drawing/2014/main" id="{99ADC40D-20B5-4416-A1D2-738A31BB79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513" y="5076826"/>
              <a:ext cx="65088" cy="23813"/>
            </a:xfrm>
            <a:custGeom>
              <a:avLst/>
              <a:gdLst>
                <a:gd name="T0" fmla="*/ 15 w 41"/>
                <a:gd name="T1" fmla="*/ 5 h 15"/>
                <a:gd name="T2" fmla="*/ 0 w 41"/>
                <a:gd name="T3" fmla="*/ 0 h 15"/>
                <a:gd name="T4" fmla="*/ 0 w 41"/>
                <a:gd name="T5" fmla="*/ 0 h 15"/>
                <a:gd name="T6" fmla="*/ 15 w 41"/>
                <a:gd name="T7" fmla="*/ 5 h 15"/>
                <a:gd name="T8" fmla="*/ 20 w 41"/>
                <a:gd name="T9" fmla="*/ 13 h 15"/>
                <a:gd name="T10" fmla="*/ 41 w 41"/>
                <a:gd name="T11" fmla="*/ 15 h 15"/>
                <a:gd name="T12" fmla="*/ 41 w 41"/>
                <a:gd name="T13" fmla="*/ 15 h 15"/>
                <a:gd name="T14" fmla="*/ 20 w 41"/>
                <a:gd name="T15" fmla="*/ 13 h 15"/>
                <a:gd name="T16" fmla="*/ 15 w 41"/>
                <a:gd name="T1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15">
                  <a:moveTo>
                    <a:pt x="15" y="5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5" y="5"/>
                  </a:lnTo>
                  <a:lnTo>
                    <a:pt x="20" y="13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20" y="13"/>
                  </a:lnTo>
                  <a:lnTo>
                    <a:pt x="15" y="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30" name="Rectangle 760">
              <a:extLst>
                <a:ext uri="{FF2B5EF4-FFF2-40B4-BE49-F238E27FC236}">
                  <a16:creationId xmlns:a16="http://schemas.microsoft.com/office/drawing/2014/main" id="{A812C0C6-52B2-46E5-9C57-15FB54941D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1675" y="5070476"/>
              <a:ext cx="1588" cy="1588"/>
            </a:xfrm>
            <a:prstGeom prst="rect">
              <a:avLst/>
            </a:prstGeom>
            <a:grpFill/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31" name="Freeform 761">
              <a:extLst>
                <a:ext uri="{FF2B5EF4-FFF2-40B4-BE49-F238E27FC236}">
                  <a16:creationId xmlns:a16="http://schemas.microsoft.com/office/drawing/2014/main" id="{9EF24950-AAC6-4355-A3C4-998A99277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6138" y="5240338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0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32" name="Freeform 762">
              <a:extLst>
                <a:ext uri="{FF2B5EF4-FFF2-40B4-BE49-F238E27FC236}">
                  <a16:creationId xmlns:a16="http://schemas.microsoft.com/office/drawing/2014/main" id="{F8D30F35-31D3-47EE-BF56-500484E9D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363" y="5065713"/>
              <a:ext cx="33338" cy="30163"/>
            </a:xfrm>
            <a:custGeom>
              <a:avLst/>
              <a:gdLst>
                <a:gd name="T0" fmla="*/ 0 w 21"/>
                <a:gd name="T1" fmla="*/ 19 h 19"/>
                <a:gd name="T2" fmla="*/ 12 w 21"/>
                <a:gd name="T3" fmla="*/ 8 h 19"/>
                <a:gd name="T4" fmla="*/ 21 w 21"/>
                <a:gd name="T5" fmla="*/ 0 h 19"/>
                <a:gd name="T6" fmla="*/ 12 w 21"/>
                <a:gd name="T7" fmla="*/ 8 h 19"/>
                <a:gd name="T8" fmla="*/ 0 w 21"/>
                <a:gd name="T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9">
                  <a:moveTo>
                    <a:pt x="0" y="19"/>
                  </a:moveTo>
                  <a:lnTo>
                    <a:pt x="12" y="8"/>
                  </a:lnTo>
                  <a:lnTo>
                    <a:pt x="21" y="0"/>
                  </a:lnTo>
                  <a:lnTo>
                    <a:pt x="12" y="8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33" name="Freeform 763">
              <a:extLst>
                <a:ext uri="{FF2B5EF4-FFF2-40B4-BE49-F238E27FC236}">
                  <a16:creationId xmlns:a16="http://schemas.microsoft.com/office/drawing/2014/main" id="{31ADCA9F-B067-40D5-A84E-2D538C9D1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4175" y="5084763"/>
              <a:ext cx="15875" cy="7938"/>
            </a:xfrm>
            <a:custGeom>
              <a:avLst/>
              <a:gdLst>
                <a:gd name="T0" fmla="*/ 10 w 10"/>
                <a:gd name="T1" fmla="*/ 0 h 5"/>
                <a:gd name="T2" fmla="*/ 0 w 10"/>
                <a:gd name="T3" fmla="*/ 5 h 5"/>
                <a:gd name="T4" fmla="*/ 0 w 10"/>
                <a:gd name="T5" fmla="*/ 5 h 5"/>
                <a:gd name="T6" fmla="*/ 10 w 10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5">
                  <a:moveTo>
                    <a:pt x="10" y="0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34" name="Freeform 764">
              <a:extLst>
                <a:ext uri="{FF2B5EF4-FFF2-40B4-BE49-F238E27FC236}">
                  <a16:creationId xmlns:a16="http://schemas.microsoft.com/office/drawing/2014/main" id="{72C255F9-EF45-4F78-BE0E-B6070987C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1213" y="5232401"/>
              <a:ext cx="28575" cy="4763"/>
            </a:xfrm>
            <a:custGeom>
              <a:avLst/>
              <a:gdLst>
                <a:gd name="T0" fmla="*/ 0 w 18"/>
                <a:gd name="T1" fmla="*/ 0 h 3"/>
                <a:gd name="T2" fmla="*/ 8 w 18"/>
                <a:gd name="T3" fmla="*/ 1 h 3"/>
                <a:gd name="T4" fmla="*/ 18 w 18"/>
                <a:gd name="T5" fmla="*/ 3 h 3"/>
                <a:gd name="T6" fmla="*/ 8 w 18"/>
                <a:gd name="T7" fmla="*/ 1 h 3"/>
                <a:gd name="T8" fmla="*/ 0 w 18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3">
                  <a:moveTo>
                    <a:pt x="0" y="0"/>
                  </a:moveTo>
                  <a:lnTo>
                    <a:pt x="8" y="1"/>
                  </a:lnTo>
                  <a:lnTo>
                    <a:pt x="18" y="3"/>
                  </a:lnTo>
                  <a:lnTo>
                    <a:pt x="8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35" name="Freeform 765">
              <a:extLst>
                <a:ext uri="{FF2B5EF4-FFF2-40B4-BE49-F238E27FC236}">
                  <a16:creationId xmlns:a16="http://schemas.microsoft.com/office/drawing/2014/main" id="{67F215AC-F784-43B8-A8A5-66D4EAC20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0725" y="5076826"/>
              <a:ext cx="106363" cy="34925"/>
            </a:xfrm>
            <a:custGeom>
              <a:avLst/>
              <a:gdLst>
                <a:gd name="T0" fmla="*/ 41 w 67"/>
                <a:gd name="T1" fmla="*/ 5 h 22"/>
                <a:gd name="T2" fmla="*/ 1 w 67"/>
                <a:gd name="T3" fmla="*/ 3 h 22"/>
                <a:gd name="T4" fmla="*/ 0 w 67"/>
                <a:gd name="T5" fmla="*/ 0 h 22"/>
                <a:gd name="T6" fmla="*/ 1 w 67"/>
                <a:gd name="T7" fmla="*/ 3 h 22"/>
                <a:gd name="T8" fmla="*/ 41 w 67"/>
                <a:gd name="T9" fmla="*/ 5 h 22"/>
                <a:gd name="T10" fmla="*/ 60 w 67"/>
                <a:gd name="T11" fmla="*/ 15 h 22"/>
                <a:gd name="T12" fmla="*/ 67 w 67"/>
                <a:gd name="T13" fmla="*/ 22 h 22"/>
                <a:gd name="T14" fmla="*/ 60 w 67"/>
                <a:gd name="T15" fmla="*/ 15 h 22"/>
                <a:gd name="T16" fmla="*/ 41 w 67"/>
                <a:gd name="T1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22">
                  <a:moveTo>
                    <a:pt x="41" y="5"/>
                  </a:moveTo>
                  <a:lnTo>
                    <a:pt x="1" y="3"/>
                  </a:lnTo>
                  <a:lnTo>
                    <a:pt x="0" y="0"/>
                  </a:lnTo>
                  <a:lnTo>
                    <a:pt x="1" y="3"/>
                  </a:lnTo>
                  <a:lnTo>
                    <a:pt x="41" y="5"/>
                  </a:lnTo>
                  <a:lnTo>
                    <a:pt x="60" y="15"/>
                  </a:lnTo>
                  <a:lnTo>
                    <a:pt x="67" y="22"/>
                  </a:lnTo>
                  <a:lnTo>
                    <a:pt x="60" y="15"/>
                  </a:lnTo>
                  <a:lnTo>
                    <a:pt x="41" y="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36" name="Freeform 766">
              <a:extLst>
                <a:ext uri="{FF2B5EF4-FFF2-40B4-BE49-F238E27FC236}">
                  <a16:creationId xmlns:a16="http://schemas.microsoft.com/office/drawing/2014/main" id="{1EB73199-7174-40E2-83F4-571FE8189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1688" y="5138738"/>
              <a:ext cx="25400" cy="74613"/>
            </a:xfrm>
            <a:custGeom>
              <a:avLst/>
              <a:gdLst>
                <a:gd name="T0" fmla="*/ 11 w 16"/>
                <a:gd name="T1" fmla="*/ 23 h 47"/>
                <a:gd name="T2" fmla="*/ 12 w 16"/>
                <a:gd name="T3" fmla="*/ 5 h 47"/>
                <a:gd name="T4" fmla="*/ 16 w 16"/>
                <a:gd name="T5" fmla="*/ 0 h 47"/>
                <a:gd name="T6" fmla="*/ 12 w 16"/>
                <a:gd name="T7" fmla="*/ 5 h 47"/>
                <a:gd name="T8" fmla="*/ 11 w 16"/>
                <a:gd name="T9" fmla="*/ 23 h 47"/>
                <a:gd name="T10" fmla="*/ 0 w 16"/>
                <a:gd name="T11" fmla="*/ 38 h 47"/>
                <a:gd name="T12" fmla="*/ 0 w 16"/>
                <a:gd name="T13" fmla="*/ 47 h 47"/>
                <a:gd name="T14" fmla="*/ 0 w 16"/>
                <a:gd name="T15" fmla="*/ 38 h 47"/>
                <a:gd name="T16" fmla="*/ 11 w 16"/>
                <a:gd name="T17" fmla="*/ 2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47">
                  <a:moveTo>
                    <a:pt x="11" y="23"/>
                  </a:moveTo>
                  <a:lnTo>
                    <a:pt x="12" y="5"/>
                  </a:lnTo>
                  <a:lnTo>
                    <a:pt x="16" y="0"/>
                  </a:lnTo>
                  <a:lnTo>
                    <a:pt x="12" y="5"/>
                  </a:lnTo>
                  <a:lnTo>
                    <a:pt x="11" y="23"/>
                  </a:lnTo>
                  <a:lnTo>
                    <a:pt x="0" y="38"/>
                  </a:lnTo>
                  <a:lnTo>
                    <a:pt x="0" y="47"/>
                  </a:lnTo>
                  <a:lnTo>
                    <a:pt x="0" y="38"/>
                  </a:lnTo>
                  <a:lnTo>
                    <a:pt x="11" y="2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37" name="Freeform 767">
              <a:extLst>
                <a:ext uri="{FF2B5EF4-FFF2-40B4-BE49-F238E27FC236}">
                  <a16:creationId xmlns:a16="http://schemas.microsoft.com/office/drawing/2014/main" id="{CB387C86-3A12-4B12-B20F-4BA679E03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488" y="1228726"/>
              <a:ext cx="169863" cy="98425"/>
            </a:xfrm>
            <a:custGeom>
              <a:avLst/>
              <a:gdLst>
                <a:gd name="T0" fmla="*/ 18 w 107"/>
                <a:gd name="T1" fmla="*/ 11 h 62"/>
                <a:gd name="T2" fmla="*/ 2 w 107"/>
                <a:gd name="T3" fmla="*/ 7 h 62"/>
                <a:gd name="T4" fmla="*/ 0 w 107"/>
                <a:gd name="T5" fmla="*/ 16 h 62"/>
                <a:gd name="T6" fmla="*/ 11 w 107"/>
                <a:gd name="T7" fmla="*/ 30 h 62"/>
                <a:gd name="T8" fmla="*/ 18 w 107"/>
                <a:gd name="T9" fmla="*/ 38 h 62"/>
                <a:gd name="T10" fmla="*/ 26 w 107"/>
                <a:gd name="T11" fmla="*/ 43 h 62"/>
                <a:gd name="T12" fmla="*/ 35 w 107"/>
                <a:gd name="T13" fmla="*/ 37 h 62"/>
                <a:gd name="T14" fmla="*/ 43 w 107"/>
                <a:gd name="T15" fmla="*/ 42 h 62"/>
                <a:gd name="T16" fmla="*/ 54 w 107"/>
                <a:gd name="T17" fmla="*/ 40 h 62"/>
                <a:gd name="T18" fmla="*/ 66 w 107"/>
                <a:gd name="T19" fmla="*/ 45 h 62"/>
                <a:gd name="T20" fmla="*/ 80 w 107"/>
                <a:gd name="T21" fmla="*/ 55 h 62"/>
                <a:gd name="T22" fmla="*/ 90 w 107"/>
                <a:gd name="T23" fmla="*/ 62 h 62"/>
                <a:gd name="T24" fmla="*/ 93 w 107"/>
                <a:gd name="T25" fmla="*/ 57 h 62"/>
                <a:gd name="T26" fmla="*/ 90 w 107"/>
                <a:gd name="T27" fmla="*/ 50 h 62"/>
                <a:gd name="T28" fmla="*/ 90 w 107"/>
                <a:gd name="T29" fmla="*/ 45 h 62"/>
                <a:gd name="T30" fmla="*/ 104 w 107"/>
                <a:gd name="T31" fmla="*/ 43 h 62"/>
                <a:gd name="T32" fmla="*/ 105 w 107"/>
                <a:gd name="T33" fmla="*/ 28 h 62"/>
                <a:gd name="T34" fmla="*/ 99 w 107"/>
                <a:gd name="T35" fmla="*/ 18 h 62"/>
                <a:gd name="T36" fmla="*/ 107 w 107"/>
                <a:gd name="T37" fmla="*/ 14 h 62"/>
                <a:gd name="T38" fmla="*/ 97 w 107"/>
                <a:gd name="T39" fmla="*/ 6 h 62"/>
                <a:gd name="T40" fmla="*/ 100 w 107"/>
                <a:gd name="T41" fmla="*/ 0 h 62"/>
                <a:gd name="T42" fmla="*/ 26 w 107"/>
                <a:gd name="T43" fmla="*/ 0 h 62"/>
                <a:gd name="T44" fmla="*/ 28 w 107"/>
                <a:gd name="T45" fmla="*/ 6 h 62"/>
                <a:gd name="T46" fmla="*/ 18 w 107"/>
                <a:gd name="T47" fmla="*/ 1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62">
                  <a:moveTo>
                    <a:pt x="18" y="11"/>
                  </a:moveTo>
                  <a:lnTo>
                    <a:pt x="2" y="7"/>
                  </a:lnTo>
                  <a:lnTo>
                    <a:pt x="0" y="16"/>
                  </a:lnTo>
                  <a:lnTo>
                    <a:pt x="11" y="30"/>
                  </a:lnTo>
                  <a:lnTo>
                    <a:pt x="18" y="38"/>
                  </a:lnTo>
                  <a:lnTo>
                    <a:pt x="26" y="43"/>
                  </a:lnTo>
                  <a:lnTo>
                    <a:pt x="35" y="37"/>
                  </a:lnTo>
                  <a:lnTo>
                    <a:pt x="43" y="42"/>
                  </a:lnTo>
                  <a:lnTo>
                    <a:pt x="54" y="40"/>
                  </a:lnTo>
                  <a:lnTo>
                    <a:pt x="66" y="45"/>
                  </a:lnTo>
                  <a:lnTo>
                    <a:pt x="80" y="55"/>
                  </a:lnTo>
                  <a:lnTo>
                    <a:pt x="90" y="62"/>
                  </a:lnTo>
                  <a:lnTo>
                    <a:pt x="93" y="57"/>
                  </a:lnTo>
                  <a:lnTo>
                    <a:pt x="90" y="50"/>
                  </a:lnTo>
                  <a:lnTo>
                    <a:pt x="90" y="45"/>
                  </a:lnTo>
                  <a:lnTo>
                    <a:pt x="104" y="43"/>
                  </a:lnTo>
                  <a:lnTo>
                    <a:pt x="105" y="28"/>
                  </a:lnTo>
                  <a:lnTo>
                    <a:pt x="99" y="18"/>
                  </a:lnTo>
                  <a:lnTo>
                    <a:pt x="107" y="14"/>
                  </a:lnTo>
                  <a:lnTo>
                    <a:pt x="97" y="6"/>
                  </a:lnTo>
                  <a:lnTo>
                    <a:pt x="100" y="0"/>
                  </a:lnTo>
                  <a:lnTo>
                    <a:pt x="26" y="0"/>
                  </a:lnTo>
                  <a:lnTo>
                    <a:pt x="28" y="6"/>
                  </a:lnTo>
                  <a:lnTo>
                    <a:pt x="18" y="11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38" name="Freeform 768">
              <a:extLst>
                <a:ext uri="{FF2B5EF4-FFF2-40B4-BE49-F238E27FC236}">
                  <a16:creationId xmlns:a16="http://schemas.microsoft.com/office/drawing/2014/main" id="{1A69333D-BC67-46D8-8682-F486DE9923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438" y="1341438"/>
              <a:ext cx="57150" cy="68263"/>
            </a:xfrm>
            <a:custGeom>
              <a:avLst/>
              <a:gdLst>
                <a:gd name="T0" fmla="*/ 22 w 36"/>
                <a:gd name="T1" fmla="*/ 26 h 43"/>
                <a:gd name="T2" fmla="*/ 24 w 36"/>
                <a:gd name="T3" fmla="*/ 36 h 43"/>
                <a:gd name="T4" fmla="*/ 32 w 36"/>
                <a:gd name="T5" fmla="*/ 43 h 43"/>
                <a:gd name="T6" fmla="*/ 34 w 36"/>
                <a:gd name="T7" fmla="*/ 33 h 43"/>
                <a:gd name="T8" fmla="*/ 36 w 36"/>
                <a:gd name="T9" fmla="*/ 22 h 43"/>
                <a:gd name="T10" fmla="*/ 29 w 36"/>
                <a:gd name="T11" fmla="*/ 14 h 43"/>
                <a:gd name="T12" fmla="*/ 18 w 36"/>
                <a:gd name="T13" fmla="*/ 7 h 43"/>
                <a:gd name="T14" fmla="*/ 1 w 36"/>
                <a:gd name="T15" fmla="*/ 0 h 43"/>
                <a:gd name="T16" fmla="*/ 0 w 36"/>
                <a:gd name="T17" fmla="*/ 12 h 43"/>
                <a:gd name="T18" fmla="*/ 5 w 36"/>
                <a:gd name="T19" fmla="*/ 24 h 43"/>
                <a:gd name="T20" fmla="*/ 5 w 36"/>
                <a:gd name="T21" fmla="*/ 24 h 43"/>
                <a:gd name="T22" fmla="*/ 13 w 36"/>
                <a:gd name="T23" fmla="*/ 24 h 43"/>
                <a:gd name="T24" fmla="*/ 22 w 36"/>
                <a:gd name="T25" fmla="*/ 26 h 43"/>
                <a:gd name="T26" fmla="*/ 22 w 36"/>
                <a:gd name="T27" fmla="*/ 26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" h="43">
                  <a:moveTo>
                    <a:pt x="22" y="26"/>
                  </a:moveTo>
                  <a:lnTo>
                    <a:pt x="24" y="36"/>
                  </a:lnTo>
                  <a:lnTo>
                    <a:pt x="32" y="43"/>
                  </a:lnTo>
                  <a:lnTo>
                    <a:pt x="34" y="33"/>
                  </a:lnTo>
                  <a:lnTo>
                    <a:pt x="36" y="22"/>
                  </a:lnTo>
                  <a:lnTo>
                    <a:pt x="29" y="14"/>
                  </a:lnTo>
                  <a:lnTo>
                    <a:pt x="18" y="7"/>
                  </a:lnTo>
                  <a:lnTo>
                    <a:pt x="1" y="0"/>
                  </a:lnTo>
                  <a:lnTo>
                    <a:pt x="0" y="12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13" y="24"/>
                  </a:lnTo>
                  <a:lnTo>
                    <a:pt x="22" y="26"/>
                  </a:lnTo>
                  <a:lnTo>
                    <a:pt x="22" y="2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39" name="Freeform 769">
              <a:extLst>
                <a:ext uri="{FF2B5EF4-FFF2-40B4-BE49-F238E27FC236}">
                  <a16:creationId xmlns:a16="http://schemas.microsoft.com/office/drawing/2014/main" id="{D6CCC007-EE34-4B68-BD30-F8DED4A823A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325" y="1447801"/>
              <a:ext cx="68263" cy="117475"/>
            </a:xfrm>
            <a:custGeom>
              <a:avLst/>
              <a:gdLst>
                <a:gd name="T0" fmla="*/ 10 w 43"/>
                <a:gd name="T1" fmla="*/ 36 h 74"/>
                <a:gd name="T2" fmla="*/ 17 w 43"/>
                <a:gd name="T3" fmla="*/ 52 h 74"/>
                <a:gd name="T4" fmla="*/ 36 w 43"/>
                <a:gd name="T5" fmla="*/ 74 h 74"/>
                <a:gd name="T6" fmla="*/ 43 w 43"/>
                <a:gd name="T7" fmla="*/ 67 h 74"/>
                <a:gd name="T8" fmla="*/ 36 w 43"/>
                <a:gd name="T9" fmla="*/ 53 h 74"/>
                <a:gd name="T10" fmla="*/ 29 w 43"/>
                <a:gd name="T11" fmla="*/ 48 h 74"/>
                <a:gd name="T12" fmla="*/ 32 w 43"/>
                <a:gd name="T13" fmla="*/ 43 h 74"/>
                <a:gd name="T14" fmla="*/ 22 w 43"/>
                <a:gd name="T15" fmla="*/ 34 h 74"/>
                <a:gd name="T16" fmla="*/ 29 w 43"/>
                <a:gd name="T17" fmla="*/ 31 h 74"/>
                <a:gd name="T18" fmla="*/ 29 w 43"/>
                <a:gd name="T19" fmla="*/ 21 h 74"/>
                <a:gd name="T20" fmla="*/ 13 w 43"/>
                <a:gd name="T21" fmla="*/ 16 h 74"/>
                <a:gd name="T22" fmla="*/ 7 w 43"/>
                <a:gd name="T23" fmla="*/ 0 h 74"/>
                <a:gd name="T24" fmla="*/ 0 w 43"/>
                <a:gd name="T25" fmla="*/ 5 h 74"/>
                <a:gd name="T26" fmla="*/ 1 w 43"/>
                <a:gd name="T27" fmla="*/ 16 h 74"/>
                <a:gd name="T28" fmla="*/ 10 w 43"/>
                <a:gd name="T29" fmla="*/ 3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74">
                  <a:moveTo>
                    <a:pt x="10" y="36"/>
                  </a:moveTo>
                  <a:lnTo>
                    <a:pt x="17" y="52"/>
                  </a:lnTo>
                  <a:lnTo>
                    <a:pt x="36" y="74"/>
                  </a:lnTo>
                  <a:lnTo>
                    <a:pt x="43" y="67"/>
                  </a:lnTo>
                  <a:lnTo>
                    <a:pt x="36" y="53"/>
                  </a:lnTo>
                  <a:lnTo>
                    <a:pt x="29" y="48"/>
                  </a:lnTo>
                  <a:lnTo>
                    <a:pt x="32" y="43"/>
                  </a:lnTo>
                  <a:lnTo>
                    <a:pt x="22" y="34"/>
                  </a:lnTo>
                  <a:lnTo>
                    <a:pt x="29" y="31"/>
                  </a:lnTo>
                  <a:lnTo>
                    <a:pt x="29" y="21"/>
                  </a:lnTo>
                  <a:lnTo>
                    <a:pt x="13" y="16"/>
                  </a:lnTo>
                  <a:lnTo>
                    <a:pt x="7" y="0"/>
                  </a:lnTo>
                  <a:lnTo>
                    <a:pt x="0" y="5"/>
                  </a:lnTo>
                  <a:lnTo>
                    <a:pt x="1" y="16"/>
                  </a:lnTo>
                  <a:lnTo>
                    <a:pt x="10" y="3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0" name="Freeform 770">
              <a:extLst>
                <a:ext uri="{FF2B5EF4-FFF2-40B4-BE49-F238E27FC236}">
                  <a16:creationId xmlns:a16="http://schemas.microsoft.com/office/drawing/2014/main" id="{E32EE428-F6D5-4A60-9A3E-385487E0C1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700" y="1228726"/>
              <a:ext cx="7938" cy="3175"/>
            </a:xfrm>
            <a:custGeom>
              <a:avLst/>
              <a:gdLst>
                <a:gd name="T0" fmla="*/ 5 w 5"/>
                <a:gd name="T1" fmla="*/ 0 h 2"/>
                <a:gd name="T2" fmla="*/ 0 w 5"/>
                <a:gd name="T3" fmla="*/ 0 h 2"/>
                <a:gd name="T4" fmla="*/ 0 w 5"/>
                <a:gd name="T5" fmla="*/ 2 h 2"/>
                <a:gd name="T6" fmla="*/ 5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1" name="Freeform 771">
              <a:extLst>
                <a:ext uri="{FF2B5EF4-FFF2-40B4-BE49-F238E27FC236}">
                  <a16:creationId xmlns:a16="http://schemas.microsoft.com/office/drawing/2014/main" id="{8FBCBFBF-56EF-40C3-BB11-F664C9BB5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6838" y="5137151"/>
              <a:ext cx="2455863" cy="1563688"/>
            </a:xfrm>
            <a:custGeom>
              <a:avLst/>
              <a:gdLst>
                <a:gd name="T0" fmla="*/ 1299 w 1547"/>
                <a:gd name="T1" fmla="*/ 973 h 985"/>
                <a:gd name="T2" fmla="*/ 1308 w 1547"/>
                <a:gd name="T3" fmla="*/ 935 h 985"/>
                <a:gd name="T4" fmla="*/ 1375 w 1547"/>
                <a:gd name="T5" fmla="*/ 935 h 985"/>
                <a:gd name="T6" fmla="*/ 1391 w 1547"/>
                <a:gd name="T7" fmla="*/ 906 h 985"/>
                <a:gd name="T8" fmla="*/ 1322 w 1547"/>
                <a:gd name="T9" fmla="*/ 849 h 985"/>
                <a:gd name="T10" fmla="*/ 1293 w 1547"/>
                <a:gd name="T11" fmla="*/ 875 h 985"/>
                <a:gd name="T12" fmla="*/ 1332 w 1547"/>
                <a:gd name="T13" fmla="*/ 753 h 985"/>
                <a:gd name="T14" fmla="*/ 1389 w 1547"/>
                <a:gd name="T15" fmla="*/ 681 h 985"/>
                <a:gd name="T16" fmla="*/ 1482 w 1547"/>
                <a:gd name="T17" fmla="*/ 644 h 985"/>
                <a:gd name="T18" fmla="*/ 1484 w 1547"/>
                <a:gd name="T19" fmla="*/ 644 h 985"/>
                <a:gd name="T20" fmla="*/ 1472 w 1547"/>
                <a:gd name="T21" fmla="*/ 558 h 985"/>
                <a:gd name="T22" fmla="*/ 1539 w 1547"/>
                <a:gd name="T23" fmla="*/ 404 h 985"/>
                <a:gd name="T24" fmla="*/ 1489 w 1547"/>
                <a:gd name="T25" fmla="*/ 376 h 985"/>
                <a:gd name="T26" fmla="*/ 1437 w 1547"/>
                <a:gd name="T27" fmla="*/ 366 h 985"/>
                <a:gd name="T28" fmla="*/ 1401 w 1547"/>
                <a:gd name="T29" fmla="*/ 343 h 985"/>
                <a:gd name="T30" fmla="*/ 1361 w 1547"/>
                <a:gd name="T31" fmla="*/ 335 h 985"/>
                <a:gd name="T32" fmla="*/ 1282 w 1547"/>
                <a:gd name="T33" fmla="*/ 304 h 985"/>
                <a:gd name="T34" fmla="*/ 1237 w 1547"/>
                <a:gd name="T35" fmla="*/ 294 h 985"/>
                <a:gd name="T36" fmla="*/ 1205 w 1547"/>
                <a:gd name="T37" fmla="*/ 271 h 985"/>
                <a:gd name="T38" fmla="*/ 1148 w 1547"/>
                <a:gd name="T39" fmla="*/ 240 h 985"/>
                <a:gd name="T40" fmla="*/ 1151 w 1547"/>
                <a:gd name="T41" fmla="*/ 175 h 985"/>
                <a:gd name="T42" fmla="*/ 1093 w 1547"/>
                <a:gd name="T43" fmla="*/ 215 h 985"/>
                <a:gd name="T44" fmla="*/ 1060 w 1547"/>
                <a:gd name="T45" fmla="*/ 177 h 985"/>
                <a:gd name="T46" fmla="*/ 1038 w 1547"/>
                <a:gd name="T47" fmla="*/ 141 h 985"/>
                <a:gd name="T48" fmla="*/ 1010 w 1547"/>
                <a:gd name="T49" fmla="*/ 144 h 985"/>
                <a:gd name="T50" fmla="*/ 972 w 1547"/>
                <a:gd name="T51" fmla="*/ 113 h 985"/>
                <a:gd name="T52" fmla="*/ 935 w 1547"/>
                <a:gd name="T53" fmla="*/ 60 h 985"/>
                <a:gd name="T54" fmla="*/ 895 w 1547"/>
                <a:gd name="T55" fmla="*/ 53 h 985"/>
                <a:gd name="T56" fmla="*/ 793 w 1547"/>
                <a:gd name="T57" fmla="*/ 22 h 985"/>
                <a:gd name="T58" fmla="*/ 756 w 1547"/>
                <a:gd name="T59" fmla="*/ 98 h 985"/>
                <a:gd name="T60" fmla="*/ 759 w 1547"/>
                <a:gd name="T61" fmla="*/ 170 h 985"/>
                <a:gd name="T62" fmla="*/ 664 w 1547"/>
                <a:gd name="T63" fmla="*/ 225 h 985"/>
                <a:gd name="T64" fmla="*/ 587 w 1547"/>
                <a:gd name="T65" fmla="*/ 304 h 985"/>
                <a:gd name="T66" fmla="*/ 463 w 1547"/>
                <a:gd name="T67" fmla="*/ 319 h 985"/>
                <a:gd name="T68" fmla="*/ 423 w 1547"/>
                <a:gd name="T69" fmla="*/ 280 h 985"/>
                <a:gd name="T70" fmla="*/ 351 w 1547"/>
                <a:gd name="T71" fmla="*/ 271 h 985"/>
                <a:gd name="T72" fmla="*/ 380 w 1547"/>
                <a:gd name="T73" fmla="*/ 380 h 985"/>
                <a:gd name="T74" fmla="*/ 406 w 1547"/>
                <a:gd name="T75" fmla="*/ 452 h 985"/>
                <a:gd name="T76" fmla="*/ 330 w 1547"/>
                <a:gd name="T77" fmla="*/ 448 h 985"/>
                <a:gd name="T78" fmla="*/ 243 w 1547"/>
                <a:gd name="T79" fmla="*/ 466 h 985"/>
                <a:gd name="T80" fmla="*/ 194 w 1547"/>
                <a:gd name="T81" fmla="*/ 412 h 985"/>
                <a:gd name="T82" fmla="*/ 143 w 1547"/>
                <a:gd name="T83" fmla="*/ 438 h 985"/>
                <a:gd name="T84" fmla="*/ 96 w 1547"/>
                <a:gd name="T85" fmla="*/ 433 h 985"/>
                <a:gd name="T86" fmla="*/ 29 w 1547"/>
                <a:gd name="T87" fmla="*/ 454 h 985"/>
                <a:gd name="T88" fmla="*/ 33 w 1547"/>
                <a:gd name="T89" fmla="*/ 498 h 985"/>
                <a:gd name="T90" fmla="*/ 28 w 1547"/>
                <a:gd name="T91" fmla="*/ 531 h 985"/>
                <a:gd name="T92" fmla="*/ 7 w 1547"/>
                <a:gd name="T93" fmla="*/ 557 h 985"/>
                <a:gd name="T94" fmla="*/ 72 w 1547"/>
                <a:gd name="T95" fmla="*/ 598 h 985"/>
                <a:gd name="T96" fmla="*/ 141 w 1547"/>
                <a:gd name="T97" fmla="*/ 607 h 985"/>
                <a:gd name="T98" fmla="*/ 201 w 1547"/>
                <a:gd name="T99" fmla="*/ 643 h 985"/>
                <a:gd name="T100" fmla="*/ 270 w 1547"/>
                <a:gd name="T101" fmla="*/ 670 h 985"/>
                <a:gd name="T102" fmla="*/ 312 w 1547"/>
                <a:gd name="T103" fmla="*/ 706 h 985"/>
                <a:gd name="T104" fmla="*/ 303 w 1547"/>
                <a:gd name="T105" fmla="*/ 737 h 985"/>
                <a:gd name="T106" fmla="*/ 349 w 1547"/>
                <a:gd name="T107" fmla="*/ 796 h 985"/>
                <a:gd name="T108" fmla="*/ 416 w 1547"/>
                <a:gd name="T109" fmla="*/ 866 h 985"/>
                <a:gd name="T110" fmla="*/ 413 w 1547"/>
                <a:gd name="T111" fmla="*/ 920 h 985"/>
                <a:gd name="T112" fmla="*/ 1318 w 1547"/>
                <a:gd name="T113" fmla="*/ 983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47" h="985">
                  <a:moveTo>
                    <a:pt x="1318" y="983"/>
                  </a:moveTo>
                  <a:lnTo>
                    <a:pt x="1318" y="983"/>
                  </a:lnTo>
                  <a:lnTo>
                    <a:pt x="1317" y="983"/>
                  </a:lnTo>
                  <a:lnTo>
                    <a:pt x="1317" y="983"/>
                  </a:lnTo>
                  <a:lnTo>
                    <a:pt x="1313" y="985"/>
                  </a:lnTo>
                  <a:lnTo>
                    <a:pt x="1311" y="983"/>
                  </a:lnTo>
                  <a:lnTo>
                    <a:pt x="1303" y="975"/>
                  </a:lnTo>
                  <a:lnTo>
                    <a:pt x="1299" y="973"/>
                  </a:lnTo>
                  <a:lnTo>
                    <a:pt x="1298" y="970"/>
                  </a:lnTo>
                  <a:lnTo>
                    <a:pt x="1294" y="961"/>
                  </a:lnTo>
                  <a:lnTo>
                    <a:pt x="1294" y="959"/>
                  </a:lnTo>
                  <a:lnTo>
                    <a:pt x="1296" y="957"/>
                  </a:lnTo>
                  <a:lnTo>
                    <a:pt x="1299" y="952"/>
                  </a:lnTo>
                  <a:lnTo>
                    <a:pt x="1303" y="944"/>
                  </a:lnTo>
                  <a:lnTo>
                    <a:pt x="1306" y="939"/>
                  </a:lnTo>
                  <a:lnTo>
                    <a:pt x="1308" y="935"/>
                  </a:lnTo>
                  <a:lnTo>
                    <a:pt x="1320" y="935"/>
                  </a:lnTo>
                  <a:lnTo>
                    <a:pt x="1324" y="932"/>
                  </a:lnTo>
                  <a:lnTo>
                    <a:pt x="1329" y="932"/>
                  </a:lnTo>
                  <a:lnTo>
                    <a:pt x="1337" y="940"/>
                  </a:lnTo>
                  <a:lnTo>
                    <a:pt x="1356" y="942"/>
                  </a:lnTo>
                  <a:lnTo>
                    <a:pt x="1360" y="939"/>
                  </a:lnTo>
                  <a:lnTo>
                    <a:pt x="1365" y="937"/>
                  </a:lnTo>
                  <a:lnTo>
                    <a:pt x="1375" y="935"/>
                  </a:lnTo>
                  <a:lnTo>
                    <a:pt x="1384" y="939"/>
                  </a:lnTo>
                  <a:lnTo>
                    <a:pt x="1386" y="939"/>
                  </a:lnTo>
                  <a:lnTo>
                    <a:pt x="1391" y="939"/>
                  </a:lnTo>
                  <a:lnTo>
                    <a:pt x="1398" y="930"/>
                  </a:lnTo>
                  <a:lnTo>
                    <a:pt x="1399" y="928"/>
                  </a:lnTo>
                  <a:lnTo>
                    <a:pt x="1404" y="927"/>
                  </a:lnTo>
                  <a:lnTo>
                    <a:pt x="1404" y="927"/>
                  </a:lnTo>
                  <a:lnTo>
                    <a:pt x="1391" y="906"/>
                  </a:lnTo>
                  <a:lnTo>
                    <a:pt x="1391" y="892"/>
                  </a:lnTo>
                  <a:lnTo>
                    <a:pt x="1375" y="889"/>
                  </a:lnTo>
                  <a:lnTo>
                    <a:pt x="1384" y="866"/>
                  </a:lnTo>
                  <a:lnTo>
                    <a:pt x="1372" y="856"/>
                  </a:lnTo>
                  <a:lnTo>
                    <a:pt x="1377" y="846"/>
                  </a:lnTo>
                  <a:lnTo>
                    <a:pt x="1360" y="837"/>
                  </a:lnTo>
                  <a:lnTo>
                    <a:pt x="1341" y="835"/>
                  </a:lnTo>
                  <a:lnTo>
                    <a:pt x="1322" y="849"/>
                  </a:lnTo>
                  <a:lnTo>
                    <a:pt x="1311" y="854"/>
                  </a:lnTo>
                  <a:lnTo>
                    <a:pt x="1306" y="865"/>
                  </a:lnTo>
                  <a:lnTo>
                    <a:pt x="1315" y="871"/>
                  </a:lnTo>
                  <a:lnTo>
                    <a:pt x="1315" y="880"/>
                  </a:lnTo>
                  <a:lnTo>
                    <a:pt x="1296" y="890"/>
                  </a:lnTo>
                  <a:lnTo>
                    <a:pt x="1279" y="892"/>
                  </a:lnTo>
                  <a:lnTo>
                    <a:pt x="1277" y="880"/>
                  </a:lnTo>
                  <a:lnTo>
                    <a:pt x="1293" y="875"/>
                  </a:lnTo>
                  <a:lnTo>
                    <a:pt x="1301" y="851"/>
                  </a:lnTo>
                  <a:lnTo>
                    <a:pt x="1293" y="839"/>
                  </a:lnTo>
                  <a:lnTo>
                    <a:pt x="1301" y="825"/>
                  </a:lnTo>
                  <a:lnTo>
                    <a:pt x="1296" y="815"/>
                  </a:lnTo>
                  <a:lnTo>
                    <a:pt x="1303" y="808"/>
                  </a:lnTo>
                  <a:lnTo>
                    <a:pt x="1334" y="784"/>
                  </a:lnTo>
                  <a:lnTo>
                    <a:pt x="1336" y="761"/>
                  </a:lnTo>
                  <a:lnTo>
                    <a:pt x="1332" y="753"/>
                  </a:lnTo>
                  <a:lnTo>
                    <a:pt x="1363" y="737"/>
                  </a:lnTo>
                  <a:lnTo>
                    <a:pt x="1367" y="720"/>
                  </a:lnTo>
                  <a:lnTo>
                    <a:pt x="1379" y="715"/>
                  </a:lnTo>
                  <a:lnTo>
                    <a:pt x="1392" y="700"/>
                  </a:lnTo>
                  <a:lnTo>
                    <a:pt x="1392" y="691"/>
                  </a:lnTo>
                  <a:lnTo>
                    <a:pt x="1406" y="684"/>
                  </a:lnTo>
                  <a:lnTo>
                    <a:pt x="1403" y="675"/>
                  </a:lnTo>
                  <a:lnTo>
                    <a:pt x="1389" y="681"/>
                  </a:lnTo>
                  <a:lnTo>
                    <a:pt x="1387" y="667"/>
                  </a:lnTo>
                  <a:lnTo>
                    <a:pt x="1399" y="658"/>
                  </a:lnTo>
                  <a:lnTo>
                    <a:pt x="1420" y="657"/>
                  </a:lnTo>
                  <a:lnTo>
                    <a:pt x="1425" y="667"/>
                  </a:lnTo>
                  <a:lnTo>
                    <a:pt x="1442" y="669"/>
                  </a:lnTo>
                  <a:lnTo>
                    <a:pt x="1458" y="655"/>
                  </a:lnTo>
                  <a:lnTo>
                    <a:pt x="1472" y="638"/>
                  </a:lnTo>
                  <a:lnTo>
                    <a:pt x="1482" y="644"/>
                  </a:lnTo>
                  <a:lnTo>
                    <a:pt x="1504" y="638"/>
                  </a:lnTo>
                  <a:lnTo>
                    <a:pt x="1509" y="644"/>
                  </a:lnTo>
                  <a:lnTo>
                    <a:pt x="1532" y="641"/>
                  </a:lnTo>
                  <a:lnTo>
                    <a:pt x="1532" y="639"/>
                  </a:lnTo>
                  <a:lnTo>
                    <a:pt x="1523" y="641"/>
                  </a:lnTo>
                  <a:lnTo>
                    <a:pt x="1511" y="644"/>
                  </a:lnTo>
                  <a:lnTo>
                    <a:pt x="1506" y="638"/>
                  </a:lnTo>
                  <a:lnTo>
                    <a:pt x="1484" y="644"/>
                  </a:lnTo>
                  <a:lnTo>
                    <a:pt x="1472" y="638"/>
                  </a:lnTo>
                  <a:lnTo>
                    <a:pt x="1472" y="638"/>
                  </a:lnTo>
                  <a:lnTo>
                    <a:pt x="1470" y="632"/>
                  </a:lnTo>
                  <a:lnTo>
                    <a:pt x="1465" y="622"/>
                  </a:lnTo>
                  <a:lnTo>
                    <a:pt x="1465" y="622"/>
                  </a:lnTo>
                  <a:lnTo>
                    <a:pt x="1472" y="591"/>
                  </a:lnTo>
                  <a:lnTo>
                    <a:pt x="1477" y="571"/>
                  </a:lnTo>
                  <a:lnTo>
                    <a:pt x="1472" y="558"/>
                  </a:lnTo>
                  <a:lnTo>
                    <a:pt x="1477" y="531"/>
                  </a:lnTo>
                  <a:lnTo>
                    <a:pt x="1477" y="531"/>
                  </a:lnTo>
                  <a:lnTo>
                    <a:pt x="1477" y="531"/>
                  </a:lnTo>
                  <a:lnTo>
                    <a:pt x="1477" y="528"/>
                  </a:lnTo>
                  <a:lnTo>
                    <a:pt x="1492" y="503"/>
                  </a:lnTo>
                  <a:lnTo>
                    <a:pt x="1496" y="460"/>
                  </a:lnTo>
                  <a:lnTo>
                    <a:pt x="1528" y="419"/>
                  </a:lnTo>
                  <a:lnTo>
                    <a:pt x="1539" y="404"/>
                  </a:lnTo>
                  <a:lnTo>
                    <a:pt x="1547" y="393"/>
                  </a:lnTo>
                  <a:lnTo>
                    <a:pt x="1530" y="386"/>
                  </a:lnTo>
                  <a:lnTo>
                    <a:pt x="1513" y="374"/>
                  </a:lnTo>
                  <a:lnTo>
                    <a:pt x="1509" y="376"/>
                  </a:lnTo>
                  <a:lnTo>
                    <a:pt x="1506" y="378"/>
                  </a:lnTo>
                  <a:lnTo>
                    <a:pt x="1501" y="376"/>
                  </a:lnTo>
                  <a:lnTo>
                    <a:pt x="1496" y="374"/>
                  </a:lnTo>
                  <a:lnTo>
                    <a:pt x="1489" y="376"/>
                  </a:lnTo>
                  <a:lnTo>
                    <a:pt x="1484" y="378"/>
                  </a:lnTo>
                  <a:lnTo>
                    <a:pt x="1461" y="366"/>
                  </a:lnTo>
                  <a:lnTo>
                    <a:pt x="1461" y="366"/>
                  </a:lnTo>
                  <a:lnTo>
                    <a:pt x="1461" y="366"/>
                  </a:lnTo>
                  <a:lnTo>
                    <a:pt x="1458" y="352"/>
                  </a:lnTo>
                  <a:lnTo>
                    <a:pt x="1458" y="349"/>
                  </a:lnTo>
                  <a:lnTo>
                    <a:pt x="1449" y="356"/>
                  </a:lnTo>
                  <a:lnTo>
                    <a:pt x="1437" y="366"/>
                  </a:lnTo>
                  <a:lnTo>
                    <a:pt x="1423" y="366"/>
                  </a:lnTo>
                  <a:lnTo>
                    <a:pt x="1416" y="361"/>
                  </a:lnTo>
                  <a:lnTo>
                    <a:pt x="1413" y="357"/>
                  </a:lnTo>
                  <a:lnTo>
                    <a:pt x="1408" y="362"/>
                  </a:lnTo>
                  <a:lnTo>
                    <a:pt x="1406" y="364"/>
                  </a:lnTo>
                  <a:lnTo>
                    <a:pt x="1406" y="364"/>
                  </a:lnTo>
                  <a:lnTo>
                    <a:pt x="1406" y="364"/>
                  </a:lnTo>
                  <a:lnTo>
                    <a:pt x="1401" y="343"/>
                  </a:lnTo>
                  <a:lnTo>
                    <a:pt x="1382" y="349"/>
                  </a:lnTo>
                  <a:lnTo>
                    <a:pt x="1382" y="361"/>
                  </a:lnTo>
                  <a:lnTo>
                    <a:pt x="1377" y="359"/>
                  </a:lnTo>
                  <a:lnTo>
                    <a:pt x="1372" y="357"/>
                  </a:lnTo>
                  <a:lnTo>
                    <a:pt x="1372" y="357"/>
                  </a:lnTo>
                  <a:lnTo>
                    <a:pt x="1372" y="357"/>
                  </a:lnTo>
                  <a:lnTo>
                    <a:pt x="1365" y="338"/>
                  </a:lnTo>
                  <a:lnTo>
                    <a:pt x="1361" y="335"/>
                  </a:lnTo>
                  <a:lnTo>
                    <a:pt x="1349" y="325"/>
                  </a:lnTo>
                  <a:lnTo>
                    <a:pt x="1355" y="313"/>
                  </a:lnTo>
                  <a:lnTo>
                    <a:pt x="1342" y="307"/>
                  </a:lnTo>
                  <a:lnTo>
                    <a:pt x="1325" y="299"/>
                  </a:lnTo>
                  <a:lnTo>
                    <a:pt x="1311" y="290"/>
                  </a:lnTo>
                  <a:lnTo>
                    <a:pt x="1296" y="302"/>
                  </a:lnTo>
                  <a:lnTo>
                    <a:pt x="1282" y="304"/>
                  </a:lnTo>
                  <a:lnTo>
                    <a:pt x="1282" y="304"/>
                  </a:lnTo>
                  <a:lnTo>
                    <a:pt x="1282" y="304"/>
                  </a:lnTo>
                  <a:lnTo>
                    <a:pt x="1277" y="295"/>
                  </a:lnTo>
                  <a:lnTo>
                    <a:pt x="1267" y="295"/>
                  </a:lnTo>
                  <a:lnTo>
                    <a:pt x="1267" y="295"/>
                  </a:lnTo>
                  <a:lnTo>
                    <a:pt x="1267" y="295"/>
                  </a:lnTo>
                  <a:lnTo>
                    <a:pt x="1262" y="285"/>
                  </a:lnTo>
                  <a:lnTo>
                    <a:pt x="1244" y="283"/>
                  </a:lnTo>
                  <a:lnTo>
                    <a:pt x="1237" y="294"/>
                  </a:lnTo>
                  <a:lnTo>
                    <a:pt x="1237" y="294"/>
                  </a:lnTo>
                  <a:lnTo>
                    <a:pt x="1237" y="294"/>
                  </a:lnTo>
                  <a:lnTo>
                    <a:pt x="1231" y="290"/>
                  </a:lnTo>
                  <a:lnTo>
                    <a:pt x="1220" y="294"/>
                  </a:lnTo>
                  <a:lnTo>
                    <a:pt x="1220" y="294"/>
                  </a:lnTo>
                  <a:lnTo>
                    <a:pt x="1220" y="294"/>
                  </a:lnTo>
                  <a:lnTo>
                    <a:pt x="1219" y="282"/>
                  </a:lnTo>
                  <a:lnTo>
                    <a:pt x="1205" y="271"/>
                  </a:lnTo>
                  <a:lnTo>
                    <a:pt x="1194" y="259"/>
                  </a:lnTo>
                  <a:lnTo>
                    <a:pt x="1184" y="259"/>
                  </a:lnTo>
                  <a:lnTo>
                    <a:pt x="1184" y="259"/>
                  </a:lnTo>
                  <a:lnTo>
                    <a:pt x="1176" y="245"/>
                  </a:lnTo>
                  <a:lnTo>
                    <a:pt x="1162" y="240"/>
                  </a:lnTo>
                  <a:lnTo>
                    <a:pt x="1148" y="240"/>
                  </a:lnTo>
                  <a:lnTo>
                    <a:pt x="1148" y="240"/>
                  </a:lnTo>
                  <a:lnTo>
                    <a:pt x="1148" y="240"/>
                  </a:lnTo>
                  <a:lnTo>
                    <a:pt x="1150" y="223"/>
                  </a:lnTo>
                  <a:lnTo>
                    <a:pt x="1145" y="213"/>
                  </a:lnTo>
                  <a:lnTo>
                    <a:pt x="1138" y="208"/>
                  </a:lnTo>
                  <a:lnTo>
                    <a:pt x="1143" y="196"/>
                  </a:lnTo>
                  <a:lnTo>
                    <a:pt x="1145" y="185"/>
                  </a:lnTo>
                  <a:lnTo>
                    <a:pt x="1151" y="185"/>
                  </a:lnTo>
                  <a:lnTo>
                    <a:pt x="1151" y="175"/>
                  </a:lnTo>
                  <a:lnTo>
                    <a:pt x="1151" y="175"/>
                  </a:lnTo>
                  <a:lnTo>
                    <a:pt x="1138" y="173"/>
                  </a:lnTo>
                  <a:lnTo>
                    <a:pt x="1129" y="185"/>
                  </a:lnTo>
                  <a:lnTo>
                    <a:pt x="1127" y="192"/>
                  </a:lnTo>
                  <a:lnTo>
                    <a:pt x="1127" y="204"/>
                  </a:lnTo>
                  <a:lnTo>
                    <a:pt x="1115" y="208"/>
                  </a:lnTo>
                  <a:lnTo>
                    <a:pt x="1110" y="209"/>
                  </a:lnTo>
                  <a:lnTo>
                    <a:pt x="1105" y="211"/>
                  </a:lnTo>
                  <a:lnTo>
                    <a:pt x="1093" y="215"/>
                  </a:lnTo>
                  <a:lnTo>
                    <a:pt x="1093" y="215"/>
                  </a:lnTo>
                  <a:lnTo>
                    <a:pt x="1093" y="215"/>
                  </a:lnTo>
                  <a:lnTo>
                    <a:pt x="1079" y="208"/>
                  </a:lnTo>
                  <a:lnTo>
                    <a:pt x="1062" y="208"/>
                  </a:lnTo>
                  <a:lnTo>
                    <a:pt x="1064" y="196"/>
                  </a:lnTo>
                  <a:lnTo>
                    <a:pt x="1072" y="190"/>
                  </a:lnTo>
                  <a:lnTo>
                    <a:pt x="1069" y="178"/>
                  </a:lnTo>
                  <a:lnTo>
                    <a:pt x="1060" y="177"/>
                  </a:lnTo>
                  <a:lnTo>
                    <a:pt x="1062" y="165"/>
                  </a:lnTo>
                  <a:lnTo>
                    <a:pt x="1072" y="158"/>
                  </a:lnTo>
                  <a:lnTo>
                    <a:pt x="1067" y="151"/>
                  </a:lnTo>
                  <a:lnTo>
                    <a:pt x="1058" y="153"/>
                  </a:lnTo>
                  <a:lnTo>
                    <a:pt x="1058" y="153"/>
                  </a:lnTo>
                  <a:lnTo>
                    <a:pt x="1058" y="153"/>
                  </a:lnTo>
                  <a:lnTo>
                    <a:pt x="1048" y="137"/>
                  </a:lnTo>
                  <a:lnTo>
                    <a:pt x="1038" y="141"/>
                  </a:lnTo>
                  <a:lnTo>
                    <a:pt x="1033" y="144"/>
                  </a:lnTo>
                  <a:lnTo>
                    <a:pt x="1033" y="144"/>
                  </a:lnTo>
                  <a:lnTo>
                    <a:pt x="1033" y="144"/>
                  </a:lnTo>
                  <a:lnTo>
                    <a:pt x="1029" y="137"/>
                  </a:lnTo>
                  <a:lnTo>
                    <a:pt x="1015" y="135"/>
                  </a:lnTo>
                  <a:lnTo>
                    <a:pt x="1010" y="144"/>
                  </a:lnTo>
                  <a:lnTo>
                    <a:pt x="1010" y="144"/>
                  </a:lnTo>
                  <a:lnTo>
                    <a:pt x="1010" y="144"/>
                  </a:lnTo>
                  <a:lnTo>
                    <a:pt x="1005" y="135"/>
                  </a:lnTo>
                  <a:lnTo>
                    <a:pt x="1009" y="120"/>
                  </a:lnTo>
                  <a:lnTo>
                    <a:pt x="998" y="113"/>
                  </a:lnTo>
                  <a:lnTo>
                    <a:pt x="988" y="111"/>
                  </a:lnTo>
                  <a:lnTo>
                    <a:pt x="991" y="104"/>
                  </a:lnTo>
                  <a:lnTo>
                    <a:pt x="984" y="104"/>
                  </a:lnTo>
                  <a:lnTo>
                    <a:pt x="983" y="103"/>
                  </a:lnTo>
                  <a:lnTo>
                    <a:pt x="972" y="113"/>
                  </a:lnTo>
                  <a:lnTo>
                    <a:pt x="972" y="113"/>
                  </a:lnTo>
                  <a:lnTo>
                    <a:pt x="972" y="113"/>
                  </a:lnTo>
                  <a:lnTo>
                    <a:pt x="964" y="103"/>
                  </a:lnTo>
                  <a:lnTo>
                    <a:pt x="952" y="89"/>
                  </a:lnTo>
                  <a:lnTo>
                    <a:pt x="950" y="84"/>
                  </a:lnTo>
                  <a:lnTo>
                    <a:pt x="950" y="72"/>
                  </a:lnTo>
                  <a:lnTo>
                    <a:pt x="948" y="58"/>
                  </a:lnTo>
                  <a:lnTo>
                    <a:pt x="935" y="60"/>
                  </a:lnTo>
                  <a:lnTo>
                    <a:pt x="928" y="60"/>
                  </a:lnTo>
                  <a:lnTo>
                    <a:pt x="914" y="72"/>
                  </a:lnTo>
                  <a:lnTo>
                    <a:pt x="914" y="72"/>
                  </a:lnTo>
                  <a:lnTo>
                    <a:pt x="914" y="72"/>
                  </a:lnTo>
                  <a:lnTo>
                    <a:pt x="909" y="70"/>
                  </a:lnTo>
                  <a:lnTo>
                    <a:pt x="898" y="67"/>
                  </a:lnTo>
                  <a:lnTo>
                    <a:pt x="897" y="58"/>
                  </a:lnTo>
                  <a:lnTo>
                    <a:pt x="895" y="53"/>
                  </a:lnTo>
                  <a:lnTo>
                    <a:pt x="881" y="53"/>
                  </a:lnTo>
                  <a:lnTo>
                    <a:pt x="879" y="32"/>
                  </a:lnTo>
                  <a:lnTo>
                    <a:pt x="883" y="25"/>
                  </a:lnTo>
                  <a:lnTo>
                    <a:pt x="871" y="0"/>
                  </a:lnTo>
                  <a:lnTo>
                    <a:pt x="854" y="6"/>
                  </a:lnTo>
                  <a:lnTo>
                    <a:pt x="835" y="10"/>
                  </a:lnTo>
                  <a:lnTo>
                    <a:pt x="814" y="17"/>
                  </a:lnTo>
                  <a:lnTo>
                    <a:pt x="793" y="22"/>
                  </a:lnTo>
                  <a:lnTo>
                    <a:pt x="780" y="20"/>
                  </a:lnTo>
                  <a:lnTo>
                    <a:pt x="768" y="15"/>
                  </a:lnTo>
                  <a:lnTo>
                    <a:pt x="754" y="27"/>
                  </a:lnTo>
                  <a:lnTo>
                    <a:pt x="759" y="46"/>
                  </a:lnTo>
                  <a:lnTo>
                    <a:pt x="761" y="55"/>
                  </a:lnTo>
                  <a:lnTo>
                    <a:pt x="754" y="70"/>
                  </a:lnTo>
                  <a:lnTo>
                    <a:pt x="756" y="86"/>
                  </a:lnTo>
                  <a:lnTo>
                    <a:pt x="756" y="98"/>
                  </a:lnTo>
                  <a:lnTo>
                    <a:pt x="762" y="103"/>
                  </a:lnTo>
                  <a:lnTo>
                    <a:pt x="756" y="104"/>
                  </a:lnTo>
                  <a:lnTo>
                    <a:pt x="756" y="130"/>
                  </a:lnTo>
                  <a:lnTo>
                    <a:pt x="754" y="141"/>
                  </a:lnTo>
                  <a:lnTo>
                    <a:pt x="754" y="154"/>
                  </a:lnTo>
                  <a:lnTo>
                    <a:pt x="761" y="158"/>
                  </a:lnTo>
                  <a:lnTo>
                    <a:pt x="768" y="170"/>
                  </a:lnTo>
                  <a:lnTo>
                    <a:pt x="759" y="170"/>
                  </a:lnTo>
                  <a:lnTo>
                    <a:pt x="752" y="165"/>
                  </a:lnTo>
                  <a:lnTo>
                    <a:pt x="744" y="172"/>
                  </a:lnTo>
                  <a:lnTo>
                    <a:pt x="744" y="184"/>
                  </a:lnTo>
                  <a:lnTo>
                    <a:pt x="731" y="192"/>
                  </a:lnTo>
                  <a:lnTo>
                    <a:pt x="719" y="202"/>
                  </a:lnTo>
                  <a:lnTo>
                    <a:pt x="707" y="213"/>
                  </a:lnTo>
                  <a:lnTo>
                    <a:pt x="683" y="216"/>
                  </a:lnTo>
                  <a:lnTo>
                    <a:pt x="664" y="225"/>
                  </a:lnTo>
                  <a:lnTo>
                    <a:pt x="645" y="227"/>
                  </a:lnTo>
                  <a:lnTo>
                    <a:pt x="633" y="232"/>
                  </a:lnTo>
                  <a:lnTo>
                    <a:pt x="620" y="245"/>
                  </a:lnTo>
                  <a:lnTo>
                    <a:pt x="602" y="258"/>
                  </a:lnTo>
                  <a:lnTo>
                    <a:pt x="580" y="264"/>
                  </a:lnTo>
                  <a:lnTo>
                    <a:pt x="577" y="280"/>
                  </a:lnTo>
                  <a:lnTo>
                    <a:pt x="583" y="292"/>
                  </a:lnTo>
                  <a:lnTo>
                    <a:pt x="587" y="304"/>
                  </a:lnTo>
                  <a:lnTo>
                    <a:pt x="583" y="314"/>
                  </a:lnTo>
                  <a:lnTo>
                    <a:pt x="575" y="325"/>
                  </a:lnTo>
                  <a:lnTo>
                    <a:pt x="565" y="331"/>
                  </a:lnTo>
                  <a:lnTo>
                    <a:pt x="546" y="330"/>
                  </a:lnTo>
                  <a:lnTo>
                    <a:pt x="521" y="333"/>
                  </a:lnTo>
                  <a:lnTo>
                    <a:pt x="501" y="325"/>
                  </a:lnTo>
                  <a:lnTo>
                    <a:pt x="480" y="325"/>
                  </a:lnTo>
                  <a:lnTo>
                    <a:pt x="463" y="319"/>
                  </a:lnTo>
                  <a:lnTo>
                    <a:pt x="458" y="313"/>
                  </a:lnTo>
                  <a:lnTo>
                    <a:pt x="444" y="313"/>
                  </a:lnTo>
                  <a:lnTo>
                    <a:pt x="435" y="321"/>
                  </a:lnTo>
                  <a:lnTo>
                    <a:pt x="429" y="323"/>
                  </a:lnTo>
                  <a:lnTo>
                    <a:pt x="429" y="311"/>
                  </a:lnTo>
                  <a:lnTo>
                    <a:pt x="415" y="295"/>
                  </a:lnTo>
                  <a:lnTo>
                    <a:pt x="415" y="280"/>
                  </a:lnTo>
                  <a:lnTo>
                    <a:pt x="423" y="280"/>
                  </a:lnTo>
                  <a:lnTo>
                    <a:pt x="422" y="268"/>
                  </a:lnTo>
                  <a:lnTo>
                    <a:pt x="415" y="258"/>
                  </a:lnTo>
                  <a:lnTo>
                    <a:pt x="398" y="258"/>
                  </a:lnTo>
                  <a:lnTo>
                    <a:pt x="392" y="268"/>
                  </a:lnTo>
                  <a:lnTo>
                    <a:pt x="367" y="264"/>
                  </a:lnTo>
                  <a:lnTo>
                    <a:pt x="339" y="254"/>
                  </a:lnTo>
                  <a:lnTo>
                    <a:pt x="339" y="263"/>
                  </a:lnTo>
                  <a:lnTo>
                    <a:pt x="351" y="271"/>
                  </a:lnTo>
                  <a:lnTo>
                    <a:pt x="355" y="280"/>
                  </a:lnTo>
                  <a:lnTo>
                    <a:pt x="346" y="290"/>
                  </a:lnTo>
                  <a:lnTo>
                    <a:pt x="351" y="297"/>
                  </a:lnTo>
                  <a:lnTo>
                    <a:pt x="355" y="314"/>
                  </a:lnTo>
                  <a:lnTo>
                    <a:pt x="368" y="330"/>
                  </a:lnTo>
                  <a:lnTo>
                    <a:pt x="373" y="342"/>
                  </a:lnTo>
                  <a:lnTo>
                    <a:pt x="379" y="349"/>
                  </a:lnTo>
                  <a:lnTo>
                    <a:pt x="380" y="380"/>
                  </a:lnTo>
                  <a:lnTo>
                    <a:pt x="386" y="390"/>
                  </a:lnTo>
                  <a:lnTo>
                    <a:pt x="384" y="404"/>
                  </a:lnTo>
                  <a:lnTo>
                    <a:pt x="377" y="412"/>
                  </a:lnTo>
                  <a:lnTo>
                    <a:pt x="386" y="423"/>
                  </a:lnTo>
                  <a:lnTo>
                    <a:pt x="382" y="431"/>
                  </a:lnTo>
                  <a:lnTo>
                    <a:pt x="389" y="442"/>
                  </a:lnTo>
                  <a:lnTo>
                    <a:pt x="396" y="447"/>
                  </a:lnTo>
                  <a:lnTo>
                    <a:pt x="406" y="452"/>
                  </a:lnTo>
                  <a:lnTo>
                    <a:pt x="389" y="454"/>
                  </a:lnTo>
                  <a:lnTo>
                    <a:pt x="379" y="455"/>
                  </a:lnTo>
                  <a:lnTo>
                    <a:pt x="363" y="459"/>
                  </a:lnTo>
                  <a:lnTo>
                    <a:pt x="353" y="459"/>
                  </a:lnTo>
                  <a:lnTo>
                    <a:pt x="346" y="450"/>
                  </a:lnTo>
                  <a:lnTo>
                    <a:pt x="349" y="442"/>
                  </a:lnTo>
                  <a:lnTo>
                    <a:pt x="337" y="442"/>
                  </a:lnTo>
                  <a:lnTo>
                    <a:pt x="330" y="448"/>
                  </a:lnTo>
                  <a:lnTo>
                    <a:pt x="317" y="452"/>
                  </a:lnTo>
                  <a:lnTo>
                    <a:pt x="305" y="462"/>
                  </a:lnTo>
                  <a:lnTo>
                    <a:pt x="299" y="454"/>
                  </a:lnTo>
                  <a:lnTo>
                    <a:pt x="293" y="447"/>
                  </a:lnTo>
                  <a:lnTo>
                    <a:pt x="279" y="452"/>
                  </a:lnTo>
                  <a:lnTo>
                    <a:pt x="268" y="460"/>
                  </a:lnTo>
                  <a:lnTo>
                    <a:pt x="250" y="474"/>
                  </a:lnTo>
                  <a:lnTo>
                    <a:pt x="243" y="466"/>
                  </a:lnTo>
                  <a:lnTo>
                    <a:pt x="232" y="460"/>
                  </a:lnTo>
                  <a:lnTo>
                    <a:pt x="234" y="452"/>
                  </a:lnTo>
                  <a:lnTo>
                    <a:pt x="217" y="440"/>
                  </a:lnTo>
                  <a:lnTo>
                    <a:pt x="222" y="431"/>
                  </a:lnTo>
                  <a:lnTo>
                    <a:pt x="212" y="428"/>
                  </a:lnTo>
                  <a:lnTo>
                    <a:pt x="212" y="419"/>
                  </a:lnTo>
                  <a:lnTo>
                    <a:pt x="205" y="417"/>
                  </a:lnTo>
                  <a:lnTo>
                    <a:pt x="194" y="412"/>
                  </a:lnTo>
                  <a:lnTo>
                    <a:pt x="186" y="409"/>
                  </a:lnTo>
                  <a:lnTo>
                    <a:pt x="184" y="416"/>
                  </a:lnTo>
                  <a:lnTo>
                    <a:pt x="174" y="414"/>
                  </a:lnTo>
                  <a:lnTo>
                    <a:pt x="153" y="416"/>
                  </a:lnTo>
                  <a:lnTo>
                    <a:pt x="155" y="423"/>
                  </a:lnTo>
                  <a:lnTo>
                    <a:pt x="145" y="423"/>
                  </a:lnTo>
                  <a:lnTo>
                    <a:pt x="150" y="433"/>
                  </a:lnTo>
                  <a:lnTo>
                    <a:pt x="143" y="438"/>
                  </a:lnTo>
                  <a:lnTo>
                    <a:pt x="141" y="447"/>
                  </a:lnTo>
                  <a:lnTo>
                    <a:pt x="133" y="443"/>
                  </a:lnTo>
                  <a:lnTo>
                    <a:pt x="122" y="438"/>
                  </a:lnTo>
                  <a:lnTo>
                    <a:pt x="114" y="440"/>
                  </a:lnTo>
                  <a:lnTo>
                    <a:pt x="117" y="450"/>
                  </a:lnTo>
                  <a:lnTo>
                    <a:pt x="108" y="452"/>
                  </a:lnTo>
                  <a:lnTo>
                    <a:pt x="98" y="445"/>
                  </a:lnTo>
                  <a:lnTo>
                    <a:pt x="96" y="433"/>
                  </a:lnTo>
                  <a:lnTo>
                    <a:pt x="89" y="435"/>
                  </a:lnTo>
                  <a:lnTo>
                    <a:pt x="86" y="442"/>
                  </a:lnTo>
                  <a:lnTo>
                    <a:pt x="76" y="442"/>
                  </a:lnTo>
                  <a:lnTo>
                    <a:pt x="64" y="450"/>
                  </a:lnTo>
                  <a:lnTo>
                    <a:pt x="55" y="443"/>
                  </a:lnTo>
                  <a:lnTo>
                    <a:pt x="46" y="447"/>
                  </a:lnTo>
                  <a:lnTo>
                    <a:pt x="38" y="454"/>
                  </a:lnTo>
                  <a:lnTo>
                    <a:pt x="29" y="454"/>
                  </a:lnTo>
                  <a:lnTo>
                    <a:pt x="24" y="460"/>
                  </a:lnTo>
                  <a:lnTo>
                    <a:pt x="9" y="467"/>
                  </a:lnTo>
                  <a:lnTo>
                    <a:pt x="5" y="479"/>
                  </a:lnTo>
                  <a:lnTo>
                    <a:pt x="0" y="490"/>
                  </a:lnTo>
                  <a:lnTo>
                    <a:pt x="2" y="498"/>
                  </a:lnTo>
                  <a:lnTo>
                    <a:pt x="7" y="509"/>
                  </a:lnTo>
                  <a:lnTo>
                    <a:pt x="17" y="505"/>
                  </a:lnTo>
                  <a:lnTo>
                    <a:pt x="33" y="498"/>
                  </a:lnTo>
                  <a:lnTo>
                    <a:pt x="38" y="500"/>
                  </a:lnTo>
                  <a:lnTo>
                    <a:pt x="57" y="503"/>
                  </a:lnTo>
                  <a:lnTo>
                    <a:pt x="67" y="514"/>
                  </a:lnTo>
                  <a:lnTo>
                    <a:pt x="52" y="517"/>
                  </a:lnTo>
                  <a:lnTo>
                    <a:pt x="41" y="512"/>
                  </a:lnTo>
                  <a:lnTo>
                    <a:pt x="29" y="512"/>
                  </a:lnTo>
                  <a:lnTo>
                    <a:pt x="24" y="519"/>
                  </a:lnTo>
                  <a:lnTo>
                    <a:pt x="28" y="531"/>
                  </a:lnTo>
                  <a:lnTo>
                    <a:pt x="38" y="526"/>
                  </a:lnTo>
                  <a:lnTo>
                    <a:pt x="50" y="528"/>
                  </a:lnTo>
                  <a:lnTo>
                    <a:pt x="57" y="531"/>
                  </a:lnTo>
                  <a:lnTo>
                    <a:pt x="65" y="540"/>
                  </a:lnTo>
                  <a:lnTo>
                    <a:pt x="57" y="548"/>
                  </a:lnTo>
                  <a:lnTo>
                    <a:pt x="43" y="546"/>
                  </a:lnTo>
                  <a:lnTo>
                    <a:pt x="24" y="555"/>
                  </a:lnTo>
                  <a:lnTo>
                    <a:pt x="7" y="557"/>
                  </a:lnTo>
                  <a:lnTo>
                    <a:pt x="2" y="571"/>
                  </a:lnTo>
                  <a:lnTo>
                    <a:pt x="19" y="572"/>
                  </a:lnTo>
                  <a:lnTo>
                    <a:pt x="38" y="569"/>
                  </a:lnTo>
                  <a:lnTo>
                    <a:pt x="48" y="583"/>
                  </a:lnTo>
                  <a:lnTo>
                    <a:pt x="52" y="591"/>
                  </a:lnTo>
                  <a:lnTo>
                    <a:pt x="45" y="598"/>
                  </a:lnTo>
                  <a:lnTo>
                    <a:pt x="58" y="601"/>
                  </a:lnTo>
                  <a:lnTo>
                    <a:pt x="72" y="598"/>
                  </a:lnTo>
                  <a:lnTo>
                    <a:pt x="71" y="589"/>
                  </a:lnTo>
                  <a:lnTo>
                    <a:pt x="83" y="591"/>
                  </a:lnTo>
                  <a:lnTo>
                    <a:pt x="95" y="593"/>
                  </a:lnTo>
                  <a:lnTo>
                    <a:pt x="98" y="586"/>
                  </a:lnTo>
                  <a:lnTo>
                    <a:pt x="107" y="589"/>
                  </a:lnTo>
                  <a:lnTo>
                    <a:pt x="108" y="598"/>
                  </a:lnTo>
                  <a:lnTo>
                    <a:pt x="122" y="605"/>
                  </a:lnTo>
                  <a:lnTo>
                    <a:pt x="141" y="607"/>
                  </a:lnTo>
                  <a:lnTo>
                    <a:pt x="151" y="605"/>
                  </a:lnTo>
                  <a:lnTo>
                    <a:pt x="157" y="617"/>
                  </a:lnTo>
                  <a:lnTo>
                    <a:pt x="172" y="619"/>
                  </a:lnTo>
                  <a:lnTo>
                    <a:pt x="184" y="624"/>
                  </a:lnTo>
                  <a:lnTo>
                    <a:pt x="193" y="636"/>
                  </a:lnTo>
                  <a:lnTo>
                    <a:pt x="196" y="648"/>
                  </a:lnTo>
                  <a:lnTo>
                    <a:pt x="201" y="660"/>
                  </a:lnTo>
                  <a:lnTo>
                    <a:pt x="201" y="643"/>
                  </a:lnTo>
                  <a:lnTo>
                    <a:pt x="215" y="639"/>
                  </a:lnTo>
                  <a:lnTo>
                    <a:pt x="222" y="646"/>
                  </a:lnTo>
                  <a:lnTo>
                    <a:pt x="231" y="658"/>
                  </a:lnTo>
                  <a:lnTo>
                    <a:pt x="246" y="655"/>
                  </a:lnTo>
                  <a:lnTo>
                    <a:pt x="260" y="648"/>
                  </a:lnTo>
                  <a:lnTo>
                    <a:pt x="270" y="650"/>
                  </a:lnTo>
                  <a:lnTo>
                    <a:pt x="277" y="658"/>
                  </a:lnTo>
                  <a:lnTo>
                    <a:pt x="270" y="670"/>
                  </a:lnTo>
                  <a:lnTo>
                    <a:pt x="263" y="687"/>
                  </a:lnTo>
                  <a:lnTo>
                    <a:pt x="270" y="698"/>
                  </a:lnTo>
                  <a:lnTo>
                    <a:pt x="287" y="696"/>
                  </a:lnTo>
                  <a:lnTo>
                    <a:pt x="305" y="689"/>
                  </a:lnTo>
                  <a:lnTo>
                    <a:pt x="320" y="687"/>
                  </a:lnTo>
                  <a:lnTo>
                    <a:pt x="329" y="691"/>
                  </a:lnTo>
                  <a:lnTo>
                    <a:pt x="312" y="698"/>
                  </a:lnTo>
                  <a:lnTo>
                    <a:pt x="312" y="706"/>
                  </a:lnTo>
                  <a:lnTo>
                    <a:pt x="303" y="715"/>
                  </a:lnTo>
                  <a:lnTo>
                    <a:pt x="312" y="720"/>
                  </a:lnTo>
                  <a:lnTo>
                    <a:pt x="325" y="724"/>
                  </a:lnTo>
                  <a:lnTo>
                    <a:pt x="330" y="732"/>
                  </a:lnTo>
                  <a:lnTo>
                    <a:pt x="325" y="748"/>
                  </a:lnTo>
                  <a:lnTo>
                    <a:pt x="320" y="755"/>
                  </a:lnTo>
                  <a:lnTo>
                    <a:pt x="312" y="748"/>
                  </a:lnTo>
                  <a:lnTo>
                    <a:pt x="303" y="737"/>
                  </a:lnTo>
                  <a:lnTo>
                    <a:pt x="291" y="741"/>
                  </a:lnTo>
                  <a:lnTo>
                    <a:pt x="298" y="748"/>
                  </a:lnTo>
                  <a:lnTo>
                    <a:pt x="310" y="753"/>
                  </a:lnTo>
                  <a:lnTo>
                    <a:pt x="313" y="763"/>
                  </a:lnTo>
                  <a:lnTo>
                    <a:pt x="315" y="775"/>
                  </a:lnTo>
                  <a:lnTo>
                    <a:pt x="324" y="779"/>
                  </a:lnTo>
                  <a:lnTo>
                    <a:pt x="336" y="785"/>
                  </a:lnTo>
                  <a:lnTo>
                    <a:pt x="349" y="796"/>
                  </a:lnTo>
                  <a:lnTo>
                    <a:pt x="353" y="811"/>
                  </a:lnTo>
                  <a:lnTo>
                    <a:pt x="353" y="823"/>
                  </a:lnTo>
                  <a:lnTo>
                    <a:pt x="363" y="834"/>
                  </a:lnTo>
                  <a:lnTo>
                    <a:pt x="375" y="841"/>
                  </a:lnTo>
                  <a:lnTo>
                    <a:pt x="392" y="842"/>
                  </a:lnTo>
                  <a:lnTo>
                    <a:pt x="392" y="854"/>
                  </a:lnTo>
                  <a:lnTo>
                    <a:pt x="408" y="854"/>
                  </a:lnTo>
                  <a:lnTo>
                    <a:pt x="416" y="866"/>
                  </a:lnTo>
                  <a:lnTo>
                    <a:pt x="429" y="865"/>
                  </a:lnTo>
                  <a:lnTo>
                    <a:pt x="442" y="861"/>
                  </a:lnTo>
                  <a:lnTo>
                    <a:pt x="434" y="873"/>
                  </a:lnTo>
                  <a:lnTo>
                    <a:pt x="425" y="882"/>
                  </a:lnTo>
                  <a:lnTo>
                    <a:pt x="435" y="889"/>
                  </a:lnTo>
                  <a:lnTo>
                    <a:pt x="439" y="904"/>
                  </a:lnTo>
                  <a:lnTo>
                    <a:pt x="429" y="909"/>
                  </a:lnTo>
                  <a:lnTo>
                    <a:pt x="413" y="920"/>
                  </a:lnTo>
                  <a:lnTo>
                    <a:pt x="418" y="933"/>
                  </a:lnTo>
                  <a:lnTo>
                    <a:pt x="423" y="945"/>
                  </a:lnTo>
                  <a:lnTo>
                    <a:pt x="422" y="959"/>
                  </a:lnTo>
                  <a:lnTo>
                    <a:pt x="423" y="968"/>
                  </a:lnTo>
                  <a:lnTo>
                    <a:pt x="439" y="971"/>
                  </a:lnTo>
                  <a:lnTo>
                    <a:pt x="453" y="985"/>
                  </a:lnTo>
                  <a:lnTo>
                    <a:pt x="1318" y="985"/>
                  </a:lnTo>
                  <a:lnTo>
                    <a:pt x="1318" y="98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2" name="Freeform 772">
              <a:extLst>
                <a:ext uri="{FF2B5EF4-FFF2-40B4-BE49-F238E27FC236}">
                  <a16:creationId xmlns:a16="http://schemas.microsoft.com/office/drawing/2014/main" id="{61C816D1-9148-4081-A68E-22F7B22AEA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2013" y="5597526"/>
              <a:ext cx="46038" cy="22225"/>
            </a:xfrm>
            <a:custGeom>
              <a:avLst/>
              <a:gdLst>
                <a:gd name="T0" fmla="*/ 14 w 29"/>
                <a:gd name="T1" fmla="*/ 12 h 14"/>
                <a:gd name="T2" fmla="*/ 0 w 29"/>
                <a:gd name="T3" fmla="*/ 14 h 14"/>
                <a:gd name="T4" fmla="*/ 0 w 29"/>
                <a:gd name="T5" fmla="*/ 14 h 14"/>
                <a:gd name="T6" fmla="*/ 14 w 29"/>
                <a:gd name="T7" fmla="*/ 12 h 14"/>
                <a:gd name="T8" fmla="*/ 29 w 29"/>
                <a:gd name="T9" fmla="*/ 0 h 14"/>
                <a:gd name="T10" fmla="*/ 29 w 29"/>
                <a:gd name="T11" fmla="*/ 0 h 14"/>
                <a:gd name="T12" fmla="*/ 14 w 29"/>
                <a:gd name="T13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14">
                  <a:moveTo>
                    <a:pt x="14" y="12"/>
                  </a:moveTo>
                  <a:lnTo>
                    <a:pt x="0" y="14"/>
                  </a:lnTo>
                  <a:lnTo>
                    <a:pt x="0" y="14"/>
                  </a:lnTo>
                  <a:lnTo>
                    <a:pt x="14" y="12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14" y="1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3" name="Rectangle 773">
              <a:extLst>
                <a:ext uri="{FF2B5EF4-FFF2-40B4-BE49-F238E27FC236}">
                  <a16:creationId xmlns:a16="http://schemas.microsoft.com/office/drawing/2014/main" id="{6A8B842B-88D8-42FC-BAD0-EC1501AFDA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8200" y="5605463"/>
              <a:ext cx="15875" cy="1588"/>
            </a:xfrm>
            <a:prstGeom prst="rect">
              <a:avLst/>
            </a:prstGeom>
            <a:grpFill/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4" name="Freeform 774">
              <a:extLst>
                <a:ext uri="{FF2B5EF4-FFF2-40B4-BE49-F238E27FC236}">
                  <a16:creationId xmlns:a16="http://schemas.microsoft.com/office/drawing/2014/main" id="{F472982F-8FA3-4AE2-92EB-7D326ECEE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1788" y="5229226"/>
              <a:ext cx="3175" cy="41275"/>
            </a:xfrm>
            <a:custGeom>
              <a:avLst/>
              <a:gdLst>
                <a:gd name="T0" fmla="*/ 0 w 2"/>
                <a:gd name="T1" fmla="*/ 0 h 26"/>
                <a:gd name="T2" fmla="*/ 0 w 2"/>
                <a:gd name="T3" fmla="*/ 0 h 26"/>
                <a:gd name="T4" fmla="*/ 2 w 2"/>
                <a:gd name="T5" fmla="*/ 14 h 26"/>
                <a:gd name="T6" fmla="*/ 2 w 2"/>
                <a:gd name="T7" fmla="*/ 26 h 26"/>
                <a:gd name="T8" fmla="*/ 2 w 2"/>
                <a:gd name="T9" fmla="*/ 14 h 26"/>
                <a:gd name="T10" fmla="*/ 0 w 2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6">
                  <a:moveTo>
                    <a:pt x="0" y="0"/>
                  </a:moveTo>
                  <a:lnTo>
                    <a:pt x="0" y="0"/>
                  </a:lnTo>
                  <a:lnTo>
                    <a:pt x="2" y="14"/>
                  </a:lnTo>
                  <a:lnTo>
                    <a:pt x="2" y="26"/>
                  </a:lnTo>
                  <a:lnTo>
                    <a:pt x="2" y="1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5" name="Freeform 775">
              <a:extLst>
                <a:ext uri="{FF2B5EF4-FFF2-40B4-BE49-F238E27FC236}">
                  <a16:creationId xmlns:a16="http://schemas.microsoft.com/office/drawing/2014/main" id="{11552374-33EB-480F-832E-384DB1DE9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0825" y="5229226"/>
              <a:ext cx="19050" cy="19050"/>
            </a:xfrm>
            <a:custGeom>
              <a:avLst/>
              <a:gdLst>
                <a:gd name="T0" fmla="*/ 0 w 12"/>
                <a:gd name="T1" fmla="*/ 0 h 12"/>
                <a:gd name="T2" fmla="*/ 1 w 12"/>
                <a:gd name="T3" fmla="*/ 9 h 12"/>
                <a:gd name="T4" fmla="*/ 12 w 12"/>
                <a:gd name="T5" fmla="*/ 12 h 12"/>
                <a:gd name="T6" fmla="*/ 1 w 12"/>
                <a:gd name="T7" fmla="*/ 9 h 12"/>
                <a:gd name="T8" fmla="*/ 0 w 1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lnTo>
                    <a:pt x="1" y="9"/>
                  </a:lnTo>
                  <a:lnTo>
                    <a:pt x="12" y="12"/>
                  </a:lnTo>
                  <a:lnTo>
                    <a:pt x="1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6" name="Freeform 776">
              <a:extLst>
                <a:ext uri="{FF2B5EF4-FFF2-40B4-BE49-F238E27FC236}">
                  <a16:creationId xmlns:a16="http://schemas.microsoft.com/office/drawing/2014/main" id="{BA03746C-4BDC-4ACF-8E68-E7234E042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9888" y="5300663"/>
              <a:ext cx="19050" cy="15875"/>
            </a:xfrm>
            <a:custGeom>
              <a:avLst/>
              <a:gdLst>
                <a:gd name="T0" fmla="*/ 0 w 12"/>
                <a:gd name="T1" fmla="*/ 10 h 10"/>
                <a:gd name="T2" fmla="*/ 0 w 12"/>
                <a:gd name="T3" fmla="*/ 10 h 10"/>
                <a:gd name="T4" fmla="*/ 11 w 12"/>
                <a:gd name="T5" fmla="*/ 0 h 10"/>
                <a:gd name="T6" fmla="*/ 12 w 12"/>
                <a:gd name="T7" fmla="*/ 1 h 10"/>
                <a:gd name="T8" fmla="*/ 11 w 12"/>
                <a:gd name="T9" fmla="*/ 0 h 10"/>
                <a:gd name="T10" fmla="*/ 0 w 12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0" y="10"/>
                  </a:moveTo>
                  <a:lnTo>
                    <a:pt x="0" y="10"/>
                  </a:lnTo>
                  <a:lnTo>
                    <a:pt x="11" y="0"/>
                  </a:lnTo>
                  <a:lnTo>
                    <a:pt x="12" y="1"/>
                  </a:lnTo>
                  <a:lnTo>
                    <a:pt x="11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7" name="Freeform 777">
              <a:extLst>
                <a:ext uri="{FF2B5EF4-FFF2-40B4-BE49-F238E27FC236}">
                  <a16:creationId xmlns:a16="http://schemas.microsoft.com/office/drawing/2014/main" id="{651595DA-C286-425D-966D-68A272EAD2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7813" y="5232401"/>
              <a:ext cx="33338" cy="19050"/>
            </a:xfrm>
            <a:custGeom>
              <a:avLst/>
              <a:gdLst>
                <a:gd name="T0" fmla="*/ 0 w 21"/>
                <a:gd name="T1" fmla="*/ 12 h 12"/>
                <a:gd name="T2" fmla="*/ 0 w 21"/>
                <a:gd name="T3" fmla="*/ 12 h 12"/>
                <a:gd name="T4" fmla="*/ 14 w 21"/>
                <a:gd name="T5" fmla="*/ 0 h 12"/>
                <a:gd name="T6" fmla="*/ 21 w 21"/>
                <a:gd name="T7" fmla="*/ 0 h 12"/>
                <a:gd name="T8" fmla="*/ 14 w 21"/>
                <a:gd name="T9" fmla="*/ 0 h 12"/>
                <a:gd name="T10" fmla="*/ 0 w 21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2">
                  <a:moveTo>
                    <a:pt x="0" y="12"/>
                  </a:moveTo>
                  <a:lnTo>
                    <a:pt x="0" y="12"/>
                  </a:lnTo>
                  <a:lnTo>
                    <a:pt x="14" y="0"/>
                  </a:lnTo>
                  <a:lnTo>
                    <a:pt x="21" y="0"/>
                  </a:lnTo>
                  <a:lnTo>
                    <a:pt x="14" y="0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8" name="Freeform 778">
              <a:extLst>
                <a:ext uri="{FF2B5EF4-FFF2-40B4-BE49-F238E27FC236}">
                  <a16:creationId xmlns:a16="http://schemas.microsoft.com/office/drawing/2014/main" id="{8B11DE10-0248-49B1-A611-8D571003C5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3588" y="5597526"/>
              <a:ext cx="17463" cy="6350"/>
            </a:xfrm>
            <a:custGeom>
              <a:avLst/>
              <a:gdLst>
                <a:gd name="T0" fmla="*/ 0 w 11"/>
                <a:gd name="T1" fmla="*/ 4 h 4"/>
                <a:gd name="T2" fmla="*/ 0 w 11"/>
                <a:gd name="T3" fmla="*/ 4 h 4"/>
                <a:gd name="T4" fmla="*/ 11 w 11"/>
                <a:gd name="T5" fmla="*/ 0 h 4"/>
                <a:gd name="T6" fmla="*/ 11 w 11"/>
                <a:gd name="T7" fmla="*/ 0 h 4"/>
                <a:gd name="T8" fmla="*/ 0 w 11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4">
                  <a:moveTo>
                    <a:pt x="0" y="4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49" name="Freeform 779">
              <a:extLst>
                <a:ext uri="{FF2B5EF4-FFF2-40B4-BE49-F238E27FC236}">
                  <a16:creationId xmlns:a16="http://schemas.microsoft.com/office/drawing/2014/main" id="{5CCD1E80-4B16-4FAE-823D-D7DCD261A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0538" y="5354638"/>
              <a:ext cx="15875" cy="25400"/>
            </a:xfrm>
            <a:custGeom>
              <a:avLst/>
              <a:gdLst>
                <a:gd name="T0" fmla="*/ 0 w 10"/>
                <a:gd name="T1" fmla="*/ 0 h 16"/>
                <a:gd name="T2" fmla="*/ 10 w 10"/>
                <a:gd name="T3" fmla="*/ 16 h 16"/>
                <a:gd name="T4" fmla="*/ 10 w 10"/>
                <a:gd name="T5" fmla="*/ 16 h 16"/>
                <a:gd name="T6" fmla="*/ 0 w 10"/>
                <a:gd name="T7" fmla="*/ 0 h 16"/>
                <a:gd name="T8" fmla="*/ 0 w 10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6">
                  <a:moveTo>
                    <a:pt x="0" y="0"/>
                  </a:moveTo>
                  <a:lnTo>
                    <a:pt x="10" y="16"/>
                  </a:lnTo>
                  <a:lnTo>
                    <a:pt x="10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0" name="Freeform 781">
              <a:extLst>
                <a:ext uri="{FF2B5EF4-FFF2-40B4-BE49-F238E27FC236}">
                  <a16:creationId xmlns:a16="http://schemas.microsoft.com/office/drawing/2014/main" id="{239ED45E-788A-4977-A4C9-E776BC6819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588" y="5376863"/>
              <a:ext cx="52388" cy="101600"/>
            </a:xfrm>
            <a:custGeom>
              <a:avLst/>
              <a:gdLst>
                <a:gd name="T0" fmla="*/ 2 w 33"/>
                <a:gd name="T1" fmla="*/ 57 h 64"/>
                <a:gd name="T2" fmla="*/ 4 w 33"/>
                <a:gd name="T3" fmla="*/ 45 h 64"/>
                <a:gd name="T4" fmla="*/ 12 w 33"/>
                <a:gd name="T5" fmla="*/ 39 h 64"/>
                <a:gd name="T6" fmla="*/ 9 w 33"/>
                <a:gd name="T7" fmla="*/ 27 h 64"/>
                <a:gd name="T8" fmla="*/ 0 w 33"/>
                <a:gd name="T9" fmla="*/ 26 h 64"/>
                <a:gd name="T10" fmla="*/ 2 w 33"/>
                <a:gd name="T11" fmla="*/ 14 h 64"/>
                <a:gd name="T12" fmla="*/ 12 w 33"/>
                <a:gd name="T13" fmla="*/ 7 h 64"/>
                <a:gd name="T14" fmla="*/ 7 w 33"/>
                <a:gd name="T15" fmla="*/ 0 h 64"/>
                <a:gd name="T16" fmla="*/ 7 w 33"/>
                <a:gd name="T17" fmla="*/ 0 h 64"/>
                <a:gd name="T18" fmla="*/ 12 w 33"/>
                <a:gd name="T19" fmla="*/ 7 h 64"/>
                <a:gd name="T20" fmla="*/ 2 w 33"/>
                <a:gd name="T21" fmla="*/ 14 h 64"/>
                <a:gd name="T22" fmla="*/ 0 w 33"/>
                <a:gd name="T23" fmla="*/ 26 h 64"/>
                <a:gd name="T24" fmla="*/ 9 w 33"/>
                <a:gd name="T25" fmla="*/ 27 h 64"/>
                <a:gd name="T26" fmla="*/ 12 w 33"/>
                <a:gd name="T27" fmla="*/ 39 h 64"/>
                <a:gd name="T28" fmla="*/ 4 w 33"/>
                <a:gd name="T29" fmla="*/ 45 h 64"/>
                <a:gd name="T30" fmla="*/ 2 w 33"/>
                <a:gd name="T31" fmla="*/ 57 h 64"/>
                <a:gd name="T32" fmla="*/ 19 w 33"/>
                <a:gd name="T33" fmla="*/ 57 h 64"/>
                <a:gd name="T34" fmla="*/ 33 w 33"/>
                <a:gd name="T35" fmla="*/ 64 h 64"/>
                <a:gd name="T36" fmla="*/ 33 w 33"/>
                <a:gd name="T37" fmla="*/ 64 h 64"/>
                <a:gd name="T38" fmla="*/ 19 w 33"/>
                <a:gd name="T39" fmla="*/ 57 h 64"/>
                <a:gd name="T40" fmla="*/ 2 w 33"/>
                <a:gd name="T41" fmla="*/ 5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3" h="64">
                  <a:moveTo>
                    <a:pt x="2" y="57"/>
                  </a:moveTo>
                  <a:lnTo>
                    <a:pt x="4" y="45"/>
                  </a:lnTo>
                  <a:lnTo>
                    <a:pt x="12" y="39"/>
                  </a:lnTo>
                  <a:lnTo>
                    <a:pt x="9" y="27"/>
                  </a:lnTo>
                  <a:lnTo>
                    <a:pt x="0" y="26"/>
                  </a:lnTo>
                  <a:lnTo>
                    <a:pt x="2" y="14"/>
                  </a:lnTo>
                  <a:lnTo>
                    <a:pt x="12" y="7"/>
                  </a:lnTo>
                  <a:lnTo>
                    <a:pt x="7" y="0"/>
                  </a:lnTo>
                  <a:lnTo>
                    <a:pt x="7" y="0"/>
                  </a:lnTo>
                  <a:lnTo>
                    <a:pt x="12" y="7"/>
                  </a:lnTo>
                  <a:lnTo>
                    <a:pt x="2" y="14"/>
                  </a:lnTo>
                  <a:lnTo>
                    <a:pt x="0" y="26"/>
                  </a:lnTo>
                  <a:lnTo>
                    <a:pt x="9" y="27"/>
                  </a:lnTo>
                  <a:lnTo>
                    <a:pt x="12" y="39"/>
                  </a:lnTo>
                  <a:lnTo>
                    <a:pt x="4" y="45"/>
                  </a:lnTo>
                  <a:lnTo>
                    <a:pt x="2" y="57"/>
                  </a:lnTo>
                  <a:lnTo>
                    <a:pt x="19" y="57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19" y="57"/>
                  </a:lnTo>
                  <a:lnTo>
                    <a:pt x="2" y="57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1" name="Freeform 782">
              <a:extLst>
                <a:ext uri="{FF2B5EF4-FFF2-40B4-BE49-F238E27FC236}">
                  <a16:creationId xmlns:a16="http://schemas.microsoft.com/office/drawing/2014/main" id="{96195316-BB62-4441-97E7-8D510EAD0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0213" y="5351463"/>
              <a:ext cx="7938" cy="14288"/>
            </a:xfrm>
            <a:custGeom>
              <a:avLst/>
              <a:gdLst>
                <a:gd name="T0" fmla="*/ 0 w 5"/>
                <a:gd name="T1" fmla="*/ 9 h 9"/>
                <a:gd name="T2" fmla="*/ 0 w 5"/>
                <a:gd name="T3" fmla="*/ 9 h 9"/>
                <a:gd name="T4" fmla="*/ 5 w 5"/>
                <a:gd name="T5" fmla="*/ 0 h 9"/>
                <a:gd name="T6" fmla="*/ 5 w 5"/>
                <a:gd name="T7" fmla="*/ 0 h 9"/>
                <a:gd name="T8" fmla="*/ 0 w 5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0" y="9"/>
                  </a:moveTo>
                  <a:lnTo>
                    <a:pt x="0" y="9"/>
                  </a:lnTo>
                  <a:lnTo>
                    <a:pt x="5" y="0"/>
                  </a:lnTo>
                  <a:lnTo>
                    <a:pt x="5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2" name="Freeform 783">
              <a:extLst>
                <a:ext uri="{FF2B5EF4-FFF2-40B4-BE49-F238E27FC236}">
                  <a16:creationId xmlns:a16="http://schemas.microsoft.com/office/drawing/2014/main" id="{D56E2125-6C16-4162-BF2A-C81EC1AB5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025" y="5467351"/>
              <a:ext cx="15875" cy="4763"/>
            </a:xfrm>
            <a:custGeom>
              <a:avLst/>
              <a:gdLst>
                <a:gd name="T0" fmla="*/ 0 w 10"/>
                <a:gd name="T1" fmla="*/ 3 h 3"/>
                <a:gd name="T2" fmla="*/ 5 w 10"/>
                <a:gd name="T3" fmla="*/ 1 h 3"/>
                <a:gd name="T4" fmla="*/ 10 w 10"/>
                <a:gd name="T5" fmla="*/ 0 h 3"/>
                <a:gd name="T6" fmla="*/ 5 w 10"/>
                <a:gd name="T7" fmla="*/ 1 h 3"/>
                <a:gd name="T8" fmla="*/ 0 w 10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3">
                  <a:moveTo>
                    <a:pt x="0" y="3"/>
                  </a:moveTo>
                  <a:lnTo>
                    <a:pt x="5" y="1"/>
                  </a:lnTo>
                  <a:lnTo>
                    <a:pt x="10" y="0"/>
                  </a:lnTo>
                  <a:lnTo>
                    <a:pt x="5" y="1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3" name="Freeform 784">
              <a:extLst>
                <a:ext uri="{FF2B5EF4-FFF2-40B4-BE49-F238E27FC236}">
                  <a16:creationId xmlns:a16="http://schemas.microsoft.com/office/drawing/2014/main" id="{7D77A874-801E-4D4C-8BEB-62F37A620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5950" y="5411788"/>
              <a:ext cx="38100" cy="30163"/>
            </a:xfrm>
            <a:custGeom>
              <a:avLst/>
              <a:gdLst>
                <a:gd name="T0" fmla="*/ 2 w 24"/>
                <a:gd name="T1" fmla="*/ 12 h 19"/>
                <a:gd name="T2" fmla="*/ 0 w 24"/>
                <a:gd name="T3" fmla="*/ 19 h 19"/>
                <a:gd name="T4" fmla="*/ 2 w 24"/>
                <a:gd name="T5" fmla="*/ 12 h 19"/>
                <a:gd name="T6" fmla="*/ 11 w 24"/>
                <a:gd name="T7" fmla="*/ 0 h 19"/>
                <a:gd name="T8" fmla="*/ 24 w 24"/>
                <a:gd name="T9" fmla="*/ 2 h 19"/>
                <a:gd name="T10" fmla="*/ 11 w 24"/>
                <a:gd name="T11" fmla="*/ 0 h 19"/>
                <a:gd name="T12" fmla="*/ 2 w 24"/>
                <a:gd name="T13" fmla="*/ 1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9">
                  <a:moveTo>
                    <a:pt x="2" y="12"/>
                  </a:moveTo>
                  <a:lnTo>
                    <a:pt x="0" y="19"/>
                  </a:lnTo>
                  <a:lnTo>
                    <a:pt x="2" y="12"/>
                  </a:lnTo>
                  <a:lnTo>
                    <a:pt x="11" y="0"/>
                  </a:lnTo>
                  <a:lnTo>
                    <a:pt x="24" y="2"/>
                  </a:lnTo>
                  <a:lnTo>
                    <a:pt x="11" y="0"/>
                  </a:lnTo>
                  <a:lnTo>
                    <a:pt x="2" y="1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4" name="Freeform 785">
              <a:extLst>
                <a:ext uri="{FF2B5EF4-FFF2-40B4-BE49-F238E27FC236}">
                  <a16:creationId xmlns:a16="http://schemas.microsoft.com/office/drawing/2014/main" id="{EE59C94B-314C-4579-9F19-739CF3000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0575" y="5586413"/>
              <a:ext cx="11113" cy="17463"/>
            </a:xfrm>
            <a:custGeom>
              <a:avLst/>
              <a:gdLst>
                <a:gd name="T0" fmla="*/ 0 w 7"/>
                <a:gd name="T1" fmla="*/ 11 h 11"/>
                <a:gd name="T2" fmla="*/ 0 w 7"/>
                <a:gd name="T3" fmla="*/ 11 h 11"/>
                <a:gd name="T4" fmla="*/ 7 w 7"/>
                <a:gd name="T5" fmla="*/ 0 h 11"/>
                <a:gd name="T6" fmla="*/ 7 w 7"/>
                <a:gd name="T7" fmla="*/ 0 h 11"/>
                <a:gd name="T8" fmla="*/ 0 w 7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1">
                  <a:moveTo>
                    <a:pt x="0" y="11"/>
                  </a:moveTo>
                  <a:lnTo>
                    <a:pt x="0" y="11"/>
                  </a:lnTo>
                  <a:lnTo>
                    <a:pt x="7" y="0"/>
                  </a:lnTo>
                  <a:lnTo>
                    <a:pt x="7" y="0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5" name="Rectangle 786">
              <a:extLst>
                <a:ext uri="{FF2B5EF4-FFF2-40B4-BE49-F238E27FC236}">
                  <a16:creationId xmlns:a16="http://schemas.microsoft.com/office/drawing/2014/main" id="{9A16EF53-70BA-4552-B1F1-AD7F76D556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9288" y="5518151"/>
              <a:ext cx="22225" cy="1588"/>
            </a:xfrm>
            <a:prstGeom prst="rect">
              <a:avLst/>
            </a:prstGeom>
            <a:grpFill/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6" name="Freeform 787">
              <a:extLst>
                <a:ext uri="{FF2B5EF4-FFF2-40B4-BE49-F238E27FC236}">
                  <a16:creationId xmlns:a16="http://schemas.microsoft.com/office/drawing/2014/main" id="{F7D702AD-E877-4DCC-BE5A-D411635B8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6725" y="5360988"/>
              <a:ext cx="7938" cy="4763"/>
            </a:xfrm>
            <a:custGeom>
              <a:avLst/>
              <a:gdLst>
                <a:gd name="T0" fmla="*/ 0 w 5"/>
                <a:gd name="T1" fmla="*/ 3 h 3"/>
                <a:gd name="T2" fmla="*/ 5 w 5"/>
                <a:gd name="T3" fmla="*/ 0 h 3"/>
                <a:gd name="T4" fmla="*/ 0 w 5"/>
                <a:gd name="T5" fmla="*/ 3 h 3"/>
                <a:gd name="T6" fmla="*/ 0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0" y="3"/>
                  </a:moveTo>
                  <a:lnTo>
                    <a:pt x="5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7" name="Freeform 788">
              <a:extLst>
                <a:ext uri="{FF2B5EF4-FFF2-40B4-BE49-F238E27FC236}">
                  <a16:creationId xmlns:a16="http://schemas.microsoft.com/office/drawing/2014/main" id="{AA915558-5EA0-4AB9-B0BD-FC836D8D2F3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063" y="6286501"/>
              <a:ext cx="1546225" cy="414338"/>
            </a:xfrm>
            <a:custGeom>
              <a:avLst/>
              <a:gdLst>
                <a:gd name="T0" fmla="*/ 964 w 974"/>
                <a:gd name="T1" fmla="*/ 227 h 261"/>
                <a:gd name="T2" fmla="*/ 962 w 974"/>
                <a:gd name="T3" fmla="*/ 196 h 261"/>
                <a:gd name="T4" fmla="*/ 931 w 974"/>
                <a:gd name="T5" fmla="*/ 165 h 261"/>
                <a:gd name="T6" fmla="*/ 950 w 974"/>
                <a:gd name="T7" fmla="*/ 137 h 261"/>
                <a:gd name="T8" fmla="*/ 974 w 974"/>
                <a:gd name="T9" fmla="*/ 115 h 261"/>
                <a:gd name="T10" fmla="*/ 899 w 974"/>
                <a:gd name="T11" fmla="*/ 104 h 261"/>
                <a:gd name="T12" fmla="*/ 851 w 974"/>
                <a:gd name="T13" fmla="*/ 87 h 261"/>
                <a:gd name="T14" fmla="*/ 804 w 974"/>
                <a:gd name="T15" fmla="*/ 86 h 261"/>
                <a:gd name="T16" fmla="*/ 778 w 974"/>
                <a:gd name="T17" fmla="*/ 48 h 261"/>
                <a:gd name="T18" fmla="*/ 754 w 974"/>
                <a:gd name="T19" fmla="*/ 37 h 261"/>
                <a:gd name="T20" fmla="*/ 756 w 974"/>
                <a:gd name="T21" fmla="*/ 19 h 261"/>
                <a:gd name="T22" fmla="*/ 770 w 974"/>
                <a:gd name="T23" fmla="*/ 8 h 261"/>
                <a:gd name="T24" fmla="*/ 744 w 974"/>
                <a:gd name="T25" fmla="*/ 8 h 261"/>
                <a:gd name="T26" fmla="*/ 703 w 974"/>
                <a:gd name="T27" fmla="*/ 25 h 261"/>
                <a:gd name="T28" fmla="*/ 659 w 974"/>
                <a:gd name="T29" fmla="*/ 20 h 261"/>
                <a:gd name="T30" fmla="*/ 615 w 974"/>
                <a:gd name="T31" fmla="*/ 32 h 261"/>
                <a:gd name="T32" fmla="*/ 594 w 974"/>
                <a:gd name="T33" fmla="*/ 65 h 261"/>
                <a:gd name="T34" fmla="*/ 558 w 974"/>
                <a:gd name="T35" fmla="*/ 46 h 261"/>
                <a:gd name="T36" fmla="*/ 525 w 974"/>
                <a:gd name="T37" fmla="*/ 49 h 261"/>
                <a:gd name="T38" fmla="*/ 527 w 974"/>
                <a:gd name="T39" fmla="*/ 91 h 261"/>
                <a:gd name="T40" fmla="*/ 503 w 974"/>
                <a:gd name="T41" fmla="*/ 87 h 261"/>
                <a:gd name="T42" fmla="*/ 468 w 974"/>
                <a:gd name="T43" fmla="*/ 106 h 261"/>
                <a:gd name="T44" fmla="*/ 484 w 974"/>
                <a:gd name="T45" fmla="*/ 151 h 261"/>
                <a:gd name="T46" fmla="*/ 472 w 974"/>
                <a:gd name="T47" fmla="*/ 166 h 261"/>
                <a:gd name="T48" fmla="*/ 448 w 974"/>
                <a:gd name="T49" fmla="*/ 137 h 261"/>
                <a:gd name="T50" fmla="*/ 422 w 974"/>
                <a:gd name="T51" fmla="*/ 146 h 261"/>
                <a:gd name="T52" fmla="*/ 396 w 974"/>
                <a:gd name="T53" fmla="*/ 151 h 261"/>
                <a:gd name="T54" fmla="*/ 388 w 974"/>
                <a:gd name="T55" fmla="*/ 113 h 261"/>
                <a:gd name="T56" fmla="*/ 367 w 974"/>
                <a:gd name="T57" fmla="*/ 106 h 261"/>
                <a:gd name="T58" fmla="*/ 362 w 974"/>
                <a:gd name="T59" fmla="*/ 130 h 261"/>
                <a:gd name="T60" fmla="*/ 319 w 974"/>
                <a:gd name="T61" fmla="*/ 196 h 261"/>
                <a:gd name="T62" fmla="*/ 324 w 974"/>
                <a:gd name="T63" fmla="*/ 221 h 261"/>
                <a:gd name="T64" fmla="*/ 314 w 974"/>
                <a:gd name="T65" fmla="*/ 233 h 261"/>
                <a:gd name="T66" fmla="*/ 295 w 974"/>
                <a:gd name="T67" fmla="*/ 208 h 261"/>
                <a:gd name="T68" fmla="*/ 291 w 974"/>
                <a:gd name="T69" fmla="*/ 180 h 261"/>
                <a:gd name="T70" fmla="*/ 274 w 974"/>
                <a:gd name="T71" fmla="*/ 213 h 261"/>
                <a:gd name="T72" fmla="*/ 258 w 974"/>
                <a:gd name="T73" fmla="*/ 258 h 261"/>
                <a:gd name="T74" fmla="*/ 257 w 974"/>
                <a:gd name="T75" fmla="*/ 216 h 261"/>
                <a:gd name="T76" fmla="*/ 281 w 974"/>
                <a:gd name="T77" fmla="*/ 180 h 261"/>
                <a:gd name="T78" fmla="*/ 243 w 974"/>
                <a:gd name="T79" fmla="*/ 147 h 261"/>
                <a:gd name="T80" fmla="*/ 246 w 974"/>
                <a:gd name="T81" fmla="*/ 118 h 261"/>
                <a:gd name="T82" fmla="*/ 202 w 974"/>
                <a:gd name="T83" fmla="*/ 139 h 261"/>
                <a:gd name="T84" fmla="*/ 190 w 974"/>
                <a:gd name="T85" fmla="*/ 172 h 261"/>
                <a:gd name="T86" fmla="*/ 166 w 974"/>
                <a:gd name="T87" fmla="*/ 208 h 261"/>
                <a:gd name="T88" fmla="*/ 131 w 974"/>
                <a:gd name="T89" fmla="*/ 208 h 261"/>
                <a:gd name="T90" fmla="*/ 110 w 974"/>
                <a:gd name="T91" fmla="*/ 203 h 261"/>
                <a:gd name="T92" fmla="*/ 92 w 974"/>
                <a:gd name="T93" fmla="*/ 215 h 261"/>
                <a:gd name="T94" fmla="*/ 62 w 974"/>
                <a:gd name="T95" fmla="*/ 218 h 261"/>
                <a:gd name="T96" fmla="*/ 14 w 974"/>
                <a:gd name="T97" fmla="*/ 211 h 261"/>
                <a:gd name="T98" fmla="*/ 0 w 974"/>
                <a:gd name="T99" fmla="*/ 235 h 261"/>
                <a:gd name="T100" fmla="*/ 17 w 974"/>
                <a:gd name="T101" fmla="*/ 259 h 261"/>
                <a:gd name="T102" fmla="*/ 24 w 974"/>
                <a:gd name="T103" fmla="*/ 259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74" h="261">
                  <a:moveTo>
                    <a:pt x="969" y="252"/>
                  </a:moveTo>
                  <a:lnTo>
                    <a:pt x="969" y="239"/>
                  </a:lnTo>
                  <a:lnTo>
                    <a:pt x="971" y="235"/>
                  </a:lnTo>
                  <a:lnTo>
                    <a:pt x="969" y="232"/>
                  </a:lnTo>
                  <a:lnTo>
                    <a:pt x="964" y="227"/>
                  </a:lnTo>
                  <a:lnTo>
                    <a:pt x="957" y="221"/>
                  </a:lnTo>
                  <a:lnTo>
                    <a:pt x="952" y="213"/>
                  </a:lnTo>
                  <a:lnTo>
                    <a:pt x="952" y="209"/>
                  </a:lnTo>
                  <a:lnTo>
                    <a:pt x="956" y="204"/>
                  </a:lnTo>
                  <a:lnTo>
                    <a:pt x="962" y="196"/>
                  </a:lnTo>
                  <a:lnTo>
                    <a:pt x="964" y="192"/>
                  </a:lnTo>
                  <a:lnTo>
                    <a:pt x="961" y="184"/>
                  </a:lnTo>
                  <a:lnTo>
                    <a:pt x="947" y="175"/>
                  </a:lnTo>
                  <a:lnTo>
                    <a:pt x="937" y="172"/>
                  </a:lnTo>
                  <a:lnTo>
                    <a:pt x="931" y="165"/>
                  </a:lnTo>
                  <a:lnTo>
                    <a:pt x="931" y="160"/>
                  </a:lnTo>
                  <a:lnTo>
                    <a:pt x="933" y="151"/>
                  </a:lnTo>
                  <a:lnTo>
                    <a:pt x="935" y="146"/>
                  </a:lnTo>
                  <a:lnTo>
                    <a:pt x="942" y="141"/>
                  </a:lnTo>
                  <a:lnTo>
                    <a:pt x="950" y="137"/>
                  </a:lnTo>
                  <a:lnTo>
                    <a:pt x="961" y="130"/>
                  </a:lnTo>
                  <a:lnTo>
                    <a:pt x="973" y="125"/>
                  </a:lnTo>
                  <a:lnTo>
                    <a:pt x="974" y="122"/>
                  </a:lnTo>
                  <a:lnTo>
                    <a:pt x="974" y="120"/>
                  </a:lnTo>
                  <a:lnTo>
                    <a:pt x="974" y="115"/>
                  </a:lnTo>
                  <a:lnTo>
                    <a:pt x="973" y="111"/>
                  </a:lnTo>
                  <a:lnTo>
                    <a:pt x="966" y="108"/>
                  </a:lnTo>
                  <a:lnTo>
                    <a:pt x="940" y="101"/>
                  </a:lnTo>
                  <a:lnTo>
                    <a:pt x="907" y="106"/>
                  </a:lnTo>
                  <a:lnTo>
                    <a:pt x="899" y="104"/>
                  </a:lnTo>
                  <a:lnTo>
                    <a:pt x="887" y="99"/>
                  </a:lnTo>
                  <a:lnTo>
                    <a:pt x="883" y="101"/>
                  </a:lnTo>
                  <a:lnTo>
                    <a:pt x="863" y="96"/>
                  </a:lnTo>
                  <a:lnTo>
                    <a:pt x="856" y="91"/>
                  </a:lnTo>
                  <a:lnTo>
                    <a:pt x="851" y="87"/>
                  </a:lnTo>
                  <a:lnTo>
                    <a:pt x="844" y="87"/>
                  </a:lnTo>
                  <a:lnTo>
                    <a:pt x="823" y="89"/>
                  </a:lnTo>
                  <a:lnTo>
                    <a:pt x="814" y="89"/>
                  </a:lnTo>
                  <a:lnTo>
                    <a:pt x="809" y="87"/>
                  </a:lnTo>
                  <a:lnTo>
                    <a:pt x="804" y="86"/>
                  </a:lnTo>
                  <a:lnTo>
                    <a:pt x="795" y="79"/>
                  </a:lnTo>
                  <a:lnTo>
                    <a:pt x="789" y="68"/>
                  </a:lnTo>
                  <a:lnTo>
                    <a:pt x="782" y="60"/>
                  </a:lnTo>
                  <a:lnTo>
                    <a:pt x="782" y="55"/>
                  </a:lnTo>
                  <a:lnTo>
                    <a:pt x="778" y="48"/>
                  </a:lnTo>
                  <a:lnTo>
                    <a:pt x="775" y="48"/>
                  </a:lnTo>
                  <a:lnTo>
                    <a:pt x="768" y="48"/>
                  </a:lnTo>
                  <a:lnTo>
                    <a:pt x="759" y="44"/>
                  </a:lnTo>
                  <a:lnTo>
                    <a:pt x="758" y="39"/>
                  </a:lnTo>
                  <a:lnTo>
                    <a:pt x="754" y="37"/>
                  </a:lnTo>
                  <a:lnTo>
                    <a:pt x="754" y="34"/>
                  </a:lnTo>
                  <a:lnTo>
                    <a:pt x="756" y="29"/>
                  </a:lnTo>
                  <a:lnTo>
                    <a:pt x="756" y="25"/>
                  </a:lnTo>
                  <a:lnTo>
                    <a:pt x="754" y="22"/>
                  </a:lnTo>
                  <a:lnTo>
                    <a:pt x="756" y="19"/>
                  </a:lnTo>
                  <a:lnTo>
                    <a:pt x="756" y="17"/>
                  </a:lnTo>
                  <a:lnTo>
                    <a:pt x="758" y="15"/>
                  </a:lnTo>
                  <a:lnTo>
                    <a:pt x="766" y="15"/>
                  </a:lnTo>
                  <a:lnTo>
                    <a:pt x="768" y="12"/>
                  </a:lnTo>
                  <a:lnTo>
                    <a:pt x="770" y="8"/>
                  </a:lnTo>
                  <a:lnTo>
                    <a:pt x="770" y="1"/>
                  </a:lnTo>
                  <a:lnTo>
                    <a:pt x="768" y="0"/>
                  </a:lnTo>
                  <a:lnTo>
                    <a:pt x="763" y="1"/>
                  </a:lnTo>
                  <a:lnTo>
                    <a:pt x="747" y="6"/>
                  </a:lnTo>
                  <a:lnTo>
                    <a:pt x="744" y="8"/>
                  </a:lnTo>
                  <a:lnTo>
                    <a:pt x="739" y="10"/>
                  </a:lnTo>
                  <a:lnTo>
                    <a:pt x="732" y="12"/>
                  </a:lnTo>
                  <a:lnTo>
                    <a:pt x="716" y="24"/>
                  </a:lnTo>
                  <a:lnTo>
                    <a:pt x="713" y="25"/>
                  </a:lnTo>
                  <a:lnTo>
                    <a:pt x="703" y="25"/>
                  </a:lnTo>
                  <a:lnTo>
                    <a:pt x="694" y="19"/>
                  </a:lnTo>
                  <a:lnTo>
                    <a:pt x="684" y="17"/>
                  </a:lnTo>
                  <a:lnTo>
                    <a:pt x="675" y="15"/>
                  </a:lnTo>
                  <a:lnTo>
                    <a:pt x="663" y="15"/>
                  </a:lnTo>
                  <a:lnTo>
                    <a:pt x="659" y="20"/>
                  </a:lnTo>
                  <a:lnTo>
                    <a:pt x="658" y="20"/>
                  </a:lnTo>
                  <a:lnTo>
                    <a:pt x="639" y="22"/>
                  </a:lnTo>
                  <a:lnTo>
                    <a:pt x="627" y="24"/>
                  </a:lnTo>
                  <a:lnTo>
                    <a:pt x="618" y="29"/>
                  </a:lnTo>
                  <a:lnTo>
                    <a:pt x="615" y="32"/>
                  </a:lnTo>
                  <a:lnTo>
                    <a:pt x="613" y="37"/>
                  </a:lnTo>
                  <a:lnTo>
                    <a:pt x="606" y="55"/>
                  </a:lnTo>
                  <a:lnTo>
                    <a:pt x="604" y="60"/>
                  </a:lnTo>
                  <a:lnTo>
                    <a:pt x="601" y="65"/>
                  </a:lnTo>
                  <a:lnTo>
                    <a:pt x="594" y="65"/>
                  </a:lnTo>
                  <a:lnTo>
                    <a:pt x="589" y="63"/>
                  </a:lnTo>
                  <a:lnTo>
                    <a:pt x="577" y="60"/>
                  </a:lnTo>
                  <a:lnTo>
                    <a:pt x="567" y="58"/>
                  </a:lnTo>
                  <a:lnTo>
                    <a:pt x="563" y="56"/>
                  </a:lnTo>
                  <a:lnTo>
                    <a:pt x="558" y="46"/>
                  </a:lnTo>
                  <a:lnTo>
                    <a:pt x="553" y="43"/>
                  </a:lnTo>
                  <a:lnTo>
                    <a:pt x="549" y="43"/>
                  </a:lnTo>
                  <a:lnTo>
                    <a:pt x="544" y="41"/>
                  </a:lnTo>
                  <a:lnTo>
                    <a:pt x="534" y="41"/>
                  </a:lnTo>
                  <a:lnTo>
                    <a:pt x="525" y="49"/>
                  </a:lnTo>
                  <a:lnTo>
                    <a:pt x="522" y="56"/>
                  </a:lnTo>
                  <a:lnTo>
                    <a:pt x="520" y="63"/>
                  </a:lnTo>
                  <a:lnTo>
                    <a:pt x="520" y="70"/>
                  </a:lnTo>
                  <a:lnTo>
                    <a:pt x="520" y="75"/>
                  </a:lnTo>
                  <a:lnTo>
                    <a:pt x="527" y="91"/>
                  </a:lnTo>
                  <a:lnTo>
                    <a:pt x="530" y="99"/>
                  </a:lnTo>
                  <a:lnTo>
                    <a:pt x="529" y="104"/>
                  </a:lnTo>
                  <a:lnTo>
                    <a:pt x="524" y="106"/>
                  </a:lnTo>
                  <a:lnTo>
                    <a:pt x="506" y="98"/>
                  </a:lnTo>
                  <a:lnTo>
                    <a:pt x="503" y="87"/>
                  </a:lnTo>
                  <a:lnTo>
                    <a:pt x="501" y="84"/>
                  </a:lnTo>
                  <a:lnTo>
                    <a:pt x="494" y="82"/>
                  </a:lnTo>
                  <a:lnTo>
                    <a:pt x="487" y="87"/>
                  </a:lnTo>
                  <a:lnTo>
                    <a:pt x="480" y="89"/>
                  </a:lnTo>
                  <a:lnTo>
                    <a:pt x="468" y="106"/>
                  </a:lnTo>
                  <a:lnTo>
                    <a:pt x="474" y="123"/>
                  </a:lnTo>
                  <a:lnTo>
                    <a:pt x="479" y="125"/>
                  </a:lnTo>
                  <a:lnTo>
                    <a:pt x="477" y="144"/>
                  </a:lnTo>
                  <a:lnTo>
                    <a:pt x="479" y="147"/>
                  </a:lnTo>
                  <a:lnTo>
                    <a:pt x="484" y="151"/>
                  </a:lnTo>
                  <a:lnTo>
                    <a:pt x="486" y="154"/>
                  </a:lnTo>
                  <a:lnTo>
                    <a:pt x="486" y="156"/>
                  </a:lnTo>
                  <a:lnTo>
                    <a:pt x="484" y="160"/>
                  </a:lnTo>
                  <a:lnTo>
                    <a:pt x="479" y="165"/>
                  </a:lnTo>
                  <a:lnTo>
                    <a:pt x="472" y="166"/>
                  </a:lnTo>
                  <a:lnTo>
                    <a:pt x="463" y="163"/>
                  </a:lnTo>
                  <a:lnTo>
                    <a:pt x="463" y="161"/>
                  </a:lnTo>
                  <a:lnTo>
                    <a:pt x="458" y="144"/>
                  </a:lnTo>
                  <a:lnTo>
                    <a:pt x="455" y="139"/>
                  </a:lnTo>
                  <a:lnTo>
                    <a:pt x="448" y="137"/>
                  </a:lnTo>
                  <a:lnTo>
                    <a:pt x="441" y="137"/>
                  </a:lnTo>
                  <a:lnTo>
                    <a:pt x="437" y="142"/>
                  </a:lnTo>
                  <a:lnTo>
                    <a:pt x="436" y="142"/>
                  </a:lnTo>
                  <a:lnTo>
                    <a:pt x="424" y="144"/>
                  </a:lnTo>
                  <a:lnTo>
                    <a:pt x="422" y="146"/>
                  </a:lnTo>
                  <a:lnTo>
                    <a:pt x="419" y="151"/>
                  </a:lnTo>
                  <a:lnTo>
                    <a:pt x="415" y="153"/>
                  </a:lnTo>
                  <a:lnTo>
                    <a:pt x="401" y="153"/>
                  </a:lnTo>
                  <a:lnTo>
                    <a:pt x="400" y="153"/>
                  </a:lnTo>
                  <a:lnTo>
                    <a:pt x="396" y="151"/>
                  </a:lnTo>
                  <a:lnTo>
                    <a:pt x="394" y="147"/>
                  </a:lnTo>
                  <a:lnTo>
                    <a:pt x="391" y="142"/>
                  </a:lnTo>
                  <a:lnTo>
                    <a:pt x="388" y="132"/>
                  </a:lnTo>
                  <a:lnTo>
                    <a:pt x="388" y="125"/>
                  </a:lnTo>
                  <a:lnTo>
                    <a:pt x="388" y="113"/>
                  </a:lnTo>
                  <a:lnTo>
                    <a:pt x="388" y="111"/>
                  </a:lnTo>
                  <a:lnTo>
                    <a:pt x="381" y="113"/>
                  </a:lnTo>
                  <a:lnTo>
                    <a:pt x="377" y="110"/>
                  </a:lnTo>
                  <a:lnTo>
                    <a:pt x="377" y="108"/>
                  </a:lnTo>
                  <a:lnTo>
                    <a:pt x="367" y="106"/>
                  </a:lnTo>
                  <a:lnTo>
                    <a:pt x="362" y="108"/>
                  </a:lnTo>
                  <a:lnTo>
                    <a:pt x="360" y="110"/>
                  </a:lnTo>
                  <a:lnTo>
                    <a:pt x="358" y="115"/>
                  </a:lnTo>
                  <a:lnTo>
                    <a:pt x="358" y="127"/>
                  </a:lnTo>
                  <a:lnTo>
                    <a:pt x="362" y="130"/>
                  </a:lnTo>
                  <a:lnTo>
                    <a:pt x="362" y="144"/>
                  </a:lnTo>
                  <a:lnTo>
                    <a:pt x="332" y="182"/>
                  </a:lnTo>
                  <a:lnTo>
                    <a:pt x="324" y="190"/>
                  </a:lnTo>
                  <a:lnTo>
                    <a:pt x="322" y="190"/>
                  </a:lnTo>
                  <a:lnTo>
                    <a:pt x="319" y="196"/>
                  </a:lnTo>
                  <a:lnTo>
                    <a:pt x="319" y="196"/>
                  </a:lnTo>
                  <a:lnTo>
                    <a:pt x="319" y="203"/>
                  </a:lnTo>
                  <a:lnTo>
                    <a:pt x="317" y="206"/>
                  </a:lnTo>
                  <a:lnTo>
                    <a:pt x="317" y="213"/>
                  </a:lnTo>
                  <a:lnTo>
                    <a:pt x="324" y="221"/>
                  </a:lnTo>
                  <a:lnTo>
                    <a:pt x="324" y="228"/>
                  </a:lnTo>
                  <a:lnTo>
                    <a:pt x="324" y="232"/>
                  </a:lnTo>
                  <a:lnTo>
                    <a:pt x="322" y="232"/>
                  </a:lnTo>
                  <a:lnTo>
                    <a:pt x="317" y="233"/>
                  </a:lnTo>
                  <a:lnTo>
                    <a:pt x="314" y="233"/>
                  </a:lnTo>
                  <a:lnTo>
                    <a:pt x="310" y="230"/>
                  </a:lnTo>
                  <a:lnTo>
                    <a:pt x="301" y="215"/>
                  </a:lnTo>
                  <a:lnTo>
                    <a:pt x="300" y="213"/>
                  </a:lnTo>
                  <a:lnTo>
                    <a:pt x="296" y="209"/>
                  </a:lnTo>
                  <a:lnTo>
                    <a:pt x="295" y="208"/>
                  </a:lnTo>
                  <a:lnTo>
                    <a:pt x="291" y="206"/>
                  </a:lnTo>
                  <a:lnTo>
                    <a:pt x="291" y="197"/>
                  </a:lnTo>
                  <a:lnTo>
                    <a:pt x="293" y="187"/>
                  </a:lnTo>
                  <a:lnTo>
                    <a:pt x="293" y="184"/>
                  </a:lnTo>
                  <a:lnTo>
                    <a:pt x="291" y="180"/>
                  </a:lnTo>
                  <a:lnTo>
                    <a:pt x="289" y="180"/>
                  </a:lnTo>
                  <a:lnTo>
                    <a:pt x="281" y="194"/>
                  </a:lnTo>
                  <a:lnTo>
                    <a:pt x="279" y="201"/>
                  </a:lnTo>
                  <a:lnTo>
                    <a:pt x="277" y="204"/>
                  </a:lnTo>
                  <a:lnTo>
                    <a:pt x="274" y="213"/>
                  </a:lnTo>
                  <a:lnTo>
                    <a:pt x="264" y="221"/>
                  </a:lnTo>
                  <a:lnTo>
                    <a:pt x="262" y="228"/>
                  </a:lnTo>
                  <a:lnTo>
                    <a:pt x="264" y="252"/>
                  </a:lnTo>
                  <a:lnTo>
                    <a:pt x="262" y="258"/>
                  </a:lnTo>
                  <a:lnTo>
                    <a:pt x="258" y="258"/>
                  </a:lnTo>
                  <a:lnTo>
                    <a:pt x="257" y="252"/>
                  </a:lnTo>
                  <a:lnTo>
                    <a:pt x="255" y="230"/>
                  </a:lnTo>
                  <a:lnTo>
                    <a:pt x="252" y="220"/>
                  </a:lnTo>
                  <a:lnTo>
                    <a:pt x="252" y="218"/>
                  </a:lnTo>
                  <a:lnTo>
                    <a:pt x="257" y="216"/>
                  </a:lnTo>
                  <a:lnTo>
                    <a:pt x="260" y="216"/>
                  </a:lnTo>
                  <a:lnTo>
                    <a:pt x="269" y="209"/>
                  </a:lnTo>
                  <a:lnTo>
                    <a:pt x="274" y="192"/>
                  </a:lnTo>
                  <a:lnTo>
                    <a:pt x="284" y="180"/>
                  </a:lnTo>
                  <a:lnTo>
                    <a:pt x="281" y="180"/>
                  </a:lnTo>
                  <a:lnTo>
                    <a:pt x="274" y="178"/>
                  </a:lnTo>
                  <a:lnTo>
                    <a:pt x="269" y="177"/>
                  </a:lnTo>
                  <a:lnTo>
                    <a:pt x="262" y="168"/>
                  </a:lnTo>
                  <a:lnTo>
                    <a:pt x="252" y="156"/>
                  </a:lnTo>
                  <a:lnTo>
                    <a:pt x="243" y="147"/>
                  </a:lnTo>
                  <a:lnTo>
                    <a:pt x="243" y="144"/>
                  </a:lnTo>
                  <a:lnTo>
                    <a:pt x="243" y="141"/>
                  </a:lnTo>
                  <a:lnTo>
                    <a:pt x="245" y="132"/>
                  </a:lnTo>
                  <a:lnTo>
                    <a:pt x="245" y="125"/>
                  </a:lnTo>
                  <a:lnTo>
                    <a:pt x="246" y="118"/>
                  </a:lnTo>
                  <a:lnTo>
                    <a:pt x="245" y="113"/>
                  </a:lnTo>
                  <a:lnTo>
                    <a:pt x="243" y="113"/>
                  </a:lnTo>
                  <a:lnTo>
                    <a:pt x="227" y="117"/>
                  </a:lnTo>
                  <a:lnTo>
                    <a:pt x="209" y="137"/>
                  </a:lnTo>
                  <a:lnTo>
                    <a:pt x="202" y="139"/>
                  </a:lnTo>
                  <a:lnTo>
                    <a:pt x="198" y="137"/>
                  </a:lnTo>
                  <a:lnTo>
                    <a:pt x="193" y="141"/>
                  </a:lnTo>
                  <a:lnTo>
                    <a:pt x="193" y="142"/>
                  </a:lnTo>
                  <a:lnTo>
                    <a:pt x="196" y="158"/>
                  </a:lnTo>
                  <a:lnTo>
                    <a:pt x="190" y="172"/>
                  </a:lnTo>
                  <a:lnTo>
                    <a:pt x="190" y="180"/>
                  </a:lnTo>
                  <a:lnTo>
                    <a:pt x="186" y="185"/>
                  </a:lnTo>
                  <a:lnTo>
                    <a:pt x="183" y="190"/>
                  </a:lnTo>
                  <a:lnTo>
                    <a:pt x="178" y="196"/>
                  </a:lnTo>
                  <a:lnTo>
                    <a:pt x="166" y="208"/>
                  </a:lnTo>
                  <a:lnTo>
                    <a:pt x="160" y="213"/>
                  </a:lnTo>
                  <a:lnTo>
                    <a:pt x="153" y="213"/>
                  </a:lnTo>
                  <a:lnTo>
                    <a:pt x="143" y="211"/>
                  </a:lnTo>
                  <a:lnTo>
                    <a:pt x="135" y="209"/>
                  </a:lnTo>
                  <a:lnTo>
                    <a:pt x="131" y="208"/>
                  </a:lnTo>
                  <a:lnTo>
                    <a:pt x="124" y="201"/>
                  </a:lnTo>
                  <a:lnTo>
                    <a:pt x="121" y="199"/>
                  </a:lnTo>
                  <a:lnTo>
                    <a:pt x="114" y="201"/>
                  </a:lnTo>
                  <a:lnTo>
                    <a:pt x="110" y="203"/>
                  </a:lnTo>
                  <a:lnTo>
                    <a:pt x="110" y="203"/>
                  </a:lnTo>
                  <a:lnTo>
                    <a:pt x="107" y="211"/>
                  </a:lnTo>
                  <a:lnTo>
                    <a:pt x="97" y="215"/>
                  </a:lnTo>
                  <a:lnTo>
                    <a:pt x="97" y="215"/>
                  </a:lnTo>
                  <a:lnTo>
                    <a:pt x="93" y="215"/>
                  </a:lnTo>
                  <a:lnTo>
                    <a:pt x="92" y="215"/>
                  </a:lnTo>
                  <a:lnTo>
                    <a:pt x="90" y="215"/>
                  </a:lnTo>
                  <a:lnTo>
                    <a:pt x="81" y="211"/>
                  </a:lnTo>
                  <a:lnTo>
                    <a:pt x="71" y="213"/>
                  </a:lnTo>
                  <a:lnTo>
                    <a:pt x="66" y="215"/>
                  </a:lnTo>
                  <a:lnTo>
                    <a:pt x="62" y="218"/>
                  </a:lnTo>
                  <a:lnTo>
                    <a:pt x="43" y="216"/>
                  </a:lnTo>
                  <a:lnTo>
                    <a:pt x="35" y="208"/>
                  </a:lnTo>
                  <a:lnTo>
                    <a:pt x="30" y="208"/>
                  </a:lnTo>
                  <a:lnTo>
                    <a:pt x="26" y="211"/>
                  </a:lnTo>
                  <a:lnTo>
                    <a:pt x="14" y="211"/>
                  </a:lnTo>
                  <a:lnTo>
                    <a:pt x="12" y="215"/>
                  </a:lnTo>
                  <a:lnTo>
                    <a:pt x="9" y="220"/>
                  </a:lnTo>
                  <a:lnTo>
                    <a:pt x="5" y="228"/>
                  </a:lnTo>
                  <a:lnTo>
                    <a:pt x="2" y="233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4" y="246"/>
                  </a:lnTo>
                  <a:lnTo>
                    <a:pt x="5" y="249"/>
                  </a:lnTo>
                  <a:lnTo>
                    <a:pt x="9" y="251"/>
                  </a:lnTo>
                  <a:lnTo>
                    <a:pt x="17" y="259"/>
                  </a:lnTo>
                  <a:lnTo>
                    <a:pt x="19" y="261"/>
                  </a:lnTo>
                  <a:lnTo>
                    <a:pt x="23" y="259"/>
                  </a:lnTo>
                  <a:lnTo>
                    <a:pt x="23" y="259"/>
                  </a:lnTo>
                  <a:lnTo>
                    <a:pt x="24" y="259"/>
                  </a:lnTo>
                  <a:lnTo>
                    <a:pt x="24" y="259"/>
                  </a:lnTo>
                  <a:lnTo>
                    <a:pt x="24" y="261"/>
                  </a:lnTo>
                  <a:lnTo>
                    <a:pt x="974" y="261"/>
                  </a:lnTo>
                  <a:lnTo>
                    <a:pt x="973" y="258"/>
                  </a:lnTo>
                  <a:lnTo>
                    <a:pt x="969" y="25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8" name="Freeform 789">
              <a:extLst>
                <a:ext uri="{FF2B5EF4-FFF2-40B4-BE49-F238E27FC236}">
                  <a16:creationId xmlns:a16="http://schemas.microsoft.com/office/drawing/2014/main" id="{495F8389-8110-4F3C-A778-50C3DC0E2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8713" y="4554538"/>
              <a:ext cx="12700" cy="11113"/>
            </a:xfrm>
            <a:custGeom>
              <a:avLst/>
              <a:gdLst>
                <a:gd name="T0" fmla="*/ 0 w 8"/>
                <a:gd name="T1" fmla="*/ 7 h 7"/>
                <a:gd name="T2" fmla="*/ 8 w 8"/>
                <a:gd name="T3" fmla="*/ 0 h 7"/>
                <a:gd name="T4" fmla="*/ 0 w 8"/>
                <a:gd name="T5" fmla="*/ 7 h 7"/>
                <a:gd name="T6" fmla="*/ 0 w 8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0" y="7"/>
                  </a:moveTo>
                  <a:lnTo>
                    <a:pt x="8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59" name="Freeform 790">
              <a:extLst>
                <a:ext uri="{FF2B5EF4-FFF2-40B4-BE49-F238E27FC236}">
                  <a16:creationId xmlns:a16="http://schemas.microsoft.com/office/drawing/2014/main" id="{7BD19340-D5D6-45FC-96CC-87D6D5396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3150" y="4276726"/>
              <a:ext cx="147638" cy="79375"/>
            </a:xfrm>
            <a:custGeom>
              <a:avLst/>
              <a:gdLst>
                <a:gd name="T0" fmla="*/ 17 w 93"/>
                <a:gd name="T1" fmla="*/ 3 h 50"/>
                <a:gd name="T2" fmla="*/ 0 w 93"/>
                <a:gd name="T3" fmla="*/ 7 h 50"/>
                <a:gd name="T4" fmla="*/ 14 w 93"/>
                <a:gd name="T5" fmla="*/ 15 h 50"/>
                <a:gd name="T6" fmla="*/ 31 w 93"/>
                <a:gd name="T7" fmla="*/ 26 h 50"/>
                <a:gd name="T8" fmla="*/ 50 w 93"/>
                <a:gd name="T9" fmla="*/ 22 h 50"/>
                <a:gd name="T10" fmla="*/ 50 w 93"/>
                <a:gd name="T11" fmla="*/ 22 h 50"/>
                <a:gd name="T12" fmla="*/ 62 w 93"/>
                <a:gd name="T13" fmla="*/ 27 h 50"/>
                <a:gd name="T14" fmla="*/ 67 w 93"/>
                <a:gd name="T15" fmla="*/ 41 h 50"/>
                <a:gd name="T16" fmla="*/ 76 w 93"/>
                <a:gd name="T17" fmla="*/ 41 h 50"/>
                <a:gd name="T18" fmla="*/ 84 w 93"/>
                <a:gd name="T19" fmla="*/ 50 h 50"/>
                <a:gd name="T20" fmla="*/ 93 w 93"/>
                <a:gd name="T21" fmla="*/ 46 h 50"/>
                <a:gd name="T22" fmla="*/ 83 w 93"/>
                <a:gd name="T23" fmla="*/ 39 h 50"/>
                <a:gd name="T24" fmla="*/ 84 w 93"/>
                <a:gd name="T25" fmla="*/ 24 h 50"/>
                <a:gd name="T26" fmla="*/ 91 w 93"/>
                <a:gd name="T27" fmla="*/ 20 h 50"/>
                <a:gd name="T28" fmla="*/ 93 w 93"/>
                <a:gd name="T29" fmla="*/ 7 h 50"/>
                <a:gd name="T30" fmla="*/ 81 w 93"/>
                <a:gd name="T31" fmla="*/ 5 h 50"/>
                <a:gd name="T32" fmla="*/ 67 w 93"/>
                <a:gd name="T33" fmla="*/ 5 h 50"/>
                <a:gd name="T34" fmla="*/ 57 w 93"/>
                <a:gd name="T35" fmla="*/ 10 h 50"/>
                <a:gd name="T36" fmla="*/ 40 w 93"/>
                <a:gd name="T37" fmla="*/ 0 h 50"/>
                <a:gd name="T38" fmla="*/ 40 w 93"/>
                <a:gd name="T39" fmla="*/ 0 h 50"/>
                <a:gd name="T40" fmla="*/ 17 w 93"/>
                <a:gd name="T41" fmla="*/ 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" h="50">
                  <a:moveTo>
                    <a:pt x="17" y="3"/>
                  </a:moveTo>
                  <a:lnTo>
                    <a:pt x="0" y="7"/>
                  </a:lnTo>
                  <a:lnTo>
                    <a:pt x="14" y="15"/>
                  </a:lnTo>
                  <a:lnTo>
                    <a:pt x="31" y="26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62" y="27"/>
                  </a:lnTo>
                  <a:lnTo>
                    <a:pt x="67" y="41"/>
                  </a:lnTo>
                  <a:lnTo>
                    <a:pt x="76" y="41"/>
                  </a:lnTo>
                  <a:lnTo>
                    <a:pt x="84" y="50"/>
                  </a:lnTo>
                  <a:lnTo>
                    <a:pt x="93" y="46"/>
                  </a:lnTo>
                  <a:lnTo>
                    <a:pt x="83" y="39"/>
                  </a:lnTo>
                  <a:lnTo>
                    <a:pt x="84" y="24"/>
                  </a:lnTo>
                  <a:lnTo>
                    <a:pt x="91" y="20"/>
                  </a:lnTo>
                  <a:lnTo>
                    <a:pt x="93" y="7"/>
                  </a:lnTo>
                  <a:lnTo>
                    <a:pt x="81" y="5"/>
                  </a:lnTo>
                  <a:lnTo>
                    <a:pt x="67" y="5"/>
                  </a:lnTo>
                  <a:lnTo>
                    <a:pt x="57" y="1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17" y="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0" name="Freeform 791">
              <a:extLst>
                <a:ext uri="{FF2B5EF4-FFF2-40B4-BE49-F238E27FC236}">
                  <a16:creationId xmlns:a16="http://schemas.microsoft.com/office/drawing/2014/main" id="{F4B25F20-3E1D-4DD5-83CB-075F72E65E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6025" y="4675188"/>
              <a:ext cx="1588" cy="3175"/>
            </a:xfrm>
            <a:custGeom>
              <a:avLst/>
              <a:gdLst>
                <a:gd name="T0" fmla="*/ 1 w 1"/>
                <a:gd name="T1" fmla="*/ 2 h 2"/>
                <a:gd name="T2" fmla="*/ 0 w 1"/>
                <a:gd name="T3" fmla="*/ 0 h 2"/>
                <a:gd name="T4" fmla="*/ 1 w 1"/>
                <a:gd name="T5" fmla="*/ 2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1" name="Freeform 792">
              <a:extLst>
                <a:ext uri="{FF2B5EF4-FFF2-40B4-BE49-F238E27FC236}">
                  <a16:creationId xmlns:a16="http://schemas.microsoft.com/office/drawing/2014/main" id="{D22F2C53-E38C-403D-8779-EBDBF6BA5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500" y="4740276"/>
              <a:ext cx="11113" cy="38100"/>
            </a:xfrm>
            <a:custGeom>
              <a:avLst/>
              <a:gdLst>
                <a:gd name="T0" fmla="*/ 7 w 7"/>
                <a:gd name="T1" fmla="*/ 24 h 24"/>
                <a:gd name="T2" fmla="*/ 2 w 7"/>
                <a:gd name="T3" fmla="*/ 19 h 24"/>
                <a:gd name="T4" fmla="*/ 0 w 7"/>
                <a:gd name="T5" fmla="*/ 0 h 24"/>
                <a:gd name="T6" fmla="*/ 2 w 7"/>
                <a:gd name="T7" fmla="*/ 19 h 24"/>
                <a:gd name="T8" fmla="*/ 7 w 7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4">
                  <a:moveTo>
                    <a:pt x="7" y="24"/>
                  </a:moveTo>
                  <a:lnTo>
                    <a:pt x="2" y="19"/>
                  </a:lnTo>
                  <a:lnTo>
                    <a:pt x="0" y="0"/>
                  </a:lnTo>
                  <a:lnTo>
                    <a:pt x="2" y="19"/>
                  </a:lnTo>
                  <a:lnTo>
                    <a:pt x="7" y="2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2" name="Freeform 793">
              <a:extLst>
                <a:ext uri="{FF2B5EF4-FFF2-40B4-BE49-F238E27FC236}">
                  <a16:creationId xmlns:a16="http://schemas.microsoft.com/office/drawing/2014/main" id="{707DC510-2245-4E3A-954A-697BE536F3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5075" y="4830763"/>
              <a:ext cx="1588" cy="3175"/>
            </a:xfrm>
            <a:custGeom>
              <a:avLst/>
              <a:gdLst>
                <a:gd name="T0" fmla="*/ 1 w 1"/>
                <a:gd name="T1" fmla="*/ 2 h 2"/>
                <a:gd name="T2" fmla="*/ 0 w 1"/>
                <a:gd name="T3" fmla="*/ 0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3" name="Freeform 794">
              <a:extLst>
                <a:ext uri="{FF2B5EF4-FFF2-40B4-BE49-F238E27FC236}">
                  <a16:creationId xmlns:a16="http://schemas.microsoft.com/office/drawing/2014/main" id="{F62BA916-DC2C-40E4-A2FB-27E8604BD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8713" y="4573588"/>
              <a:ext cx="0" cy="30163"/>
            </a:xfrm>
            <a:custGeom>
              <a:avLst/>
              <a:gdLst>
                <a:gd name="T0" fmla="*/ 19 h 19"/>
                <a:gd name="T1" fmla="*/ 0 h 19"/>
                <a:gd name="T2" fmla="*/ 19 h 19"/>
                <a:gd name="T3" fmla="*/ 19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9">
                  <a:moveTo>
                    <a:pt x="0" y="19"/>
                  </a:moveTo>
                  <a:lnTo>
                    <a:pt x="0" y="0"/>
                  </a:lnTo>
                  <a:lnTo>
                    <a:pt x="0" y="19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4" name="Freeform 795">
              <a:extLst>
                <a:ext uri="{FF2B5EF4-FFF2-40B4-BE49-F238E27FC236}">
                  <a16:creationId xmlns:a16="http://schemas.microsoft.com/office/drawing/2014/main" id="{3AC2C965-5D85-41F3-99C8-128FB7502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2588" y="6207126"/>
              <a:ext cx="7938" cy="11113"/>
            </a:xfrm>
            <a:custGeom>
              <a:avLst/>
              <a:gdLst>
                <a:gd name="T0" fmla="*/ 0 w 5"/>
                <a:gd name="T1" fmla="*/ 3 h 7"/>
                <a:gd name="T2" fmla="*/ 0 w 5"/>
                <a:gd name="T3" fmla="*/ 7 h 7"/>
                <a:gd name="T4" fmla="*/ 3 w 5"/>
                <a:gd name="T5" fmla="*/ 7 h 7"/>
                <a:gd name="T6" fmla="*/ 3 w 5"/>
                <a:gd name="T7" fmla="*/ 7 h 7"/>
                <a:gd name="T8" fmla="*/ 5 w 5"/>
                <a:gd name="T9" fmla="*/ 0 h 7"/>
                <a:gd name="T10" fmla="*/ 0 w 5"/>
                <a:gd name="T1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7">
                  <a:moveTo>
                    <a:pt x="0" y="3"/>
                  </a:moveTo>
                  <a:lnTo>
                    <a:pt x="0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5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5" name="Freeform 796">
              <a:extLst>
                <a:ext uri="{FF2B5EF4-FFF2-40B4-BE49-F238E27FC236}">
                  <a16:creationId xmlns:a16="http://schemas.microsoft.com/office/drawing/2014/main" id="{0C39A93C-109E-4418-B007-0FCBE477E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6125" y="5145088"/>
              <a:ext cx="739775" cy="665163"/>
            </a:xfrm>
            <a:custGeom>
              <a:avLst/>
              <a:gdLst>
                <a:gd name="T0" fmla="*/ 447 w 466"/>
                <a:gd name="T1" fmla="*/ 72 h 419"/>
                <a:gd name="T2" fmla="*/ 395 w 466"/>
                <a:gd name="T3" fmla="*/ 48 h 419"/>
                <a:gd name="T4" fmla="*/ 376 w 466"/>
                <a:gd name="T5" fmla="*/ 22 h 419"/>
                <a:gd name="T6" fmla="*/ 349 w 466"/>
                <a:gd name="T7" fmla="*/ 8 h 419"/>
                <a:gd name="T8" fmla="*/ 344 w 466"/>
                <a:gd name="T9" fmla="*/ 41 h 419"/>
                <a:gd name="T10" fmla="*/ 320 w 466"/>
                <a:gd name="T11" fmla="*/ 44 h 419"/>
                <a:gd name="T12" fmla="*/ 302 w 466"/>
                <a:gd name="T13" fmla="*/ 24 h 419"/>
                <a:gd name="T14" fmla="*/ 284 w 466"/>
                <a:gd name="T15" fmla="*/ 3 h 419"/>
                <a:gd name="T16" fmla="*/ 254 w 466"/>
                <a:gd name="T17" fmla="*/ 13 h 419"/>
                <a:gd name="T18" fmla="*/ 253 w 466"/>
                <a:gd name="T19" fmla="*/ 32 h 419"/>
                <a:gd name="T20" fmla="*/ 223 w 466"/>
                <a:gd name="T21" fmla="*/ 43 h 419"/>
                <a:gd name="T22" fmla="*/ 197 w 466"/>
                <a:gd name="T23" fmla="*/ 60 h 419"/>
                <a:gd name="T24" fmla="*/ 163 w 466"/>
                <a:gd name="T25" fmla="*/ 87 h 419"/>
                <a:gd name="T26" fmla="*/ 132 w 466"/>
                <a:gd name="T27" fmla="*/ 89 h 419"/>
                <a:gd name="T28" fmla="*/ 108 w 466"/>
                <a:gd name="T29" fmla="*/ 113 h 419"/>
                <a:gd name="T30" fmla="*/ 70 w 466"/>
                <a:gd name="T31" fmla="*/ 124 h 419"/>
                <a:gd name="T32" fmla="*/ 46 w 466"/>
                <a:gd name="T33" fmla="*/ 134 h 419"/>
                <a:gd name="T34" fmla="*/ 27 w 466"/>
                <a:gd name="T35" fmla="*/ 167 h 419"/>
                <a:gd name="T36" fmla="*/ 10 w 466"/>
                <a:gd name="T37" fmla="*/ 139 h 419"/>
                <a:gd name="T38" fmla="*/ 12 w 466"/>
                <a:gd name="T39" fmla="*/ 168 h 419"/>
                <a:gd name="T40" fmla="*/ 44 w 466"/>
                <a:gd name="T41" fmla="*/ 201 h 419"/>
                <a:gd name="T42" fmla="*/ 44 w 466"/>
                <a:gd name="T43" fmla="*/ 237 h 419"/>
                <a:gd name="T44" fmla="*/ 46 w 466"/>
                <a:gd name="T45" fmla="*/ 254 h 419"/>
                <a:gd name="T46" fmla="*/ 63 w 466"/>
                <a:gd name="T47" fmla="*/ 301 h 419"/>
                <a:gd name="T48" fmla="*/ 108 w 466"/>
                <a:gd name="T49" fmla="*/ 325 h 419"/>
                <a:gd name="T50" fmla="*/ 139 w 466"/>
                <a:gd name="T51" fmla="*/ 361 h 419"/>
                <a:gd name="T52" fmla="*/ 165 w 466"/>
                <a:gd name="T53" fmla="*/ 392 h 419"/>
                <a:gd name="T54" fmla="*/ 191 w 466"/>
                <a:gd name="T55" fmla="*/ 399 h 419"/>
                <a:gd name="T56" fmla="*/ 232 w 466"/>
                <a:gd name="T57" fmla="*/ 412 h 419"/>
                <a:gd name="T58" fmla="*/ 266 w 466"/>
                <a:gd name="T59" fmla="*/ 419 h 419"/>
                <a:gd name="T60" fmla="*/ 278 w 466"/>
                <a:gd name="T61" fmla="*/ 381 h 419"/>
                <a:gd name="T62" fmla="*/ 289 w 466"/>
                <a:gd name="T63" fmla="*/ 369 h 419"/>
                <a:gd name="T64" fmla="*/ 304 w 466"/>
                <a:gd name="T65" fmla="*/ 376 h 419"/>
                <a:gd name="T66" fmla="*/ 302 w 466"/>
                <a:gd name="T67" fmla="*/ 395 h 419"/>
                <a:gd name="T68" fmla="*/ 339 w 466"/>
                <a:gd name="T69" fmla="*/ 414 h 419"/>
                <a:gd name="T70" fmla="*/ 361 w 466"/>
                <a:gd name="T71" fmla="*/ 414 h 419"/>
                <a:gd name="T72" fmla="*/ 375 w 466"/>
                <a:gd name="T73" fmla="*/ 404 h 419"/>
                <a:gd name="T74" fmla="*/ 385 w 466"/>
                <a:gd name="T75" fmla="*/ 406 h 419"/>
                <a:gd name="T76" fmla="*/ 395 w 466"/>
                <a:gd name="T77" fmla="*/ 397 h 419"/>
                <a:gd name="T78" fmla="*/ 401 w 466"/>
                <a:gd name="T79" fmla="*/ 369 h 419"/>
                <a:gd name="T80" fmla="*/ 425 w 466"/>
                <a:gd name="T81" fmla="*/ 366 h 419"/>
                <a:gd name="T82" fmla="*/ 432 w 466"/>
                <a:gd name="T83" fmla="*/ 352 h 419"/>
                <a:gd name="T84" fmla="*/ 428 w 466"/>
                <a:gd name="T85" fmla="*/ 321 h 419"/>
                <a:gd name="T86" fmla="*/ 456 w 466"/>
                <a:gd name="T87" fmla="*/ 320 h 419"/>
                <a:gd name="T88" fmla="*/ 461 w 466"/>
                <a:gd name="T89" fmla="*/ 330 h 419"/>
                <a:gd name="T90" fmla="*/ 463 w 466"/>
                <a:gd name="T91" fmla="*/ 8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6" h="419">
                  <a:moveTo>
                    <a:pt x="463" y="89"/>
                  </a:moveTo>
                  <a:lnTo>
                    <a:pt x="459" y="70"/>
                  </a:lnTo>
                  <a:lnTo>
                    <a:pt x="447" y="72"/>
                  </a:lnTo>
                  <a:lnTo>
                    <a:pt x="438" y="56"/>
                  </a:lnTo>
                  <a:lnTo>
                    <a:pt x="426" y="62"/>
                  </a:lnTo>
                  <a:lnTo>
                    <a:pt x="395" y="48"/>
                  </a:lnTo>
                  <a:lnTo>
                    <a:pt x="389" y="55"/>
                  </a:lnTo>
                  <a:lnTo>
                    <a:pt x="382" y="36"/>
                  </a:lnTo>
                  <a:lnTo>
                    <a:pt x="376" y="22"/>
                  </a:lnTo>
                  <a:lnTo>
                    <a:pt x="373" y="12"/>
                  </a:lnTo>
                  <a:lnTo>
                    <a:pt x="363" y="12"/>
                  </a:lnTo>
                  <a:lnTo>
                    <a:pt x="349" y="8"/>
                  </a:lnTo>
                  <a:lnTo>
                    <a:pt x="344" y="17"/>
                  </a:lnTo>
                  <a:lnTo>
                    <a:pt x="347" y="29"/>
                  </a:lnTo>
                  <a:lnTo>
                    <a:pt x="344" y="41"/>
                  </a:lnTo>
                  <a:lnTo>
                    <a:pt x="332" y="34"/>
                  </a:lnTo>
                  <a:lnTo>
                    <a:pt x="332" y="34"/>
                  </a:lnTo>
                  <a:lnTo>
                    <a:pt x="320" y="44"/>
                  </a:lnTo>
                  <a:lnTo>
                    <a:pt x="306" y="44"/>
                  </a:lnTo>
                  <a:lnTo>
                    <a:pt x="297" y="36"/>
                  </a:lnTo>
                  <a:lnTo>
                    <a:pt x="302" y="24"/>
                  </a:lnTo>
                  <a:lnTo>
                    <a:pt x="292" y="27"/>
                  </a:lnTo>
                  <a:lnTo>
                    <a:pt x="296" y="15"/>
                  </a:lnTo>
                  <a:lnTo>
                    <a:pt x="284" y="3"/>
                  </a:lnTo>
                  <a:lnTo>
                    <a:pt x="277" y="8"/>
                  </a:lnTo>
                  <a:lnTo>
                    <a:pt x="263" y="0"/>
                  </a:lnTo>
                  <a:lnTo>
                    <a:pt x="254" y="13"/>
                  </a:lnTo>
                  <a:lnTo>
                    <a:pt x="270" y="22"/>
                  </a:lnTo>
                  <a:lnTo>
                    <a:pt x="270" y="31"/>
                  </a:lnTo>
                  <a:lnTo>
                    <a:pt x="253" y="32"/>
                  </a:lnTo>
                  <a:lnTo>
                    <a:pt x="249" y="39"/>
                  </a:lnTo>
                  <a:lnTo>
                    <a:pt x="235" y="46"/>
                  </a:lnTo>
                  <a:lnTo>
                    <a:pt x="223" y="43"/>
                  </a:lnTo>
                  <a:lnTo>
                    <a:pt x="215" y="51"/>
                  </a:lnTo>
                  <a:lnTo>
                    <a:pt x="208" y="65"/>
                  </a:lnTo>
                  <a:lnTo>
                    <a:pt x="197" y="60"/>
                  </a:lnTo>
                  <a:lnTo>
                    <a:pt x="168" y="67"/>
                  </a:lnTo>
                  <a:lnTo>
                    <a:pt x="168" y="81"/>
                  </a:lnTo>
                  <a:lnTo>
                    <a:pt x="163" y="87"/>
                  </a:lnTo>
                  <a:lnTo>
                    <a:pt x="149" y="75"/>
                  </a:lnTo>
                  <a:lnTo>
                    <a:pt x="144" y="91"/>
                  </a:lnTo>
                  <a:lnTo>
                    <a:pt x="132" y="89"/>
                  </a:lnTo>
                  <a:lnTo>
                    <a:pt x="129" y="103"/>
                  </a:lnTo>
                  <a:lnTo>
                    <a:pt x="108" y="103"/>
                  </a:lnTo>
                  <a:lnTo>
                    <a:pt x="108" y="113"/>
                  </a:lnTo>
                  <a:lnTo>
                    <a:pt x="99" y="122"/>
                  </a:lnTo>
                  <a:lnTo>
                    <a:pt x="87" y="113"/>
                  </a:lnTo>
                  <a:lnTo>
                    <a:pt x="70" y="124"/>
                  </a:lnTo>
                  <a:lnTo>
                    <a:pt x="60" y="122"/>
                  </a:lnTo>
                  <a:lnTo>
                    <a:pt x="49" y="124"/>
                  </a:lnTo>
                  <a:lnTo>
                    <a:pt x="46" y="134"/>
                  </a:lnTo>
                  <a:lnTo>
                    <a:pt x="37" y="139"/>
                  </a:lnTo>
                  <a:lnTo>
                    <a:pt x="24" y="151"/>
                  </a:lnTo>
                  <a:lnTo>
                    <a:pt x="27" y="167"/>
                  </a:lnTo>
                  <a:lnTo>
                    <a:pt x="18" y="163"/>
                  </a:lnTo>
                  <a:lnTo>
                    <a:pt x="18" y="149"/>
                  </a:lnTo>
                  <a:lnTo>
                    <a:pt x="10" y="139"/>
                  </a:lnTo>
                  <a:lnTo>
                    <a:pt x="0" y="141"/>
                  </a:lnTo>
                  <a:lnTo>
                    <a:pt x="0" y="151"/>
                  </a:lnTo>
                  <a:lnTo>
                    <a:pt x="12" y="168"/>
                  </a:lnTo>
                  <a:lnTo>
                    <a:pt x="12" y="179"/>
                  </a:lnTo>
                  <a:lnTo>
                    <a:pt x="20" y="187"/>
                  </a:lnTo>
                  <a:lnTo>
                    <a:pt x="44" y="201"/>
                  </a:lnTo>
                  <a:lnTo>
                    <a:pt x="44" y="208"/>
                  </a:lnTo>
                  <a:lnTo>
                    <a:pt x="51" y="216"/>
                  </a:lnTo>
                  <a:lnTo>
                    <a:pt x="44" y="237"/>
                  </a:lnTo>
                  <a:lnTo>
                    <a:pt x="36" y="244"/>
                  </a:lnTo>
                  <a:lnTo>
                    <a:pt x="39" y="253"/>
                  </a:lnTo>
                  <a:lnTo>
                    <a:pt x="46" y="254"/>
                  </a:lnTo>
                  <a:lnTo>
                    <a:pt x="56" y="282"/>
                  </a:lnTo>
                  <a:lnTo>
                    <a:pt x="63" y="287"/>
                  </a:lnTo>
                  <a:lnTo>
                    <a:pt x="63" y="301"/>
                  </a:lnTo>
                  <a:lnTo>
                    <a:pt x="80" y="316"/>
                  </a:lnTo>
                  <a:lnTo>
                    <a:pt x="99" y="320"/>
                  </a:lnTo>
                  <a:lnTo>
                    <a:pt x="108" y="325"/>
                  </a:lnTo>
                  <a:lnTo>
                    <a:pt x="108" y="335"/>
                  </a:lnTo>
                  <a:lnTo>
                    <a:pt x="130" y="357"/>
                  </a:lnTo>
                  <a:lnTo>
                    <a:pt x="139" y="361"/>
                  </a:lnTo>
                  <a:lnTo>
                    <a:pt x="153" y="371"/>
                  </a:lnTo>
                  <a:lnTo>
                    <a:pt x="154" y="381"/>
                  </a:lnTo>
                  <a:lnTo>
                    <a:pt x="165" y="392"/>
                  </a:lnTo>
                  <a:lnTo>
                    <a:pt x="175" y="387"/>
                  </a:lnTo>
                  <a:lnTo>
                    <a:pt x="184" y="400"/>
                  </a:lnTo>
                  <a:lnTo>
                    <a:pt x="191" y="399"/>
                  </a:lnTo>
                  <a:lnTo>
                    <a:pt x="199" y="414"/>
                  </a:lnTo>
                  <a:lnTo>
                    <a:pt x="225" y="412"/>
                  </a:lnTo>
                  <a:lnTo>
                    <a:pt x="232" y="412"/>
                  </a:lnTo>
                  <a:lnTo>
                    <a:pt x="235" y="414"/>
                  </a:lnTo>
                  <a:lnTo>
                    <a:pt x="261" y="419"/>
                  </a:lnTo>
                  <a:lnTo>
                    <a:pt x="266" y="419"/>
                  </a:lnTo>
                  <a:lnTo>
                    <a:pt x="273" y="402"/>
                  </a:lnTo>
                  <a:lnTo>
                    <a:pt x="277" y="392"/>
                  </a:lnTo>
                  <a:lnTo>
                    <a:pt x="278" y="381"/>
                  </a:lnTo>
                  <a:lnTo>
                    <a:pt x="275" y="369"/>
                  </a:lnTo>
                  <a:lnTo>
                    <a:pt x="277" y="368"/>
                  </a:lnTo>
                  <a:lnTo>
                    <a:pt x="289" y="369"/>
                  </a:lnTo>
                  <a:lnTo>
                    <a:pt x="292" y="369"/>
                  </a:lnTo>
                  <a:lnTo>
                    <a:pt x="297" y="371"/>
                  </a:lnTo>
                  <a:lnTo>
                    <a:pt x="304" y="376"/>
                  </a:lnTo>
                  <a:lnTo>
                    <a:pt x="308" y="383"/>
                  </a:lnTo>
                  <a:lnTo>
                    <a:pt x="304" y="390"/>
                  </a:lnTo>
                  <a:lnTo>
                    <a:pt x="302" y="395"/>
                  </a:lnTo>
                  <a:lnTo>
                    <a:pt x="316" y="399"/>
                  </a:lnTo>
                  <a:lnTo>
                    <a:pt x="325" y="407"/>
                  </a:lnTo>
                  <a:lnTo>
                    <a:pt x="339" y="414"/>
                  </a:lnTo>
                  <a:lnTo>
                    <a:pt x="347" y="416"/>
                  </a:lnTo>
                  <a:lnTo>
                    <a:pt x="359" y="416"/>
                  </a:lnTo>
                  <a:lnTo>
                    <a:pt x="361" y="414"/>
                  </a:lnTo>
                  <a:lnTo>
                    <a:pt x="368" y="407"/>
                  </a:lnTo>
                  <a:lnTo>
                    <a:pt x="371" y="404"/>
                  </a:lnTo>
                  <a:lnTo>
                    <a:pt x="375" y="404"/>
                  </a:lnTo>
                  <a:lnTo>
                    <a:pt x="378" y="404"/>
                  </a:lnTo>
                  <a:lnTo>
                    <a:pt x="382" y="404"/>
                  </a:lnTo>
                  <a:lnTo>
                    <a:pt x="385" y="406"/>
                  </a:lnTo>
                  <a:lnTo>
                    <a:pt x="390" y="402"/>
                  </a:lnTo>
                  <a:lnTo>
                    <a:pt x="394" y="402"/>
                  </a:lnTo>
                  <a:lnTo>
                    <a:pt x="395" y="397"/>
                  </a:lnTo>
                  <a:lnTo>
                    <a:pt x="394" y="387"/>
                  </a:lnTo>
                  <a:lnTo>
                    <a:pt x="397" y="378"/>
                  </a:lnTo>
                  <a:lnTo>
                    <a:pt x="401" y="369"/>
                  </a:lnTo>
                  <a:lnTo>
                    <a:pt x="404" y="368"/>
                  </a:lnTo>
                  <a:lnTo>
                    <a:pt x="420" y="366"/>
                  </a:lnTo>
                  <a:lnTo>
                    <a:pt x="425" y="366"/>
                  </a:lnTo>
                  <a:lnTo>
                    <a:pt x="428" y="364"/>
                  </a:lnTo>
                  <a:lnTo>
                    <a:pt x="430" y="361"/>
                  </a:lnTo>
                  <a:lnTo>
                    <a:pt x="432" y="352"/>
                  </a:lnTo>
                  <a:lnTo>
                    <a:pt x="432" y="345"/>
                  </a:lnTo>
                  <a:lnTo>
                    <a:pt x="428" y="328"/>
                  </a:lnTo>
                  <a:lnTo>
                    <a:pt x="428" y="321"/>
                  </a:lnTo>
                  <a:lnTo>
                    <a:pt x="428" y="316"/>
                  </a:lnTo>
                  <a:lnTo>
                    <a:pt x="432" y="316"/>
                  </a:lnTo>
                  <a:lnTo>
                    <a:pt x="456" y="320"/>
                  </a:lnTo>
                  <a:lnTo>
                    <a:pt x="456" y="325"/>
                  </a:lnTo>
                  <a:lnTo>
                    <a:pt x="459" y="328"/>
                  </a:lnTo>
                  <a:lnTo>
                    <a:pt x="461" y="330"/>
                  </a:lnTo>
                  <a:lnTo>
                    <a:pt x="466" y="328"/>
                  </a:lnTo>
                  <a:lnTo>
                    <a:pt x="466" y="86"/>
                  </a:lnTo>
                  <a:lnTo>
                    <a:pt x="463" y="8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6" name="Freeform 797">
              <a:extLst>
                <a:ext uri="{FF2B5EF4-FFF2-40B4-BE49-F238E27FC236}">
                  <a16:creationId xmlns:a16="http://schemas.microsoft.com/office/drawing/2014/main" id="{DD8845E1-5EE1-4BA0-9BB3-3C8950795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9838" y="4972051"/>
              <a:ext cx="41275" cy="52388"/>
            </a:xfrm>
            <a:custGeom>
              <a:avLst/>
              <a:gdLst>
                <a:gd name="T0" fmla="*/ 26 w 26"/>
                <a:gd name="T1" fmla="*/ 33 h 33"/>
                <a:gd name="T2" fmla="*/ 26 w 26"/>
                <a:gd name="T3" fmla="*/ 33 h 33"/>
                <a:gd name="T4" fmla="*/ 0 w 26"/>
                <a:gd name="T5" fmla="*/ 19 h 33"/>
                <a:gd name="T6" fmla="*/ 2 w 26"/>
                <a:gd name="T7" fmla="*/ 0 h 33"/>
                <a:gd name="T8" fmla="*/ 0 w 26"/>
                <a:gd name="T9" fmla="*/ 19 h 33"/>
                <a:gd name="T10" fmla="*/ 26 w 26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33">
                  <a:moveTo>
                    <a:pt x="26" y="33"/>
                  </a:moveTo>
                  <a:lnTo>
                    <a:pt x="26" y="33"/>
                  </a:lnTo>
                  <a:lnTo>
                    <a:pt x="0" y="19"/>
                  </a:lnTo>
                  <a:lnTo>
                    <a:pt x="2" y="0"/>
                  </a:lnTo>
                  <a:lnTo>
                    <a:pt x="0" y="19"/>
                  </a:lnTo>
                  <a:lnTo>
                    <a:pt x="26" y="3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7" name="Freeform 798">
              <a:extLst>
                <a:ext uri="{FF2B5EF4-FFF2-40B4-BE49-F238E27FC236}">
                  <a16:creationId xmlns:a16="http://schemas.microsoft.com/office/drawing/2014/main" id="{39CAFFA2-C53B-4BBD-87F3-CDEB1DF05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8713" y="4129088"/>
              <a:ext cx="357188" cy="1157288"/>
            </a:xfrm>
            <a:custGeom>
              <a:avLst/>
              <a:gdLst>
                <a:gd name="T0" fmla="*/ 187 w 225"/>
                <a:gd name="T1" fmla="*/ 24 h 729"/>
                <a:gd name="T2" fmla="*/ 101 w 225"/>
                <a:gd name="T3" fmla="*/ 50 h 729"/>
                <a:gd name="T4" fmla="*/ 46 w 225"/>
                <a:gd name="T5" fmla="*/ 74 h 729"/>
                <a:gd name="T6" fmla="*/ 10 w 225"/>
                <a:gd name="T7" fmla="*/ 81 h 729"/>
                <a:gd name="T8" fmla="*/ 5 w 225"/>
                <a:gd name="T9" fmla="*/ 93 h 729"/>
                <a:gd name="T10" fmla="*/ 32 w 225"/>
                <a:gd name="T11" fmla="*/ 98 h 729"/>
                <a:gd name="T12" fmla="*/ 58 w 225"/>
                <a:gd name="T13" fmla="*/ 100 h 729"/>
                <a:gd name="T14" fmla="*/ 49 w 225"/>
                <a:gd name="T15" fmla="*/ 117 h 729"/>
                <a:gd name="T16" fmla="*/ 58 w 225"/>
                <a:gd name="T17" fmla="*/ 139 h 729"/>
                <a:gd name="T18" fmla="*/ 41 w 225"/>
                <a:gd name="T19" fmla="*/ 134 h 729"/>
                <a:gd name="T20" fmla="*/ 27 w 225"/>
                <a:gd name="T21" fmla="*/ 120 h 729"/>
                <a:gd name="T22" fmla="*/ 15 w 225"/>
                <a:gd name="T23" fmla="*/ 115 h 729"/>
                <a:gd name="T24" fmla="*/ 13 w 225"/>
                <a:gd name="T25" fmla="*/ 137 h 729"/>
                <a:gd name="T26" fmla="*/ 24 w 225"/>
                <a:gd name="T27" fmla="*/ 256 h 729"/>
                <a:gd name="T28" fmla="*/ 0 w 225"/>
                <a:gd name="T29" fmla="*/ 275 h 729"/>
                <a:gd name="T30" fmla="*/ 0 w 225"/>
                <a:gd name="T31" fmla="*/ 299 h 729"/>
                <a:gd name="T32" fmla="*/ 55 w 225"/>
                <a:gd name="T33" fmla="*/ 344 h 729"/>
                <a:gd name="T34" fmla="*/ 56 w 225"/>
                <a:gd name="T35" fmla="*/ 346 h 729"/>
                <a:gd name="T36" fmla="*/ 56 w 225"/>
                <a:gd name="T37" fmla="*/ 366 h 729"/>
                <a:gd name="T38" fmla="*/ 49 w 225"/>
                <a:gd name="T39" fmla="*/ 385 h 729"/>
                <a:gd name="T40" fmla="*/ 56 w 225"/>
                <a:gd name="T41" fmla="*/ 409 h 729"/>
                <a:gd name="T42" fmla="*/ 67 w 225"/>
                <a:gd name="T43" fmla="*/ 442 h 729"/>
                <a:gd name="T44" fmla="*/ 74 w 225"/>
                <a:gd name="T45" fmla="*/ 447 h 729"/>
                <a:gd name="T46" fmla="*/ 53 w 225"/>
                <a:gd name="T47" fmla="*/ 487 h 729"/>
                <a:gd name="T48" fmla="*/ 68 w 225"/>
                <a:gd name="T49" fmla="*/ 519 h 729"/>
                <a:gd name="T50" fmla="*/ 72 w 225"/>
                <a:gd name="T51" fmla="*/ 531 h 729"/>
                <a:gd name="T52" fmla="*/ 96 w 225"/>
                <a:gd name="T53" fmla="*/ 564 h 729"/>
                <a:gd name="T54" fmla="*/ 96 w 225"/>
                <a:gd name="T55" fmla="*/ 564 h 729"/>
                <a:gd name="T56" fmla="*/ 108 w 225"/>
                <a:gd name="T57" fmla="*/ 600 h 729"/>
                <a:gd name="T58" fmla="*/ 89 w 225"/>
                <a:gd name="T59" fmla="*/ 659 h 729"/>
                <a:gd name="T60" fmla="*/ 91 w 225"/>
                <a:gd name="T61" fmla="*/ 674 h 729"/>
                <a:gd name="T62" fmla="*/ 103 w 225"/>
                <a:gd name="T63" fmla="*/ 681 h 729"/>
                <a:gd name="T64" fmla="*/ 103 w 225"/>
                <a:gd name="T65" fmla="*/ 657 h 729"/>
                <a:gd name="T66" fmla="*/ 122 w 225"/>
                <a:gd name="T67" fmla="*/ 652 h 729"/>
                <a:gd name="T68" fmla="*/ 135 w 225"/>
                <a:gd name="T69" fmla="*/ 662 h 729"/>
                <a:gd name="T70" fmla="*/ 148 w 225"/>
                <a:gd name="T71" fmla="*/ 695 h 729"/>
                <a:gd name="T72" fmla="*/ 185 w 225"/>
                <a:gd name="T73" fmla="*/ 702 h 729"/>
                <a:gd name="T74" fmla="*/ 206 w 225"/>
                <a:gd name="T75" fmla="*/ 712 h 729"/>
                <a:gd name="T76" fmla="*/ 222 w 225"/>
                <a:gd name="T77" fmla="*/ 729 h 729"/>
                <a:gd name="T78" fmla="*/ 225 w 225"/>
                <a:gd name="T79" fmla="*/ 0 h 729"/>
                <a:gd name="T80" fmla="*/ 211 w 225"/>
                <a:gd name="T81" fmla="*/ 14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25" h="729">
                  <a:moveTo>
                    <a:pt x="211" y="14"/>
                  </a:moveTo>
                  <a:lnTo>
                    <a:pt x="187" y="24"/>
                  </a:lnTo>
                  <a:lnTo>
                    <a:pt x="146" y="34"/>
                  </a:lnTo>
                  <a:lnTo>
                    <a:pt x="101" y="50"/>
                  </a:lnTo>
                  <a:lnTo>
                    <a:pt x="68" y="64"/>
                  </a:lnTo>
                  <a:lnTo>
                    <a:pt x="46" y="74"/>
                  </a:lnTo>
                  <a:lnTo>
                    <a:pt x="27" y="86"/>
                  </a:lnTo>
                  <a:lnTo>
                    <a:pt x="10" y="81"/>
                  </a:lnTo>
                  <a:lnTo>
                    <a:pt x="8" y="84"/>
                  </a:lnTo>
                  <a:lnTo>
                    <a:pt x="5" y="93"/>
                  </a:lnTo>
                  <a:lnTo>
                    <a:pt x="22" y="103"/>
                  </a:lnTo>
                  <a:lnTo>
                    <a:pt x="32" y="98"/>
                  </a:lnTo>
                  <a:lnTo>
                    <a:pt x="46" y="98"/>
                  </a:lnTo>
                  <a:lnTo>
                    <a:pt x="58" y="100"/>
                  </a:lnTo>
                  <a:lnTo>
                    <a:pt x="56" y="113"/>
                  </a:lnTo>
                  <a:lnTo>
                    <a:pt x="49" y="117"/>
                  </a:lnTo>
                  <a:lnTo>
                    <a:pt x="48" y="132"/>
                  </a:lnTo>
                  <a:lnTo>
                    <a:pt x="58" y="139"/>
                  </a:lnTo>
                  <a:lnTo>
                    <a:pt x="49" y="143"/>
                  </a:lnTo>
                  <a:lnTo>
                    <a:pt x="41" y="134"/>
                  </a:lnTo>
                  <a:lnTo>
                    <a:pt x="32" y="134"/>
                  </a:lnTo>
                  <a:lnTo>
                    <a:pt x="27" y="120"/>
                  </a:lnTo>
                  <a:lnTo>
                    <a:pt x="15" y="115"/>
                  </a:lnTo>
                  <a:lnTo>
                    <a:pt x="15" y="115"/>
                  </a:lnTo>
                  <a:lnTo>
                    <a:pt x="15" y="115"/>
                  </a:lnTo>
                  <a:lnTo>
                    <a:pt x="13" y="137"/>
                  </a:lnTo>
                  <a:lnTo>
                    <a:pt x="37" y="210"/>
                  </a:lnTo>
                  <a:lnTo>
                    <a:pt x="24" y="256"/>
                  </a:lnTo>
                  <a:lnTo>
                    <a:pt x="8" y="268"/>
                  </a:lnTo>
                  <a:lnTo>
                    <a:pt x="0" y="275"/>
                  </a:lnTo>
                  <a:lnTo>
                    <a:pt x="0" y="280"/>
                  </a:lnTo>
                  <a:lnTo>
                    <a:pt x="0" y="299"/>
                  </a:lnTo>
                  <a:lnTo>
                    <a:pt x="8" y="301"/>
                  </a:lnTo>
                  <a:lnTo>
                    <a:pt x="55" y="344"/>
                  </a:lnTo>
                  <a:lnTo>
                    <a:pt x="56" y="346"/>
                  </a:lnTo>
                  <a:lnTo>
                    <a:pt x="56" y="346"/>
                  </a:lnTo>
                  <a:lnTo>
                    <a:pt x="56" y="346"/>
                  </a:lnTo>
                  <a:lnTo>
                    <a:pt x="56" y="366"/>
                  </a:lnTo>
                  <a:lnTo>
                    <a:pt x="49" y="378"/>
                  </a:lnTo>
                  <a:lnTo>
                    <a:pt x="49" y="385"/>
                  </a:lnTo>
                  <a:lnTo>
                    <a:pt x="51" y="404"/>
                  </a:lnTo>
                  <a:lnTo>
                    <a:pt x="56" y="409"/>
                  </a:lnTo>
                  <a:lnTo>
                    <a:pt x="65" y="414"/>
                  </a:lnTo>
                  <a:lnTo>
                    <a:pt x="67" y="442"/>
                  </a:lnTo>
                  <a:lnTo>
                    <a:pt x="68" y="444"/>
                  </a:lnTo>
                  <a:lnTo>
                    <a:pt x="74" y="447"/>
                  </a:lnTo>
                  <a:lnTo>
                    <a:pt x="68" y="471"/>
                  </a:lnTo>
                  <a:lnTo>
                    <a:pt x="53" y="487"/>
                  </a:lnTo>
                  <a:lnTo>
                    <a:pt x="53" y="499"/>
                  </a:lnTo>
                  <a:lnTo>
                    <a:pt x="68" y="519"/>
                  </a:lnTo>
                  <a:lnTo>
                    <a:pt x="74" y="526"/>
                  </a:lnTo>
                  <a:lnTo>
                    <a:pt x="72" y="531"/>
                  </a:lnTo>
                  <a:lnTo>
                    <a:pt x="70" y="550"/>
                  </a:lnTo>
                  <a:lnTo>
                    <a:pt x="96" y="564"/>
                  </a:lnTo>
                  <a:lnTo>
                    <a:pt x="96" y="564"/>
                  </a:lnTo>
                  <a:lnTo>
                    <a:pt x="96" y="564"/>
                  </a:lnTo>
                  <a:lnTo>
                    <a:pt x="98" y="586"/>
                  </a:lnTo>
                  <a:lnTo>
                    <a:pt x="108" y="600"/>
                  </a:lnTo>
                  <a:lnTo>
                    <a:pt x="101" y="640"/>
                  </a:lnTo>
                  <a:lnTo>
                    <a:pt x="89" y="659"/>
                  </a:lnTo>
                  <a:lnTo>
                    <a:pt x="91" y="674"/>
                  </a:lnTo>
                  <a:lnTo>
                    <a:pt x="91" y="674"/>
                  </a:lnTo>
                  <a:lnTo>
                    <a:pt x="91" y="674"/>
                  </a:lnTo>
                  <a:lnTo>
                    <a:pt x="103" y="681"/>
                  </a:lnTo>
                  <a:lnTo>
                    <a:pt x="106" y="669"/>
                  </a:lnTo>
                  <a:lnTo>
                    <a:pt x="103" y="657"/>
                  </a:lnTo>
                  <a:lnTo>
                    <a:pt x="108" y="648"/>
                  </a:lnTo>
                  <a:lnTo>
                    <a:pt x="122" y="652"/>
                  </a:lnTo>
                  <a:lnTo>
                    <a:pt x="132" y="652"/>
                  </a:lnTo>
                  <a:lnTo>
                    <a:pt x="135" y="662"/>
                  </a:lnTo>
                  <a:lnTo>
                    <a:pt x="141" y="676"/>
                  </a:lnTo>
                  <a:lnTo>
                    <a:pt x="148" y="695"/>
                  </a:lnTo>
                  <a:lnTo>
                    <a:pt x="154" y="688"/>
                  </a:lnTo>
                  <a:lnTo>
                    <a:pt x="185" y="702"/>
                  </a:lnTo>
                  <a:lnTo>
                    <a:pt x="197" y="696"/>
                  </a:lnTo>
                  <a:lnTo>
                    <a:pt x="206" y="712"/>
                  </a:lnTo>
                  <a:lnTo>
                    <a:pt x="218" y="710"/>
                  </a:lnTo>
                  <a:lnTo>
                    <a:pt x="222" y="729"/>
                  </a:lnTo>
                  <a:lnTo>
                    <a:pt x="225" y="726"/>
                  </a:lnTo>
                  <a:lnTo>
                    <a:pt x="225" y="0"/>
                  </a:lnTo>
                  <a:lnTo>
                    <a:pt x="223" y="0"/>
                  </a:lnTo>
                  <a:lnTo>
                    <a:pt x="211" y="1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8" name="Freeform 799">
              <a:extLst>
                <a:ext uri="{FF2B5EF4-FFF2-40B4-BE49-F238E27FC236}">
                  <a16:creationId xmlns:a16="http://schemas.microsoft.com/office/drawing/2014/main" id="{69EC37F8-28EA-4802-B15B-40C01574E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7313" y="6130926"/>
              <a:ext cx="0" cy="15875"/>
            </a:xfrm>
            <a:custGeom>
              <a:avLst/>
              <a:gdLst>
                <a:gd name="T0" fmla="*/ 10 h 10"/>
                <a:gd name="T1" fmla="*/ 10 h 10"/>
                <a:gd name="T2" fmla="*/ 0 h 10"/>
                <a:gd name="T3" fmla="*/ 0 h 10"/>
                <a:gd name="T4" fmla="*/ 10 h 10"/>
                <a:gd name="T5" fmla="*/ 10 h 1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10">
                  <a:moveTo>
                    <a:pt x="0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69" name="Rectangle 800">
              <a:extLst>
                <a:ext uri="{FF2B5EF4-FFF2-40B4-BE49-F238E27FC236}">
                  <a16:creationId xmlns:a16="http://schemas.microsoft.com/office/drawing/2014/main" id="{8A534129-F55C-41DA-B037-E26272978F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4300" y="6121401"/>
              <a:ext cx="1588" cy="1588"/>
            </a:xfrm>
            <a:prstGeom prst="rect">
              <a:avLst/>
            </a:prstGeom>
            <a:grpFill/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0" name="Rectangle 801">
              <a:extLst>
                <a:ext uri="{FF2B5EF4-FFF2-40B4-BE49-F238E27FC236}">
                  <a16:creationId xmlns:a16="http://schemas.microsoft.com/office/drawing/2014/main" id="{A4A018C5-D9EB-43E5-A7BD-8E75ABCA06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4300" y="6121401"/>
              <a:ext cx="1588" cy="1588"/>
            </a:xfrm>
            <a:prstGeom prst="rect">
              <a:avLst/>
            </a:prstGeom>
            <a:grpFill/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1" name="Freeform 802">
              <a:extLst>
                <a:ext uri="{FF2B5EF4-FFF2-40B4-BE49-F238E27FC236}">
                  <a16:creationId xmlns:a16="http://schemas.microsoft.com/office/drawing/2014/main" id="{9448C061-800E-47C7-9873-8468117C47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9788" y="3938588"/>
              <a:ext cx="1730375" cy="2295525"/>
            </a:xfrm>
            <a:custGeom>
              <a:avLst/>
              <a:gdLst>
                <a:gd name="T0" fmla="*/ 849 w 1090"/>
                <a:gd name="T1" fmla="*/ 1085 h 1446"/>
                <a:gd name="T2" fmla="*/ 785 w 1090"/>
                <a:gd name="T3" fmla="*/ 997 h 1446"/>
                <a:gd name="T4" fmla="*/ 751 w 1090"/>
                <a:gd name="T5" fmla="*/ 899 h 1446"/>
                <a:gd name="T6" fmla="*/ 811 w 1090"/>
                <a:gd name="T7" fmla="*/ 884 h 1446"/>
                <a:gd name="T8" fmla="*/ 904 w 1090"/>
                <a:gd name="T9" fmla="*/ 847 h 1446"/>
                <a:gd name="T10" fmla="*/ 994 w 1090"/>
                <a:gd name="T11" fmla="*/ 792 h 1446"/>
                <a:gd name="T12" fmla="*/ 1043 w 1090"/>
                <a:gd name="T13" fmla="*/ 784 h 1446"/>
                <a:gd name="T14" fmla="*/ 1078 w 1090"/>
                <a:gd name="T15" fmla="*/ 684 h 1446"/>
                <a:gd name="T16" fmla="*/ 1050 w 1090"/>
                <a:gd name="T17" fmla="*/ 564 h 1446"/>
                <a:gd name="T18" fmla="*/ 1038 w 1090"/>
                <a:gd name="T19" fmla="*/ 486 h 1446"/>
                <a:gd name="T20" fmla="*/ 982 w 1090"/>
                <a:gd name="T21" fmla="*/ 395 h 1446"/>
                <a:gd name="T22" fmla="*/ 947 w 1090"/>
                <a:gd name="T23" fmla="*/ 220 h 1446"/>
                <a:gd name="T24" fmla="*/ 937 w 1090"/>
                <a:gd name="T25" fmla="*/ 184 h 1446"/>
                <a:gd name="T26" fmla="*/ 858 w 1090"/>
                <a:gd name="T27" fmla="*/ 120 h 1446"/>
                <a:gd name="T28" fmla="*/ 770 w 1090"/>
                <a:gd name="T29" fmla="*/ 132 h 1446"/>
                <a:gd name="T30" fmla="*/ 675 w 1090"/>
                <a:gd name="T31" fmla="*/ 184 h 1446"/>
                <a:gd name="T32" fmla="*/ 582 w 1090"/>
                <a:gd name="T33" fmla="*/ 178 h 1446"/>
                <a:gd name="T34" fmla="*/ 615 w 1090"/>
                <a:gd name="T35" fmla="*/ 79 h 1446"/>
                <a:gd name="T36" fmla="*/ 529 w 1090"/>
                <a:gd name="T37" fmla="*/ 98 h 1446"/>
                <a:gd name="T38" fmla="*/ 484 w 1090"/>
                <a:gd name="T39" fmla="*/ 27 h 1446"/>
                <a:gd name="T40" fmla="*/ 403 w 1090"/>
                <a:gd name="T41" fmla="*/ 24 h 1446"/>
                <a:gd name="T42" fmla="*/ 326 w 1090"/>
                <a:gd name="T43" fmla="*/ 17 h 1446"/>
                <a:gd name="T44" fmla="*/ 353 w 1090"/>
                <a:gd name="T45" fmla="*/ 106 h 1446"/>
                <a:gd name="T46" fmla="*/ 353 w 1090"/>
                <a:gd name="T47" fmla="*/ 161 h 1446"/>
                <a:gd name="T48" fmla="*/ 415 w 1090"/>
                <a:gd name="T49" fmla="*/ 221 h 1446"/>
                <a:gd name="T50" fmla="*/ 415 w 1090"/>
                <a:gd name="T51" fmla="*/ 232 h 1446"/>
                <a:gd name="T52" fmla="*/ 321 w 1090"/>
                <a:gd name="T53" fmla="*/ 283 h 1446"/>
                <a:gd name="T54" fmla="*/ 274 w 1090"/>
                <a:gd name="T55" fmla="*/ 278 h 1446"/>
                <a:gd name="T56" fmla="*/ 142 w 1090"/>
                <a:gd name="T57" fmla="*/ 273 h 1446"/>
                <a:gd name="T58" fmla="*/ 159 w 1090"/>
                <a:gd name="T59" fmla="*/ 386 h 1446"/>
                <a:gd name="T60" fmla="*/ 104 w 1090"/>
                <a:gd name="T61" fmla="*/ 472 h 1446"/>
                <a:gd name="T62" fmla="*/ 138 w 1090"/>
                <a:gd name="T63" fmla="*/ 505 h 1446"/>
                <a:gd name="T64" fmla="*/ 104 w 1090"/>
                <a:gd name="T65" fmla="*/ 576 h 1446"/>
                <a:gd name="T66" fmla="*/ 31 w 1090"/>
                <a:gd name="T67" fmla="*/ 598 h 1446"/>
                <a:gd name="T68" fmla="*/ 19 w 1090"/>
                <a:gd name="T69" fmla="*/ 644 h 1446"/>
                <a:gd name="T70" fmla="*/ 33 w 1090"/>
                <a:gd name="T71" fmla="*/ 744 h 1446"/>
                <a:gd name="T72" fmla="*/ 19 w 1090"/>
                <a:gd name="T73" fmla="*/ 818 h 1446"/>
                <a:gd name="T74" fmla="*/ 38 w 1090"/>
                <a:gd name="T75" fmla="*/ 863 h 1446"/>
                <a:gd name="T76" fmla="*/ 47 w 1090"/>
                <a:gd name="T77" fmla="*/ 909 h 1446"/>
                <a:gd name="T78" fmla="*/ 71 w 1090"/>
                <a:gd name="T79" fmla="*/ 1013 h 1446"/>
                <a:gd name="T80" fmla="*/ 93 w 1090"/>
                <a:gd name="T81" fmla="*/ 1090 h 1446"/>
                <a:gd name="T82" fmla="*/ 114 w 1090"/>
                <a:gd name="T83" fmla="*/ 1104 h 1446"/>
                <a:gd name="T84" fmla="*/ 169 w 1090"/>
                <a:gd name="T85" fmla="*/ 1121 h 1446"/>
                <a:gd name="T86" fmla="*/ 228 w 1090"/>
                <a:gd name="T87" fmla="*/ 1129 h 1446"/>
                <a:gd name="T88" fmla="*/ 228 w 1090"/>
                <a:gd name="T89" fmla="*/ 1215 h 1446"/>
                <a:gd name="T90" fmla="*/ 204 w 1090"/>
                <a:gd name="T91" fmla="*/ 1393 h 1446"/>
                <a:gd name="T92" fmla="*/ 283 w 1090"/>
                <a:gd name="T93" fmla="*/ 1389 h 1446"/>
                <a:gd name="T94" fmla="*/ 310 w 1090"/>
                <a:gd name="T95" fmla="*/ 1362 h 1446"/>
                <a:gd name="T96" fmla="*/ 343 w 1090"/>
                <a:gd name="T97" fmla="*/ 1375 h 1446"/>
                <a:gd name="T98" fmla="*/ 445 w 1090"/>
                <a:gd name="T99" fmla="*/ 1401 h 1446"/>
                <a:gd name="T100" fmla="*/ 515 w 1090"/>
                <a:gd name="T101" fmla="*/ 1436 h 1446"/>
                <a:gd name="T102" fmla="*/ 575 w 1090"/>
                <a:gd name="T103" fmla="*/ 1401 h 1446"/>
                <a:gd name="T104" fmla="*/ 687 w 1090"/>
                <a:gd name="T105" fmla="*/ 1393 h 1446"/>
                <a:gd name="T106" fmla="*/ 803 w 1090"/>
                <a:gd name="T107" fmla="*/ 1379 h 1446"/>
                <a:gd name="T108" fmla="*/ 846 w 1090"/>
                <a:gd name="T109" fmla="*/ 1348 h 1446"/>
                <a:gd name="T110" fmla="*/ 913 w 1090"/>
                <a:gd name="T111" fmla="*/ 1215 h 1446"/>
                <a:gd name="T112" fmla="*/ 264 w 1090"/>
                <a:gd name="T113" fmla="*/ 1394 h 1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90" h="1446">
                  <a:moveTo>
                    <a:pt x="925" y="1160"/>
                  </a:moveTo>
                  <a:lnTo>
                    <a:pt x="916" y="1147"/>
                  </a:lnTo>
                  <a:lnTo>
                    <a:pt x="906" y="1152"/>
                  </a:lnTo>
                  <a:lnTo>
                    <a:pt x="895" y="1141"/>
                  </a:lnTo>
                  <a:lnTo>
                    <a:pt x="894" y="1131"/>
                  </a:lnTo>
                  <a:lnTo>
                    <a:pt x="880" y="1121"/>
                  </a:lnTo>
                  <a:lnTo>
                    <a:pt x="871" y="1117"/>
                  </a:lnTo>
                  <a:lnTo>
                    <a:pt x="849" y="1095"/>
                  </a:lnTo>
                  <a:lnTo>
                    <a:pt x="849" y="1085"/>
                  </a:lnTo>
                  <a:lnTo>
                    <a:pt x="840" y="1080"/>
                  </a:lnTo>
                  <a:lnTo>
                    <a:pt x="821" y="1076"/>
                  </a:lnTo>
                  <a:lnTo>
                    <a:pt x="804" y="1061"/>
                  </a:lnTo>
                  <a:lnTo>
                    <a:pt x="804" y="1047"/>
                  </a:lnTo>
                  <a:lnTo>
                    <a:pt x="797" y="1042"/>
                  </a:lnTo>
                  <a:lnTo>
                    <a:pt x="787" y="1014"/>
                  </a:lnTo>
                  <a:lnTo>
                    <a:pt x="780" y="1013"/>
                  </a:lnTo>
                  <a:lnTo>
                    <a:pt x="777" y="1004"/>
                  </a:lnTo>
                  <a:lnTo>
                    <a:pt x="785" y="997"/>
                  </a:lnTo>
                  <a:lnTo>
                    <a:pt x="792" y="976"/>
                  </a:lnTo>
                  <a:lnTo>
                    <a:pt x="785" y="968"/>
                  </a:lnTo>
                  <a:lnTo>
                    <a:pt x="785" y="961"/>
                  </a:lnTo>
                  <a:lnTo>
                    <a:pt x="761" y="947"/>
                  </a:lnTo>
                  <a:lnTo>
                    <a:pt x="753" y="939"/>
                  </a:lnTo>
                  <a:lnTo>
                    <a:pt x="753" y="928"/>
                  </a:lnTo>
                  <a:lnTo>
                    <a:pt x="741" y="911"/>
                  </a:lnTo>
                  <a:lnTo>
                    <a:pt x="741" y="901"/>
                  </a:lnTo>
                  <a:lnTo>
                    <a:pt x="751" y="899"/>
                  </a:lnTo>
                  <a:lnTo>
                    <a:pt x="759" y="909"/>
                  </a:lnTo>
                  <a:lnTo>
                    <a:pt x="759" y="923"/>
                  </a:lnTo>
                  <a:lnTo>
                    <a:pt x="768" y="927"/>
                  </a:lnTo>
                  <a:lnTo>
                    <a:pt x="765" y="911"/>
                  </a:lnTo>
                  <a:lnTo>
                    <a:pt x="778" y="899"/>
                  </a:lnTo>
                  <a:lnTo>
                    <a:pt x="787" y="894"/>
                  </a:lnTo>
                  <a:lnTo>
                    <a:pt x="790" y="884"/>
                  </a:lnTo>
                  <a:lnTo>
                    <a:pt x="801" y="882"/>
                  </a:lnTo>
                  <a:lnTo>
                    <a:pt x="811" y="884"/>
                  </a:lnTo>
                  <a:lnTo>
                    <a:pt x="828" y="873"/>
                  </a:lnTo>
                  <a:lnTo>
                    <a:pt x="840" y="882"/>
                  </a:lnTo>
                  <a:lnTo>
                    <a:pt x="849" y="873"/>
                  </a:lnTo>
                  <a:lnTo>
                    <a:pt x="849" y="863"/>
                  </a:lnTo>
                  <a:lnTo>
                    <a:pt x="870" y="863"/>
                  </a:lnTo>
                  <a:lnTo>
                    <a:pt x="873" y="849"/>
                  </a:lnTo>
                  <a:lnTo>
                    <a:pt x="885" y="851"/>
                  </a:lnTo>
                  <a:lnTo>
                    <a:pt x="890" y="835"/>
                  </a:lnTo>
                  <a:lnTo>
                    <a:pt x="904" y="847"/>
                  </a:lnTo>
                  <a:lnTo>
                    <a:pt x="909" y="841"/>
                  </a:lnTo>
                  <a:lnTo>
                    <a:pt x="909" y="827"/>
                  </a:lnTo>
                  <a:lnTo>
                    <a:pt x="938" y="820"/>
                  </a:lnTo>
                  <a:lnTo>
                    <a:pt x="949" y="825"/>
                  </a:lnTo>
                  <a:lnTo>
                    <a:pt x="956" y="811"/>
                  </a:lnTo>
                  <a:lnTo>
                    <a:pt x="964" y="803"/>
                  </a:lnTo>
                  <a:lnTo>
                    <a:pt x="976" y="806"/>
                  </a:lnTo>
                  <a:lnTo>
                    <a:pt x="990" y="799"/>
                  </a:lnTo>
                  <a:lnTo>
                    <a:pt x="994" y="792"/>
                  </a:lnTo>
                  <a:lnTo>
                    <a:pt x="1011" y="791"/>
                  </a:lnTo>
                  <a:lnTo>
                    <a:pt x="1011" y="782"/>
                  </a:lnTo>
                  <a:lnTo>
                    <a:pt x="995" y="773"/>
                  </a:lnTo>
                  <a:lnTo>
                    <a:pt x="1004" y="760"/>
                  </a:lnTo>
                  <a:lnTo>
                    <a:pt x="1018" y="768"/>
                  </a:lnTo>
                  <a:lnTo>
                    <a:pt x="1025" y="763"/>
                  </a:lnTo>
                  <a:lnTo>
                    <a:pt x="1037" y="775"/>
                  </a:lnTo>
                  <a:lnTo>
                    <a:pt x="1033" y="787"/>
                  </a:lnTo>
                  <a:lnTo>
                    <a:pt x="1043" y="784"/>
                  </a:lnTo>
                  <a:lnTo>
                    <a:pt x="1038" y="796"/>
                  </a:lnTo>
                  <a:lnTo>
                    <a:pt x="1047" y="804"/>
                  </a:lnTo>
                  <a:lnTo>
                    <a:pt x="1061" y="804"/>
                  </a:lnTo>
                  <a:lnTo>
                    <a:pt x="1073" y="794"/>
                  </a:lnTo>
                  <a:lnTo>
                    <a:pt x="1071" y="777"/>
                  </a:lnTo>
                  <a:lnTo>
                    <a:pt x="1083" y="760"/>
                  </a:lnTo>
                  <a:lnTo>
                    <a:pt x="1090" y="720"/>
                  </a:lnTo>
                  <a:lnTo>
                    <a:pt x="1080" y="706"/>
                  </a:lnTo>
                  <a:lnTo>
                    <a:pt x="1078" y="684"/>
                  </a:lnTo>
                  <a:lnTo>
                    <a:pt x="1052" y="670"/>
                  </a:lnTo>
                  <a:lnTo>
                    <a:pt x="1054" y="651"/>
                  </a:lnTo>
                  <a:lnTo>
                    <a:pt x="1056" y="646"/>
                  </a:lnTo>
                  <a:lnTo>
                    <a:pt x="1050" y="639"/>
                  </a:lnTo>
                  <a:lnTo>
                    <a:pt x="1035" y="619"/>
                  </a:lnTo>
                  <a:lnTo>
                    <a:pt x="1035" y="607"/>
                  </a:lnTo>
                  <a:lnTo>
                    <a:pt x="1050" y="591"/>
                  </a:lnTo>
                  <a:lnTo>
                    <a:pt x="1056" y="567"/>
                  </a:lnTo>
                  <a:lnTo>
                    <a:pt x="1050" y="564"/>
                  </a:lnTo>
                  <a:lnTo>
                    <a:pt x="1049" y="562"/>
                  </a:lnTo>
                  <a:lnTo>
                    <a:pt x="1049" y="562"/>
                  </a:lnTo>
                  <a:lnTo>
                    <a:pt x="1049" y="562"/>
                  </a:lnTo>
                  <a:lnTo>
                    <a:pt x="1047" y="534"/>
                  </a:lnTo>
                  <a:lnTo>
                    <a:pt x="1038" y="529"/>
                  </a:lnTo>
                  <a:lnTo>
                    <a:pt x="1033" y="524"/>
                  </a:lnTo>
                  <a:lnTo>
                    <a:pt x="1031" y="505"/>
                  </a:lnTo>
                  <a:lnTo>
                    <a:pt x="1031" y="498"/>
                  </a:lnTo>
                  <a:lnTo>
                    <a:pt x="1038" y="486"/>
                  </a:lnTo>
                  <a:lnTo>
                    <a:pt x="1038" y="466"/>
                  </a:lnTo>
                  <a:lnTo>
                    <a:pt x="1037" y="464"/>
                  </a:lnTo>
                  <a:lnTo>
                    <a:pt x="990" y="421"/>
                  </a:lnTo>
                  <a:lnTo>
                    <a:pt x="982" y="419"/>
                  </a:lnTo>
                  <a:lnTo>
                    <a:pt x="982" y="419"/>
                  </a:lnTo>
                  <a:lnTo>
                    <a:pt x="982" y="419"/>
                  </a:lnTo>
                  <a:lnTo>
                    <a:pt x="982" y="400"/>
                  </a:lnTo>
                  <a:lnTo>
                    <a:pt x="982" y="395"/>
                  </a:lnTo>
                  <a:lnTo>
                    <a:pt x="982" y="395"/>
                  </a:lnTo>
                  <a:lnTo>
                    <a:pt x="982" y="395"/>
                  </a:lnTo>
                  <a:lnTo>
                    <a:pt x="990" y="388"/>
                  </a:lnTo>
                  <a:lnTo>
                    <a:pt x="1006" y="376"/>
                  </a:lnTo>
                  <a:lnTo>
                    <a:pt x="1019" y="330"/>
                  </a:lnTo>
                  <a:lnTo>
                    <a:pt x="995" y="257"/>
                  </a:lnTo>
                  <a:lnTo>
                    <a:pt x="997" y="235"/>
                  </a:lnTo>
                  <a:lnTo>
                    <a:pt x="978" y="239"/>
                  </a:lnTo>
                  <a:lnTo>
                    <a:pt x="961" y="228"/>
                  </a:lnTo>
                  <a:lnTo>
                    <a:pt x="947" y="220"/>
                  </a:lnTo>
                  <a:lnTo>
                    <a:pt x="964" y="216"/>
                  </a:lnTo>
                  <a:lnTo>
                    <a:pt x="987" y="213"/>
                  </a:lnTo>
                  <a:lnTo>
                    <a:pt x="987" y="213"/>
                  </a:lnTo>
                  <a:lnTo>
                    <a:pt x="985" y="213"/>
                  </a:lnTo>
                  <a:lnTo>
                    <a:pt x="990" y="204"/>
                  </a:lnTo>
                  <a:lnTo>
                    <a:pt x="994" y="197"/>
                  </a:lnTo>
                  <a:lnTo>
                    <a:pt x="959" y="194"/>
                  </a:lnTo>
                  <a:lnTo>
                    <a:pt x="947" y="194"/>
                  </a:lnTo>
                  <a:lnTo>
                    <a:pt x="937" y="184"/>
                  </a:lnTo>
                  <a:lnTo>
                    <a:pt x="945" y="177"/>
                  </a:lnTo>
                  <a:lnTo>
                    <a:pt x="944" y="165"/>
                  </a:lnTo>
                  <a:lnTo>
                    <a:pt x="928" y="156"/>
                  </a:lnTo>
                  <a:lnTo>
                    <a:pt x="908" y="161"/>
                  </a:lnTo>
                  <a:lnTo>
                    <a:pt x="895" y="165"/>
                  </a:lnTo>
                  <a:lnTo>
                    <a:pt x="894" y="153"/>
                  </a:lnTo>
                  <a:lnTo>
                    <a:pt x="882" y="142"/>
                  </a:lnTo>
                  <a:lnTo>
                    <a:pt x="871" y="135"/>
                  </a:lnTo>
                  <a:lnTo>
                    <a:pt x="858" y="120"/>
                  </a:lnTo>
                  <a:lnTo>
                    <a:pt x="859" y="113"/>
                  </a:lnTo>
                  <a:lnTo>
                    <a:pt x="849" y="99"/>
                  </a:lnTo>
                  <a:lnTo>
                    <a:pt x="835" y="106"/>
                  </a:lnTo>
                  <a:lnTo>
                    <a:pt x="827" y="115"/>
                  </a:lnTo>
                  <a:lnTo>
                    <a:pt x="816" y="110"/>
                  </a:lnTo>
                  <a:lnTo>
                    <a:pt x="801" y="110"/>
                  </a:lnTo>
                  <a:lnTo>
                    <a:pt x="787" y="113"/>
                  </a:lnTo>
                  <a:lnTo>
                    <a:pt x="780" y="123"/>
                  </a:lnTo>
                  <a:lnTo>
                    <a:pt x="770" y="132"/>
                  </a:lnTo>
                  <a:lnTo>
                    <a:pt x="759" y="132"/>
                  </a:lnTo>
                  <a:lnTo>
                    <a:pt x="747" y="132"/>
                  </a:lnTo>
                  <a:lnTo>
                    <a:pt x="729" y="142"/>
                  </a:lnTo>
                  <a:lnTo>
                    <a:pt x="715" y="153"/>
                  </a:lnTo>
                  <a:lnTo>
                    <a:pt x="706" y="151"/>
                  </a:lnTo>
                  <a:lnTo>
                    <a:pt x="694" y="151"/>
                  </a:lnTo>
                  <a:lnTo>
                    <a:pt x="684" y="161"/>
                  </a:lnTo>
                  <a:lnTo>
                    <a:pt x="682" y="172"/>
                  </a:lnTo>
                  <a:lnTo>
                    <a:pt x="675" y="184"/>
                  </a:lnTo>
                  <a:lnTo>
                    <a:pt x="665" y="184"/>
                  </a:lnTo>
                  <a:lnTo>
                    <a:pt x="656" y="189"/>
                  </a:lnTo>
                  <a:lnTo>
                    <a:pt x="663" y="197"/>
                  </a:lnTo>
                  <a:lnTo>
                    <a:pt x="660" y="206"/>
                  </a:lnTo>
                  <a:lnTo>
                    <a:pt x="636" y="194"/>
                  </a:lnTo>
                  <a:lnTo>
                    <a:pt x="625" y="187"/>
                  </a:lnTo>
                  <a:lnTo>
                    <a:pt x="608" y="180"/>
                  </a:lnTo>
                  <a:lnTo>
                    <a:pt x="591" y="184"/>
                  </a:lnTo>
                  <a:lnTo>
                    <a:pt x="582" y="178"/>
                  </a:lnTo>
                  <a:lnTo>
                    <a:pt x="589" y="170"/>
                  </a:lnTo>
                  <a:lnTo>
                    <a:pt x="599" y="168"/>
                  </a:lnTo>
                  <a:lnTo>
                    <a:pt x="611" y="154"/>
                  </a:lnTo>
                  <a:lnTo>
                    <a:pt x="618" y="142"/>
                  </a:lnTo>
                  <a:lnTo>
                    <a:pt x="618" y="116"/>
                  </a:lnTo>
                  <a:lnTo>
                    <a:pt x="627" y="104"/>
                  </a:lnTo>
                  <a:lnTo>
                    <a:pt x="644" y="103"/>
                  </a:lnTo>
                  <a:lnTo>
                    <a:pt x="636" y="86"/>
                  </a:lnTo>
                  <a:lnTo>
                    <a:pt x="615" y="79"/>
                  </a:lnTo>
                  <a:lnTo>
                    <a:pt x="608" y="94"/>
                  </a:lnTo>
                  <a:lnTo>
                    <a:pt x="618" y="96"/>
                  </a:lnTo>
                  <a:lnTo>
                    <a:pt x="617" y="110"/>
                  </a:lnTo>
                  <a:lnTo>
                    <a:pt x="599" y="110"/>
                  </a:lnTo>
                  <a:lnTo>
                    <a:pt x="589" y="115"/>
                  </a:lnTo>
                  <a:lnTo>
                    <a:pt x="575" y="127"/>
                  </a:lnTo>
                  <a:lnTo>
                    <a:pt x="563" y="113"/>
                  </a:lnTo>
                  <a:lnTo>
                    <a:pt x="548" y="108"/>
                  </a:lnTo>
                  <a:lnTo>
                    <a:pt x="529" y="98"/>
                  </a:lnTo>
                  <a:lnTo>
                    <a:pt x="525" y="86"/>
                  </a:lnTo>
                  <a:lnTo>
                    <a:pt x="513" y="91"/>
                  </a:lnTo>
                  <a:lnTo>
                    <a:pt x="505" y="82"/>
                  </a:lnTo>
                  <a:lnTo>
                    <a:pt x="488" y="84"/>
                  </a:lnTo>
                  <a:lnTo>
                    <a:pt x="494" y="75"/>
                  </a:lnTo>
                  <a:lnTo>
                    <a:pt x="491" y="56"/>
                  </a:lnTo>
                  <a:lnTo>
                    <a:pt x="488" y="49"/>
                  </a:lnTo>
                  <a:lnTo>
                    <a:pt x="494" y="43"/>
                  </a:lnTo>
                  <a:lnTo>
                    <a:pt x="484" y="27"/>
                  </a:lnTo>
                  <a:lnTo>
                    <a:pt x="470" y="34"/>
                  </a:lnTo>
                  <a:lnTo>
                    <a:pt x="465" y="22"/>
                  </a:lnTo>
                  <a:lnTo>
                    <a:pt x="451" y="20"/>
                  </a:lnTo>
                  <a:lnTo>
                    <a:pt x="439" y="15"/>
                  </a:lnTo>
                  <a:lnTo>
                    <a:pt x="424" y="17"/>
                  </a:lnTo>
                  <a:lnTo>
                    <a:pt x="424" y="17"/>
                  </a:lnTo>
                  <a:lnTo>
                    <a:pt x="424" y="17"/>
                  </a:lnTo>
                  <a:lnTo>
                    <a:pt x="415" y="17"/>
                  </a:lnTo>
                  <a:lnTo>
                    <a:pt x="403" y="24"/>
                  </a:lnTo>
                  <a:lnTo>
                    <a:pt x="400" y="12"/>
                  </a:lnTo>
                  <a:lnTo>
                    <a:pt x="357" y="0"/>
                  </a:lnTo>
                  <a:lnTo>
                    <a:pt x="345" y="5"/>
                  </a:lnTo>
                  <a:lnTo>
                    <a:pt x="345" y="5"/>
                  </a:lnTo>
                  <a:lnTo>
                    <a:pt x="345" y="5"/>
                  </a:lnTo>
                  <a:lnTo>
                    <a:pt x="333" y="1"/>
                  </a:lnTo>
                  <a:lnTo>
                    <a:pt x="331" y="1"/>
                  </a:lnTo>
                  <a:lnTo>
                    <a:pt x="326" y="10"/>
                  </a:lnTo>
                  <a:lnTo>
                    <a:pt x="326" y="17"/>
                  </a:lnTo>
                  <a:lnTo>
                    <a:pt x="333" y="30"/>
                  </a:lnTo>
                  <a:lnTo>
                    <a:pt x="341" y="44"/>
                  </a:lnTo>
                  <a:lnTo>
                    <a:pt x="355" y="58"/>
                  </a:lnTo>
                  <a:lnTo>
                    <a:pt x="360" y="75"/>
                  </a:lnTo>
                  <a:lnTo>
                    <a:pt x="350" y="86"/>
                  </a:lnTo>
                  <a:lnTo>
                    <a:pt x="358" y="92"/>
                  </a:lnTo>
                  <a:lnTo>
                    <a:pt x="369" y="82"/>
                  </a:lnTo>
                  <a:lnTo>
                    <a:pt x="369" y="98"/>
                  </a:lnTo>
                  <a:lnTo>
                    <a:pt x="353" y="106"/>
                  </a:lnTo>
                  <a:lnTo>
                    <a:pt x="336" y="104"/>
                  </a:lnTo>
                  <a:lnTo>
                    <a:pt x="326" y="108"/>
                  </a:lnTo>
                  <a:lnTo>
                    <a:pt x="333" y="113"/>
                  </a:lnTo>
                  <a:lnTo>
                    <a:pt x="321" y="118"/>
                  </a:lnTo>
                  <a:lnTo>
                    <a:pt x="331" y="130"/>
                  </a:lnTo>
                  <a:lnTo>
                    <a:pt x="345" y="127"/>
                  </a:lnTo>
                  <a:lnTo>
                    <a:pt x="350" y="137"/>
                  </a:lnTo>
                  <a:lnTo>
                    <a:pt x="346" y="151"/>
                  </a:lnTo>
                  <a:lnTo>
                    <a:pt x="353" y="161"/>
                  </a:lnTo>
                  <a:lnTo>
                    <a:pt x="364" y="159"/>
                  </a:lnTo>
                  <a:lnTo>
                    <a:pt x="369" y="170"/>
                  </a:lnTo>
                  <a:lnTo>
                    <a:pt x="369" y="180"/>
                  </a:lnTo>
                  <a:lnTo>
                    <a:pt x="353" y="180"/>
                  </a:lnTo>
                  <a:lnTo>
                    <a:pt x="358" y="194"/>
                  </a:lnTo>
                  <a:lnTo>
                    <a:pt x="367" y="208"/>
                  </a:lnTo>
                  <a:lnTo>
                    <a:pt x="389" y="206"/>
                  </a:lnTo>
                  <a:lnTo>
                    <a:pt x="405" y="211"/>
                  </a:lnTo>
                  <a:lnTo>
                    <a:pt x="415" y="221"/>
                  </a:lnTo>
                  <a:lnTo>
                    <a:pt x="422" y="232"/>
                  </a:lnTo>
                  <a:lnTo>
                    <a:pt x="434" y="245"/>
                  </a:lnTo>
                  <a:lnTo>
                    <a:pt x="448" y="264"/>
                  </a:lnTo>
                  <a:lnTo>
                    <a:pt x="463" y="271"/>
                  </a:lnTo>
                  <a:lnTo>
                    <a:pt x="482" y="278"/>
                  </a:lnTo>
                  <a:lnTo>
                    <a:pt x="462" y="276"/>
                  </a:lnTo>
                  <a:lnTo>
                    <a:pt x="446" y="270"/>
                  </a:lnTo>
                  <a:lnTo>
                    <a:pt x="429" y="252"/>
                  </a:lnTo>
                  <a:lnTo>
                    <a:pt x="415" y="232"/>
                  </a:lnTo>
                  <a:lnTo>
                    <a:pt x="403" y="218"/>
                  </a:lnTo>
                  <a:lnTo>
                    <a:pt x="388" y="215"/>
                  </a:lnTo>
                  <a:lnTo>
                    <a:pt x="369" y="218"/>
                  </a:lnTo>
                  <a:lnTo>
                    <a:pt x="350" y="221"/>
                  </a:lnTo>
                  <a:lnTo>
                    <a:pt x="331" y="208"/>
                  </a:lnTo>
                  <a:lnTo>
                    <a:pt x="315" y="233"/>
                  </a:lnTo>
                  <a:lnTo>
                    <a:pt x="307" y="256"/>
                  </a:lnTo>
                  <a:lnTo>
                    <a:pt x="317" y="270"/>
                  </a:lnTo>
                  <a:lnTo>
                    <a:pt x="321" y="283"/>
                  </a:lnTo>
                  <a:lnTo>
                    <a:pt x="310" y="278"/>
                  </a:lnTo>
                  <a:lnTo>
                    <a:pt x="297" y="270"/>
                  </a:lnTo>
                  <a:lnTo>
                    <a:pt x="284" y="264"/>
                  </a:lnTo>
                  <a:lnTo>
                    <a:pt x="283" y="282"/>
                  </a:lnTo>
                  <a:lnTo>
                    <a:pt x="290" y="290"/>
                  </a:lnTo>
                  <a:lnTo>
                    <a:pt x="283" y="297"/>
                  </a:lnTo>
                  <a:lnTo>
                    <a:pt x="264" y="297"/>
                  </a:lnTo>
                  <a:lnTo>
                    <a:pt x="260" y="288"/>
                  </a:lnTo>
                  <a:lnTo>
                    <a:pt x="274" y="278"/>
                  </a:lnTo>
                  <a:lnTo>
                    <a:pt x="264" y="261"/>
                  </a:lnTo>
                  <a:lnTo>
                    <a:pt x="255" y="257"/>
                  </a:lnTo>
                  <a:lnTo>
                    <a:pt x="253" y="245"/>
                  </a:lnTo>
                  <a:lnTo>
                    <a:pt x="240" y="244"/>
                  </a:lnTo>
                  <a:lnTo>
                    <a:pt x="219" y="247"/>
                  </a:lnTo>
                  <a:lnTo>
                    <a:pt x="193" y="254"/>
                  </a:lnTo>
                  <a:lnTo>
                    <a:pt x="171" y="251"/>
                  </a:lnTo>
                  <a:lnTo>
                    <a:pt x="155" y="263"/>
                  </a:lnTo>
                  <a:lnTo>
                    <a:pt x="142" y="273"/>
                  </a:lnTo>
                  <a:lnTo>
                    <a:pt x="150" y="283"/>
                  </a:lnTo>
                  <a:lnTo>
                    <a:pt x="136" y="285"/>
                  </a:lnTo>
                  <a:lnTo>
                    <a:pt x="133" y="307"/>
                  </a:lnTo>
                  <a:lnTo>
                    <a:pt x="136" y="318"/>
                  </a:lnTo>
                  <a:lnTo>
                    <a:pt x="155" y="321"/>
                  </a:lnTo>
                  <a:lnTo>
                    <a:pt x="157" y="333"/>
                  </a:lnTo>
                  <a:lnTo>
                    <a:pt x="157" y="349"/>
                  </a:lnTo>
                  <a:lnTo>
                    <a:pt x="152" y="359"/>
                  </a:lnTo>
                  <a:lnTo>
                    <a:pt x="159" y="386"/>
                  </a:lnTo>
                  <a:lnTo>
                    <a:pt x="155" y="390"/>
                  </a:lnTo>
                  <a:lnTo>
                    <a:pt x="150" y="395"/>
                  </a:lnTo>
                  <a:lnTo>
                    <a:pt x="145" y="404"/>
                  </a:lnTo>
                  <a:lnTo>
                    <a:pt x="143" y="411"/>
                  </a:lnTo>
                  <a:lnTo>
                    <a:pt x="142" y="426"/>
                  </a:lnTo>
                  <a:lnTo>
                    <a:pt x="136" y="455"/>
                  </a:lnTo>
                  <a:lnTo>
                    <a:pt x="119" y="455"/>
                  </a:lnTo>
                  <a:lnTo>
                    <a:pt x="99" y="457"/>
                  </a:lnTo>
                  <a:lnTo>
                    <a:pt x="104" y="472"/>
                  </a:lnTo>
                  <a:lnTo>
                    <a:pt x="95" y="478"/>
                  </a:lnTo>
                  <a:lnTo>
                    <a:pt x="95" y="481"/>
                  </a:lnTo>
                  <a:lnTo>
                    <a:pt x="102" y="491"/>
                  </a:lnTo>
                  <a:lnTo>
                    <a:pt x="112" y="495"/>
                  </a:lnTo>
                  <a:lnTo>
                    <a:pt x="123" y="497"/>
                  </a:lnTo>
                  <a:lnTo>
                    <a:pt x="130" y="490"/>
                  </a:lnTo>
                  <a:lnTo>
                    <a:pt x="130" y="490"/>
                  </a:lnTo>
                  <a:lnTo>
                    <a:pt x="130" y="490"/>
                  </a:lnTo>
                  <a:lnTo>
                    <a:pt x="138" y="505"/>
                  </a:lnTo>
                  <a:lnTo>
                    <a:pt x="140" y="533"/>
                  </a:lnTo>
                  <a:lnTo>
                    <a:pt x="131" y="538"/>
                  </a:lnTo>
                  <a:lnTo>
                    <a:pt x="124" y="543"/>
                  </a:lnTo>
                  <a:lnTo>
                    <a:pt x="124" y="543"/>
                  </a:lnTo>
                  <a:lnTo>
                    <a:pt x="118" y="555"/>
                  </a:lnTo>
                  <a:lnTo>
                    <a:pt x="105" y="557"/>
                  </a:lnTo>
                  <a:lnTo>
                    <a:pt x="99" y="565"/>
                  </a:lnTo>
                  <a:lnTo>
                    <a:pt x="95" y="571"/>
                  </a:lnTo>
                  <a:lnTo>
                    <a:pt x="104" y="576"/>
                  </a:lnTo>
                  <a:lnTo>
                    <a:pt x="112" y="583"/>
                  </a:lnTo>
                  <a:lnTo>
                    <a:pt x="112" y="583"/>
                  </a:lnTo>
                  <a:lnTo>
                    <a:pt x="102" y="601"/>
                  </a:lnTo>
                  <a:lnTo>
                    <a:pt x="95" y="596"/>
                  </a:lnTo>
                  <a:lnTo>
                    <a:pt x="85" y="601"/>
                  </a:lnTo>
                  <a:lnTo>
                    <a:pt x="69" y="612"/>
                  </a:lnTo>
                  <a:lnTo>
                    <a:pt x="61" y="605"/>
                  </a:lnTo>
                  <a:lnTo>
                    <a:pt x="59" y="617"/>
                  </a:lnTo>
                  <a:lnTo>
                    <a:pt x="31" y="598"/>
                  </a:lnTo>
                  <a:lnTo>
                    <a:pt x="33" y="608"/>
                  </a:lnTo>
                  <a:lnTo>
                    <a:pt x="33" y="612"/>
                  </a:lnTo>
                  <a:lnTo>
                    <a:pt x="16" y="612"/>
                  </a:lnTo>
                  <a:lnTo>
                    <a:pt x="14" y="612"/>
                  </a:lnTo>
                  <a:lnTo>
                    <a:pt x="7" y="615"/>
                  </a:lnTo>
                  <a:lnTo>
                    <a:pt x="11" y="627"/>
                  </a:lnTo>
                  <a:lnTo>
                    <a:pt x="11" y="636"/>
                  </a:lnTo>
                  <a:lnTo>
                    <a:pt x="19" y="644"/>
                  </a:lnTo>
                  <a:lnTo>
                    <a:pt x="19" y="644"/>
                  </a:lnTo>
                  <a:lnTo>
                    <a:pt x="19" y="644"/>
                  </a:lnTo>
                  <a:lnTo>
                    <a:pt x="28" y="658"/>
                  </a:lnTo>
                  <a:lnTo>
                    <a:pt x="33" y="665"/>
                  </a:lnTo>
                  <a:lnTo>
                    <a:pt x="33" y="667"/>
                  </a:lnTo>
                  <a:lnTo>
                    <a:pt x="43" y="682"/>
                  </a:lnTo>
                  <a:lnTo>
                    <a:pt x="45" y="699"/>
                  </a:lnTo>
                  <a:lnTo>
                    <a:pt x="37" y="712"/>
                  </a:lnTo>
                  <a:lnTo>
                    <a:pt x="26" y="722"/>
                  </a:lnTo>
                  <a:lnTo>
                    <a:pt x="33" y="744"/>
                  </a:lnTo>
                  <a:lnTo>
                    <a:pt x="14" y="756"/>
                  </a:lnTo>
                  <a:lnTo>
                    <a:pt x="0" y="760"/>
                  </a:lnTo>
                  <a:lnTo>
                    <a:pt x="7" y="770"/>
                  </a:lnTo>
                  <a:lnTo>
                    <a:pt x="21" y="775"/>
                  </a:lnTo>
                  <a:lnTo>
                    <a:pt x="21" y="775"/>
                  </a:lnTo>
                  <a:lnTo>
                    <a:pt x="21" y="775"/>
                  </a:lnTo>
                  <a:lnTo>
                    <a:pt x="21" y="799"/>
                  </a:lnTo>
                  <a:lnTo>
                    <a:pt x="11" y="806"/>
                  </a:lnTo>
                  <a:lnTo>
                    <a:pt x="19" y="818"/>
                  </a:lnTo>
                  <a:lnTo>
                    <a:pt x="19" y="818"/>
                  </a:lnTo>
                  <a:lnTo>
                    <a:pt x="19" y="818"/>
                  </a:lnTo>
                  <a:lnTo>
                    <a:pt x="28" y="830"/>
                  </a:lnTo>
                  <a:lnTo>
                    <a:pt x="40" y="841"/>
                  </a:lnTo>
                  <a:lnTo>
                    <a:pt x="40" y="841"/>
                  </a:lnTo>
                  <a:lnTo>
                    <a:pt x="40" y="841"/>
                  </a:lnTo>
                  <a:lnTo>
                    <a:pt x="37" y="854"/>
                  </a:lnTo>
                  <a:lnTo>
                    <a:pt x="37" y="856"/>
                  </a:lnTo>
                  <a:lnTo>
                    <a:pt x="38" y="863"/>
                  </a:lnTo>
                  <a:lnTo>
                    <a:pt x="40" y="865"/>
                  </a:lnTo>
                  <a:lnTo>
                    <a:pt x="47" y="866"/>
                  </a:lnTo>
                  <a:lnTo>
                    <a:pt x="52" y="868"/>
                  </a:lnTo>
                  <a:lnTo>
                    <a:pt x="62" y="873"/>
                  </a:lnTo>
                  <a:lnTo>
                    <a:pt x="57" y="887"/>
                  </a:lnTo>
                  <a:lnTo>
                    <a:pt x="61" y="892"/>
                  </a:lnTo>
                  <a:lnTo>
                    <a:pt x="64" y="897"/>
                  </a:lnTo>
                  <a:lnTo>
                    <a:pt x="50" y="899"/>
                  </a:lnTo>
                  <a:lnTo>
                    <a:pt x="47" y="909"/>
                  </a:lnTo>
                  <a:lnTo>
                    <a:pt x="35" y="911"/>
                  </a:lnTo>
                  <a:lnTo>
                    <a:pt x="30" y="930"/>
                  </a:lnTo>
                  <a:lnTo>
                    <a:pt x="31" y="947"/>
                  </a:lnTo>
                  <a:lnTo>
                    <a:pt x="38" y="966"/>
                  </a:lnTo>
                  <a:lnTo>
                    <a:pt x="45" y="975"/>
                  </a:lnTo>
                  <a:lnTo>
                    <a:pt x="54" y="987"/>
                  </a:lnTo>
                  <a:lnTo>
                    <a:pt x="78" y="992"/>
                  </a:lnTo>
                  <a:lnTo>
                    <a:pt x="81" y="1009"/>
                  </a:lnTo>
                  <a:lnTo>
                    <a:pt x="71" y="1013"/>
                  </a:lnTo>
                  <a:lnTo>
                    <a:pt x="64" y="1016"/>
                  </a:lnTo>
                  <a:lnTo>
                    <a:pt x="57" y="1035"/>
                  </a:lnTo>
                  <a:lnTo>
                    <a:pt x="57" y="1054"/>
                  </a:lnTo>
                  <a:lnTo>
                    <a:pt x="74" y="1062"/>
                  </a:lnTo>
                  <a:lnTo>
                    <a:pt x="87" y="1068"/>
                  </a:lnTo>
                  <a:lnTo>
                    <a:pt x="87" y="1068"/>
                  </a:lnTo>
                  <a:lnTo>
                    <a:pt x="87" y="1068"/>
                  </a:lnTo>
                  <a:lnTo>
                    <a:pt x="81" y="1080"/>
                  </a:lnTo>
                  <a:lnTo>
                    <a:pt x="93" y="1090"/>
                  </a:lnTo>
                  <a:lnTo>
                    <a:pt x="97" y="1093"/>
                  </a:lnTo>
                  <a:lnTo>
                    <a:pt x="97" y="1093"/>
                  </a:lnTo>
                  <a:lnTo>
                    <a:pt x="97" y="1093"/>
                  </a:lnTo>
                  <a:lnTo>
                    <a:pt x="104" y="1112"/>
                  </a:lnTo>
                  <a:lnTo>
                    <a:pt x="109" y="1114"/>
                  </a:lnTo>
                  <a:lnTo>
                    <a:pt x="114" y="1116"/>
                  </a:lnTo>
                  <a:lnTo>
                    <a:pt x="114" y="1104"/>
                  </a:lnTo>
                  <a:lnTo>
                    <a:pt x="114" y="1104"/>
                  </a:lnTo>
                  <a:lnTo>
                    <a:pt x="114" y="1104"/>
                  </a:lnTo>
                  <a:lnTo>
                    <a:pt x="133" y="1098"/>
                  </a:lnTo>
                  <a:lnTo>
                    <a:pt x="133" y="1098"/>
                  </a:lnTo>
                  <a:lnTo>
                    <a:pt x="133" y="1098"/>
                  </a:lnTo>
                  <a:lnTo>
                    <a:pt x="138" y="1119"/>
                  </a:lnTo>
                  <a:lnTo>
                    <a:pt x="140" y="1117"/>
                  </a:lnTo>
                  <a:lnTo>
                    <a:pt x="145" y="1112"/>
                  </a:lnTo>
                  <a:lnTo>
                    <a:pt x="148" y="1116"/>
                  </a:lnTo>
                  <a:lnTo>
                    <a:pt x="155" y="1121"/>
                  </a:lnTo>
                  <a:lnTo>
                    <a:pt x="169" y="1121"/>
                  </a:lnTo>
                  <a:lnTo>
                    <a:pt x="181" y="1111"/>
                  </a:lnTo>
                  <a:lnTo>
                    <a:pt x="190" y="1104"/>
                  </a:lnTo>
                  <a:lnTo>
                    <a:pt x="190" y="1104"/>
                  </a:lnTo>
                  <a:lnTo>
                    <a:pt x="190" y="1104"/>
                  </a:lnTo>
                  <a:lnTo>
                    <a:pt x="190" y="1107"/>
                  </a:lnTo>
                  <a:lnTo>
                    <a:pt x="193" y="1121"/>
                  </a:lnTo>
                  <a:lnTo>
                    <a:pt x="216" y="1133"/>
                  </a:lnTo>
                  <a:lnTo>
                    <a:pt x="221" y="1131"/>
                  </a:lnTo>
                  <a:lnTo>
                    <a:pt x="228" y="1129"/>
                  </a:lnTo>
                  <a:lnTo>
                    <a:pt x="233" y="1131"/>
                  </a:lnTo>
                  <a:lnTo>
                    <a:pt x="238" y="1133"/>
                  </a:lnTo>
                  <a:lnTo>
                    <a:pt x="241" y="1131"/>
                  </a:lnTo>
                  <a:lnTo>
                    <a:pt x="245" y="1129"/>
                  </a:lnTo>
                  <a:lnTo>
                    <a:pt x="262" y="1141"/>
                  </a:lnTo>
                  <a:lnTo>
                    <a:pt x="279" y="1148"/>
                  </a:lnTo>
                  <a:lnTo>
                    <a:pt x="271" y="1159"/>
                  </a:lnTo>
                  <a:lnTo>
                    <a:pt x="260" y="1174"/>
                  </a:lnTo>
                  <a:lnTo>
                    <a:pt x="228" y="1215"/>
                  </a:lnTo>
                  <a:lnTo>
                    <a:pt x="224" y="1258"/>
                  </a:lnTo>
                  <a:lnTo>
                    <a:pt x="209" y="1283"/>
                  </a:lnTo>
                  <a:lnTo>
                    <a:pt x="209" y="1286"/>
                  </a:lnTo>
                  <a:lnTo>
                    <a:pt x="204" y="1313"/>
                  </a:lnTo>
                  <a:lnTo>
                    <a:pt x="209" y="1326"/>
                  </a:lnTo>
                  <a:lnTo>
                    <a:pt x="204" y="1346"/>
                  </a:lnTo>
                  <a:lnTo>
                    <a:pt x="197" y="1377"/>
                  </a:lnTo>
                  <a:lnTo>
                    <a:pt x="202" y="1387"/>
                  </a:lnTo>
                  <a:lnTo>
                    <a:pt x="204" y="1393"/>
                  </a:lnTo>
                  <a:lnTo>
                    <a:pt x="204" y="1393"/>
                  </a:lnTo>
                  <a:lnTo>
                    <a:pt x="216" y="1399"/>
                  </a:lnTo>
                  <a:lnTo>
                    <a:pt x="238" y="1393"/>
                  </a:lnTo>
                  <a:lnTo>
                    <a:pt x="243" y="1399"/>
                  </a:lnTo>
                  <a:lnTo>
                    <a:pt x="255" y="1396"/>
                  </a:lnTo>
                  <a:lnTo>
                    <a:pt x="264" y="1394"/>
                  </a:lnTo>
                  <a:lnTo>
                    <a:pt x="274" y="1389"/>
                  </a:lnTo>
                  <a:lnTo>
                    <a:pt x="274" y="1389"/>
                  </a:lnTo>
                  <a:lnTo>
                    <a:pt x="283" y="1389"/>
                  </a:lnTo>
                  <a:lnTo>
                    <a:pt x="290" y="1389"/>
                  </a:lnTo>
                  <a:lnTo>
                    <a:pt x="305" y="1396"/>
                  </a:lnTo>
                  <a:lnTo>
                    <a:pt x="317" y="1394"/>
                  </a:lnTo>
                  <a:lnTo>
                    <a:pt x="326" y="1391"/>
                  </a:lnTo>
                  <a:lnTo>
                    <a:pt x="324" y="1381"/>
                  </a:lnTo>
                  <a:lnTo>
                    <a:pt x="312" y="1387"/>
                  </a:lnTo>
                  <a:lnTo>
                    <a:pt x="303" y="1377"/>
                  </a:lnTo>
                  <a:lnTo>
                    <a:pt x="309" y="1362"/>
                  </a:lnTo>
                  <a:lnTo>
                    <a:pt x="310" y="1362"/>
                  </a:lnTo>
                  <a:lnTo>
                    <a:pt x="310" y="1362"/>
                  </a:lnTo>
                  <a:lnTo>
                    <a:pt x="310" y="1362"/>
                  </a:lnTo>
                  <a:lnTo>
                    <a:pt x="314" y="1360"/>
                  </a:lnTo>
                  <a:lnTo>
                    <a:pt x="326" y="1355"/>
                  </a:lnTo>
                  <a:lnTo>
                    <a:pt x="326" y="1355"/>
                  </a:lnTo>
                  <a:lnTo>
                    <a:pt x="326" y="1355"/>
                  </a:lnTo>
                  <a:lnTo>
                    <a:pt x="334" y="1360"/>
                  </a:lnTo>
                  <a:lnTo>
                    <a:pt x="336" y="1362"/>
                  </a:lnTo>
                  <a:lnTo>
                    <a:pt x="343" y="1375"/>
                  </a:lnTo>
                  <a:lnTo>
                    <a:pt x="345" y="1367"/>
                  </a:lnTo>
                  <a:lnTo>
                    <a:pt x="345" y="1369"/>
                  </a:lnTo>
                  <a:lnTo>
                    <a:pt x="345" y="1367"/>
                  </a:lnTo>
                  <a:lnTo>
                    <a:pt x="353" y="1375"/>
                  </a:lnTo>
                  <a:lnTo>
                    <a:pt x="360" y="1382"/>
                  </a:lnTo>
                  <a:lnTo>
                    <a:pt x="376" y="1375"/>
                  </a:lnTo>
                  <a:lnTo>
                    <a:pt x="439" y="1393"/>
                  </a:lnTo>
                  <a:lnTo>
                    <a:pt x="441" y="1394"/>
                  </a:lnTo>
                  <a:lnTo>
                    <a:pt x="445" y="1401"/>
                  </a:lnTo>
                  <a:lnTo>
                    <a:pt x="457" y="1401"/>
                  </a:lnTo>
                  <a:lnTo>
                    <a:pt x="467" y="1393"/>
                  </a:lnTo>
                  <a:lnTo>
                    <a:pt x="470" y="1403"/>
                  </a:lnTo>
                  <a:lnTo>
                    <a:pt x="486" y="1399"/>
                  </a:lnTo>
                  <a:lnTo>
                    <a:pt x="494" y="1412"/>
                  </a:lnTo>
                  <a:lnTo>
                    <a:pt x="501" y="1427"/>
                  </a:lnTo>
                  <a:lnTo>
                    <a:pt x="517" y="1429"/>
                  </a:lnTo>
                  <a:lnTo>
                    <a:pt x="517" y="1429"/>
                  </a:lnTo>
                  <a:lnTo>
                    <a:pt x="515" y="1436"/>
                  </a:lnTo>
                  <a:lnTo>
                    <a:pt x="513" y="1446"/>
                  </a:lnTo>
                  <a:lnTo>
                    <a:pt x="529" y="1441"/>
                  </a:lnTo>
                  <a:lnTo>
                    <a:pt x="539" y="1432"/>
                  </a:lnTo>
                  <a:lnTo>
                    <a:pt x="548" y="1420"/>
                  </a:lnTo>
                  <a:lnTo>
                    <a:pt x="541" y="1406"/>
                  </a:lnTo>
                  <a:lnTo>
                    <a:pt x="541" y="1394"/>
                  </a:lnTo>
                  <a:lnTo>
                    <a:pt x="555" y="1401"/>
                  </a:lnTo>
                  <a:lnTo>
                    <a:pt x="563" y="1396"/>
                  </a:lnTo>
                  <a:lnTo>
                    <a:pt x="575" y="1401"/>
                  </a:lnTo>
                  <a:lnTo>
                    <a:pt x="582" y="1405"/>
                  </a:lnTo>
                  <a:lnTo>
                    <a:pt x="596" y="1401"/>
                  </a:lnTo>
                  <a:lnTo>
                    <a:pt x="598" y="1413"/>
                  </a:lnTo>
                  <a:lnTo>
                    <a:pt x="617" y="1424"/>
                  </a:lnTo>
                  <a:lnTo>
                    <a:pt x="637" y="1429"/>
                  </a:lnTo>
                  <a:lnTo>
                    <a:pt x="656" y="1422"/>
                  </a:lnTo>
                  <a:lnTo>
                    <a:pt x="656" y="1408"/>
                  </a:lnTo>
                  <a:lnTo>
                    <a:pt x="675" y="1405"/>
                  </a:lnTo>
                  <a:lnTo>
                    <a:pt x="687" y="1393"/>
                  </a:lnTo>
                  <a:lnTo>
                    <a:pt x="716" y="1391"/>
                  </a:lnTo>
                  <a:lnTo>
                    <a:pt x="727" y="1386"/>
                  </a:lnTo>
                  <a:lnTo>
                    <a:pt x="751" y="1389"/>
                  </a:lnTo>
                  <a:lnTo>
                    <a:pt x="746" y="1374"/>
                  </a:lnTo>
                  <a:lnTo>
                    <a:pt x="756" y="1367"/>
                  </a:lnTo>
                  <a:lnTo>
                    <a:pt x="759" y="1377"/>
                  </a:lnTo>
                  <a:lnTo>
                    <a:pt x="778" y="1375"/>
                  </a:lnTo>
                  <a:lnTo>
                    <a:pt x="787" y="1387"/>
                  </a:lnTo>
                  <a:lnTo>
                    <a:pt x="803" y="1379"/>
                  </a:lnTo>
                  <a:lnTo>
                    <a:pt x="818" y="1379"/>
                  </a:lnTo>
                  <a:lnTo>
                    <a:pt x="827" y="1387"/>
                  </a:lnTo>
                  <a:lnTo>
                    <a:pt x="823" y="1394"/>
                  </a:lnTo>
                  <a:lnTo>
                    <a:pt x="846" y="1413"/>
                  </a:lnTo>
                  <a:lnTo>
                    <a:pt x="856" y="1384"/>
                  </a:lnTo>
                  <a:lnTo>
                    <a:pt x="847" y="1372"/>
                  </a:lnTo>
                  <a:lnTo>
                    <a:pt x="840" y="1375"/>
                  </a:lnTo>
                  <a:lnTo>
                    <a:pt x="835" y="1367"/>
                  </a:lnTo>
                  <a:lnTo>
                    <a:pt x="846" y="1348"/>
                  </a:lnTo>
                  <a:lnTo>
                    <a:pt x="842" y="1332"/>
                  </a:lnTo>
                  <a:lnTo>
                    <a:pt x="830" y="1319"/>
                  </a:lnTo>
                  <a:lnTo>
                    <a:pt x="816" y="1303"/>
                  </a:lnTo>
                  <a:lnTo>
                    <a:pt x="835" y="1283"/>
                  </a:lnTo>
                  <a:lnTo>
                    <a:pt x="854" y="1272"/>
                  </a:lnTo>
                  <a:lnTo>
                    <a:pt x="877" y="1267"/>
                  </a:lnTo>
                  <a:lnTo>
                    <a:pt x="895" y="1248"/>
                  </a:lnTo>
                  <a:lnTo>
                    <a:pt x="899" y="1221"/>
                  </a:lnTo>
                  <a:lnTo>
                    <a:pt x="913" y="1215"/>
                  </a:lnTo>
                  <a:lnTo>
                    <a:pt x="935" y="1229"/>
                  </a:lnTo>
                  <a:lnTo>
                    <a:pt x="947" y="1207"/>
                  </a:lnTo>
                  <a:lnTo>
                    <a:pt x="945" y="1205"/>
                  </a:lnTo>
                  <a:lnTo>
                    <a:pt x="940" y="1191"/>
                  </a:lnTo>
                  <a:lnTo>
                    <a:pt x="947" y="1183"/>
                  </a:lnTo>
                  <a:lnTo>
                    <a:pt x="940" y="1174"/>
                  </a:lnTo>
                  <a:lnTo>
                    <a:pt x="932" y="1159"/>
                  </a:lnTo>
                  <a:lnTo>
                    <a:pt x="925" y="1160"/>
                  </a:lnTo>
                  <a:close/>
                  <a:moveTo>
                    <a:pt x="264" y="1394"/>
                  </a:moveTo>
                  <a:lnTo>
                    <a:pt x="264" y="1394"/>
                  </a:lnTo>
                  <a:lnTo>
                    <a:pt x="272" y="1389"/>
                  </a:lnTo>
                  <a:lnTo>
                    <a:pt x="272" y="1389"/>
                  </a:lnTo>
                  <a:lnTo>
                    <a:pt x="264" y="139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2" name="Freeform 803">
              <a:extLst>
                <a:ext uri="{FF2B5EF4-FFF2-40B4-BE49-F238E27FC236}">
                  <a16:creationId xmlns:a16="http://schemas.microsoft.com/office/drawing/2014/main" id="{9933F268-B959-46CE-8080-C21465B3D3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9000" y="5441951"/>
              <a:ext cx="22225" cy="44450"/>
            </a:xfrm>
            <a:custGeom>
              <a:avLst/>
              <a:gdLst>
                <a:gd name="T0" fmla="*/ 7 w 14"/>
                <a:gd name="T1" fmla="*/ 19 h 28"/>
                <a:gd name="T2" fmla="*/ 14 w 14"/>
                <a:gd name="T3" fmla="*/ 28 h 28"/>
                <a:gd name="T4" fmla="*/ 7 w 14"/>
                <a:gd name="T5" fmla="*/ 19 h 28"/>
                <a:gd name="T6" fmla="*/ 0 w 14"/>
                <a:gd name="T7" fmla="*/ 0 h 28"/>
                <a:gd name="T8" fmla="*/ 0 w 14"/>
                <a:gd name="T9" fmla="*/ 0 h 28"/>
                <a:gd name="T10" fmla="*/ 7 w 14"/>
                <a:gd name="T11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8">
                  <a:moveTo>
                    <a:pt x="7" y="19"/>
                  </a:moveTo>
                  <a:lnTo>
                    <a:pt x="14" y="28"/>
                  </a:lnTo>
                  <a:lnTo>
                    <a:pt x="7" y="19"/>
                  </a:lnTo>
                  <a:lnTo>
                    <a:pt x="0" y="0"/>
                  </a:lnTo>
                  <a:lnTo>
                    <a:pt x="0" y="0"/>
                  </a:lnTo>
                  <a:lnTo>
                    <a:pt x="7" y="1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3" name="Freeform 804">
              <a:extLst>
                <a:ext uri="{FF2B5EF4-FFF2-40B4-BE49-F238E27FC236}">
                  <a16:creationId xmlns:a16="http://schemas.microsoft.com/office/drawing/2014/main" id="{4128333A-CECC-44FE-A294-6C9A86C643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0275" y="5546726"/>
              <a:ext cx="22225" cy="34925"/>
            </a:xfrm>
            <a:custGeom>
              <a:avLst/>
              <a:gdLst>
                <a:gd name="T0" fmla="*/ 0 w 14"/>
                <a:gd name="T1" fmla="*/ 22 h 22"/>
                <a:gd name="T2" fmla="*/ 0 w 14"/>
                <a:gd name="T3" fmla="*/ 22 h 22"/>
                <a:gd name="T4" fmla="*/ 7 w 14"/>
                <a:gd name="T5" fmla="*/ 3 h 22"/>
                <a:gd name="T6" fmla="*/ 14 w 14"/>
                <a:gd name="T7" fmla="*/ 0 h 22"/>
                <a:gd name="T8" fmla="*/ 7 w 14"/>
                <a:gd name="T9" fmla="*/ 3 h 22"/>
                <a:gd name="T10" fmla="*/ 0 w 14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22">
                  <a:moveTo>
                    <a:pt x="0" y="22"/>
                  </a:moveTo>
                  <a:lnTo>
                    <a:pt x="0" y="22"/>
                  </a:lnTo>
                  <a:lnTo>
                    <a:pt x="7" y="3"/>
                  </a:lnTo>
                  <a:lnTo>
                    <a:pt x="14" y="0"/>
                  </a:lnTo>
                  <a:lnTo>
                    <a:pt x="7" y="3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4" name="Freeform 805">
              <a:extLst>
                <a:ext uri="{FF2B5EF4-FFF2-40B4-BE49-F238E27FC236}">
                  <a16:creationId xmlns:a16="http://schemas.microsoft.com/office/drawing/2014/main" id="{1EC8175C-475F-4C0C-8801-253C66561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0013" y="6097588"/>
              <a:ext cx="14288" cy="23813"/>
            </a:xfrm>
            <a:custGeom>
              <a:avLst/>
              <a:gdLst>
                <a:gd name="T0" fmla="*/ 9 w 9"/>
                <a:gd name="T1" fmla="*/ 15 h 15"/>
                <a:gd name="T2" fmla="*/ 9 w 9"/>
                <a:gd name="T3" fmla="*/ 15 h 15"/>
                <a:gd name="T4" fmla="*/ 9 w 9"/>
                <a:gd name="T5" fmla="*/ 15 h 15"/>
                <a:gd name="T6" fmla="*/ 9 w 9"/>
                <a:gd name="T7" fmla="*/ 15 h 15"/>
                <a:gd name="T8" fmla="*/ 2 w 9"/>
                <a:gd name="T9" fmla="*/ 2 h 15"/>
                <a:gd name="T10" fmla="*/ 0 w 9"/>
                <a:gd name="T11" fmla="*/ 0 h 15"/>
                <a:gd name="T12" fmla="*/ 2 w 9"/>
                <a:gd name="T13" fmla="*/ 2 h 15"/>
                <a:gd name="T14" fmla="*/ 9 w 9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5">
                  <a:moveTo>
                    <a:pt x="9" y="15"/>
                  </a:move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9" y="1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5" name="Rectangle 806">
              <a:extLst>
                <a:ext uri="{FF2B5EF4-FFF2-40B4-BE49-F238E27FC236}">
                  <a16:creationId xmlns:a16="http://schemas.microsoft.com/office/drawing/2014/main" id="{EB067A09-E8E4-419A-BB64-CBCE91056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1913" y="6100763"/>
              <a:ext cx="1588" cy="1588"/>
            </a:xfrm>
            <a:prstGeom prst="rect">
              <a:avLst/>
            </a:prstGeom>
            <a:grpFill/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6" name="Freeform 807">
              <a:extLst>
                <a:ext uri="{FF2B5EF4-FFF2-40B4-BE49-F238E27FC236}">
                  <a16:creationId xmlns:a16="http://schemas.microsoft.com/office/drawing/2014/main" id="{E22CC5F5-C0A5-4245-9D88-9920825445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8263" y="6089651"/>
              <a:ext cx="19050" cy="7938"/>
            </a:xfrm>
            <a:custGeom>
              <a:avLst/>
              <a:gdLst>
                <a:gd name="T0" fmla="*/ 12 w 12"/>
                <a:gd name="T1" fmla="*/ 0 h 5"/>
                <a:gd name="T2" fmla="*/ 0 w 12"/>
                <a:gd name="T3" fmla="*/ 5 h 5"/>
                <a:gd name="T4" fmla="*/ 12 w 12"/>
                <a:gd name="T5" fmla="*/ 0 h 5"/>
                <a:gd name="T6" fmla="*/ 12 w 12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5">
                  <a:moveTo>
                    <a:pt x="12" y="0"/>
                  </a:moveTo>
                  <a:lnTo>
                    <a:pt x="0" y="5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7" name="Freeform 808">
              <a:extLst>
                <a:ext uri="{FF2B5EF4-FFF2-40B4-BE49-F238E27FC236}">
                  <a16:creationId xmlns:a16="http://schemas.microsoft.com/office/drawing/2014/main" id="{BADFED8E-68FB-44D8-986C-EBEFE8AA7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4300" y="6108701"/>
              <a:ext cx="3175" cy="12700"/>
            </a:xfrm>
            <a:custGeom>
              <a:avLst/>
              <a:gdLst>
                <a:gd name="T0" fmla="*/ 0 w 2"/>
                <a:gd name="T1" fmla="*/ 8 h 8"/>
                <a:gd name="T2" fmla="*/ 0 w 2"/>
                <a:gd name="T3" fmla="*/ 8 h 8"/>
                <a:gd name="T4" fmla="*/ 0 w 2"/>
                <a:gd name="T5" fmla="*/ 8 h 8"/>
                <a:gd name="T6" fmla="*/ 0 w 2"/>
                <a:gd name="T7" fmla="*/ 8 h 8"/>
                <a:gd name="T8" fmla="*/ 2 w 2"/>
                <a:gd name="T9" fmla="*/ 2 h 8"/>
                <a:gd name="T10" fmla="*/ 2 w 2"/>
                <a:gd name="T11" fmla="*/ 0 h 8"/>
                <a:gd name="T12" fmla="*/ 0 w 2"/>
                <a:gd name="T13" fmla="*/ 8 h 8"/>
                <a:gd name="T14" fmla="*/ 0 w 2"/>
                <a:gd name="T15" fmla="*/ 8 h 8"/>
                <a:gd name="T16" fmla="*/ 0 w 2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8">
                  <a:moveTo>
                    <a:pt x="0" y="8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8" name="Rectangle 809">
              <a:extLst>
                <a:ext uri="{FF2B5EF4-FFF2-40B4-BE49-F238E27FC236}">
                  <a16:creationId xmlns:a16="http://schemas.microsoft.com/office/drawing/2014/main" id="{384DEBD6-E70D-476E-A715-3A8959E485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4300" y="6121401"/>
              <a:ext cx="1588" cy="1588"/>
            </a:xfrm>
            <a:prstGeom prst="rect">
              <a:avLst/>
            </a:prstGeom>
            <a:grpFill/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79" name="Freeform 810">
              <a:extLst>
                <a:ext uri="{FF2B5EF4-FFF2-40B4-BE49-F238E27FC236}">
                  <a16:creationId xmlns:a16="http://schemas.microsoft.com/office/drawing/2014/main" id="{E357EC9B-E2E1-4DEA-90F2-478C3051C9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0800" y="6100763"/>
              <a:ext cx="36513" cy="46038"/>
            </a:xfrm>
            <a:custGeom>
              <a:avLst/>
              <a:gdLst>
                <a:gd name="T0" fmla="*/ 23 w 23"/>
                <a:gd name="T1" fmla="*/ 29 h 29"/>
                <a:gd name="T2" fmla="*/ 23 w 23"/>
                <a:gd name="T3" fmla="*/ 19 h 29"/>
                <a:gd name="T4" fmla="*/ 11 w 23"/>
                <a:gd name="T5" fmla="*/ 24 h 29"/>
                <a:gd name="T6" fmla="*/ 0 w 23"/>
                <a:gd name="T7" fmla="*/ 13 h 29"/>
                <a:gd name="T8" fmla="*/ 7 w 23"/>
                <a:gd name="T9" fmla="*/ 0 h 29"/>
                <a:gd name="T10" fmla="*/ 7 w 23"/>
                <a:gd name="T11" fmla="*/ 0 h 29"/>
                <a:gd name="T12" fmla="*/ 7 w 23"/>
                <a:gd name="T13" fmla="*/ 0 h 29"/>
                <a:gd name="T14" fmla="*/ 6 w 23"/>
                <a:gd name="T15" fmla="*/ 0 h 29"/>
                <a:gd name="T16" fmla="*/ 0 w 23"/>
                <a:gd name="T17" fmla="*/ 15 h 29"/>
                <a:gd name="T18" fmla="*/ 9 w 23"/>
                <a:gd name="T19" fmla="*/ 25 h 29"/>
                <a:gd name="T20" fmla="*/ 21 w 23"/>
                <a:gd name="T21" fmla="*/ 19 h 29"/>
                <a:gd name="T22" fmla="*/ 23 w 23"/>
                <a:gd name="T23" fmla="*/ 29 h 29"/>
                <a:gd name="T24" fmla="*/ 23 w 23"/>
                <a:gd name="T25" fmla="*/ 29 h 29"/>
                <a:gd name="T26" fmla="*/ 23 w 23"/>
                <a:gd name="T27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29">
                  <a:moveTo>
                    <a:pt x="23" y="29"/>
                  </a:moveTo>
                  <a:lnTo>
                    <a:pt x="23" y="19"/>
                  </a:lnTo>
                  <a:lnTo>
                    <a:pt x="11" y="24"/>
                  </a:lnTo>
                  <a:lnTo>
                    <a:pt x="0" y="13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0" y="15"/>
                  </a:lnTo>
                  <a:lnTo>
                    <a:pt x="9" y="25"/>
                  </a:lnTo>
                  <a:lnTo>
                    <a:pt x="21" y="1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0" name="Rectangle 811">
              <a:extLst>
                <a:ext uri="{FF2B5EF4-FFF2-40B4-BE49-F238E27FC236}">
                  <a16:creationId xmlns:a16="http://schemas.microsoft.com/office/drawing/2014/main" id="{A206DECD-2D98-45FE-94E2-77F0A4CC45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1913" y="6100763"/>
              <a:ext cx="1588" cy="1588"/>
            </a:xfrm>
            <a:prstGeom prst="rect">
              <a:avLst/>
            </a:prstGeom>
            <a:grpFill/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1" name="Freeform 812">
              <a:extLst>
                <a:ext uri="{FF2B5EF4-FFF2-40B4-BE49-F238E27FC236}">
                  <a16:creationId xmlns:a16="http://schemas.microsoft.com/office/drawing/2014/main" id="{688D46B7-26FB-4DE0-B6B4-E5C144122C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8888" y="6143626"/>
              <a:ext cx="12700" cy="7938"/>
            </a:xfrm>
            <a:custGeom>
              <a:avLst/>
              <a:gdLst>
                <a:gd name="T0" fmla="*/ 0 w 8"/>
                <a:gd name="T1" fmla="*/ 5 h 5"/>
                <a:gd name="T2" fmla="*/ 0 w 8"/>
                <a:gd name="T3" fmla="*/ 5 h 5"/>
                <a:gd name="T4" fmla="*/ 8 w 8"/>
                <a:gd name="T5" fmla="*/ 0 h 5"/>
                <a:gd name="T6" fmla="*/ 8 w 8"/>
                <a:gd name="T7" fmla="*/ 0 h 5"/>
                <a:gd name="T8" fmla="*/ 0 w 8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5">
                  <a:moveTo>
                    <a:pt x="0" y="5"/>
                  </a:moveTo>
                  <a:lnTo>
                    <a:pt x="0" y="5"/>
                  </a:lnTo>
                  <a:lnTo>
                    <a:pt x="8" y="0"/>
                  </a:lnTo>
                  <a:lnTo>
                    <a:pt x="8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2" name="Freeform 813">
              <a:extLst>
                <a:ext uri="{FF2B5EF4-FFF2-40B4-BE49-F238E27FC236}">
                  <a16:creationId xmlns:a16="http://schemas.microsoft.com/office/drawing/2014/main" id="{9CA7B195-DB13-465C-B498-16606B8FD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600" y="4702176"/>
              <a:ext cx="11113" cy="15875"/>
            </a:xfrm>
            <a:custGeom>
              <a:avLst/>
              <a:gdLst>
                <a:gd name="T0" fmla="*/ 7 w 7"/>
                <a:gd name="T1" fmla="*/ 10 h 10"/>
                <a:gd name="T2" fmla="*/ 0 w 7"/>
                <a:gd name="T3" fmla="*/ 0 h 10"/>
                <a:gd name="T4" fmla="*/ 7 w 7"/>
                <a:gd name="T5" fmla="*/ 10 h 10"/>
                <a:gd name="T6" fmla="*/ 7 w 7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0">
                  <a:moveTo>
                    <a:pt x="7" y="10"/>
                  </a:moveTo>
                  <a:lnTo>
                    <a:pt x="0" y="0"/>
                  </a:lnTo>
                  <a:lnTo>
                    <a:pt x="7" y="10"/>
                  </a:lnTo>
                  <a:lnTo>
                    <a:pt x="7" y="1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3" name="Freeform 814">
              <a:extLst>
                <a:ext uri="{FF2B5EF4-FFF2-40B4-BE49-F238E27FC236}">
                  <a16:creationId xmlns:a16="http://schemas.microsoft.com/office/drawing/2014/main" id="{2DDDC69E-C8DE-409E-B7E9-8E531DD89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9000" y="4887913"/>
              <a:ext cx="3175" cy="15875"/>
            </a:xfrm>
            <a:custGeom>
              <a:avLst/>
              <a:gdLst>
                <a:gd name="T0" fmla="*/ 2 w 2"/>
                <a:gd name="T1" fmla="*/ 10 h 10"/>
                <a:gd name="T2" fmla="*/ 0 w 2"/>
                <a:gd name="T3" fmla="*/ 0 h 10"/>
                <a:gd name="T4" fmla="*/ 0 w 2"/>
                <a:gd name="T5" fmla="*/ 0 h 10"/>
                <a:gd name="T6" fmla="*/ 2 w 2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0">
                  <a:moveTo>
                    <a:pt x="2" y="1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4" name="Freeform 815">
              <a:extLst>
                <a:ext uri="{FF2B5EF4-FFF2-40B4-BE49-F238E27FC236}">
                  <a16:creationId xmlns:a16="http://schemas.microsoft.com/office/drawing/2014/main" id="{03C61FB1-D569-4508-B173-C3E55DF06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4910138"/>
              <a:ext cx="11113" cy="4763"/>
            </a:xfrm>
            <a:custGeom>
              <a:avLst/>
              <a:gdLst>
                <a:gd name="T0" fmla="*/ 0 w 7"/>
                <a:gd name="T1" fmla="*/ 3 h 3"/>
                <a:gd name="T2" fmla="*/ 7 w 7"/>
                <a:gd name="T3" fmla="*/ 0 h 3"/>
                <a:gd name="T4" fmla="*/ 0 w 7"/>
                <a:gd name="T5" fmla="*/ 3 h 3"/>
                <a:gd name="T6" fmla="*/ 0 w 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3">
                  <a:moveTo>
                    <a:pt x="0" y="3"/>
                  </a:moveTo>
                  <a:lnTo>
                    <a:pt x="7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5" name="Freeform 816">
              <a:extLst>
                <a:ext uri="{FF2B5EF4-FFF2-40B4-BE49-F238E27FC236}">
                  <a16:creationId xmlns:a16="http://schemas.microsoft.com/office/drawing/2014/main" id="{91E4D9A0-4D8A-45B3-8C65-14F0206BF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725" y="4864101"/>
              <a:ext cx="42863" cy="28575"/>
            </a:xfrm>
            <a:custGeom>
              <a:avLst/>
              <a:gdLst>
                <a:gd name="T0" fmla="*/ 10 w 27"/>
                <a:gd name="T1" fmla="*/ 13 h 18"/>
                <a:gd name="T2" fmla="*/ 0 w 27"/>
                <a:gd name="T3" fmla="*/ 18 h 18"/>
                <a:gd name="T4" fmla="*/ 10 w 27"/>
                <a:gd name="T5" fmla="*/ 13 h 18"/>
                <a:gd name="T6" fmla="*/ 17 w 27"/>
                <a:gd name="T7" fmla="*/ 18 h 18"/>
                <a:gd name="T8" fmla="*/ 27 w 27"/>
                <a:gd name="T9" fmla="*/ 0 h 18"/>
                <a:gd name="T10" fmla="*/ 17 w 27"/>
                <a:gd name="T11" fmla="*/ 18 h 18"/>
                <a:gd name="T12" fmla="*/ 10 w 27"/>
                <a:gd name="T13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8">
                  <a:moveTo>
                    <a:pt x="10" y="13"/>
                  </a:moveTo>
                  <a:lnTo>
                    <a:pt x="0" y="18"/>
                  </a:lnTo>
                  <a:lnTo>
                    <a:pt x="10" y="13"/>
                  </a:lnTo>
                  <a:lnTo>
                    <a:pt x="17" y="18"/>
                  </a:lnTo>
                  <a:lnTo>
                    <a:pt x="27" y="0"/>
                  </a:lnTo>
                  <a:lnTo>
                    <a:pt x="17" y="18"/>
                  </a:lnTo>
                  <a:lnTo>
                    <a:pt x="10" y="1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6" name="Freeform 817">
              <a:extLst>
                <a:ext uri="{FF2B5EF4-FFF2-40B4-BE49-F238E27FC236}">
                  <a16:creationId xmlns:a16="http://schemas.microsoft.com/office/drawing/2014/main" id="{C01E5FC1-E004-4476-90C1-FE986CD01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600" y="4835526"/>
              <a:ext cx="14288" cy="17463"/>
            </a:xfrm>
            <a:custGeom>
              <a:avLst/>
              <a:gdLst>
                <a:gd name="T0" fmla="*/ 9 w 9"/>
                <a:gd name="T1" fmla="*/ 11 h 11"/>
                <a:gd name="T2" fmla="*/ 0 w 9"/>
                <a:gd name="T3" fmla="*/ 6 h 11"/>
                <a:gd name="T4" fmla="*/ 4 w 9"/>
                <a:gd name="T5" fmla="*/ 0 h 11"/>
                <a:gd name="T6" fmla="*/ 0 w 9"/>
                <a:gd name="T7" fmla="*/ 6 h 11"/>
                <a:gd name="T8" fmla="*/ 9 w 9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9" y="11"/>
                  </a:moveTo>
                  <a:lnTo>
                    <a:pt x="0" y="6"/>
                  </a:lnTo>
                  <a:lnTo>
                    <a:pt x="4" y="0"/>
                  </a:lnTo>
                  <a:lnTo>
                    <a:pt x="0" y="6"/>
                  </a:lnTo>
                  <a:lnTo>
                    <a:pt x="9" y="11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7" name="Freeform 818">
              <a:extLst>
                <a:ext uri="{FF2B5EF4-FFF2-40B4-BE49-F238E27FC236}">
                  <a16:creationId xmlns:a16="http://schemas.microsoft.com/office/drawing/2014/main" id="{0F04FAD9-A85D-4908-B1A1-A99BB98C84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0900" y="5160963"/>
              <a:ext cx="22225" cy="7938"/>
            </a:xfrm>
            <a:custGeom>
              <a:avLst/>
              <a:gdLst>
                <a:gd name="T0" fmla="*/ 14 w 14"/>
                <a:gd name="T1" fmla="*/ 5 h 5"/>
                <a:gd name="T2" fmla="*/ 14 w 14"/>
                <a:gd name="T3" fmla="*/ 5 h 5"/>
                <a:gd name="T4" fmla="*/ 0 w 14"/>
                <a:gd name="T5" fmla="*/ 0 h 5"/>
                <a:gd name="T6" fmla="*/ 0 w 14"/>
                <a:gd name="T7" fmla="*/ 0 h 5"/>
                <a:gd name="T8" fmla="*/ 14 w 14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5">
                  <a:moveTo>
                    <a:pt x="14" y="5"/>
                  </a:moveTo>
                  <a:lnTo>
                    <a:pt x="14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14" y="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8" name="Freeform 819">
              <a:extLst>
                <a:ext uri="{FF2B5EF4-FFF2-40B4-BE49-F238E27FC236}">
                  <a16:creationId xmlns:a16="http://schemas.microsoft.com/office/drawing/2014/main" id="{7AFADB5C-60B9-4E69-BFF0-21A767A0D8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4238" y="4983163"/>
              <a:ext cx="7938" cy="14288"/>
            </a:xfrm>
            <a:custGeom>
              <a:avLst/>
              <a:gdLst>
                <a:gd name="T0" fmla="*/ 5 w 5"/>
                <a:gd name="T1" fmla="*/ 9 h 9"/>
                <a:gd name="T2" fmla="*/ 5 w 5"/>
                <a:gd name="T3" fmla="*/ 7 h 9"/>
                <a:gd name="T4" fmla="*/ 0 w 5"/>
                <a:gd name="T5" fmla="*/ 0 h 9"/>
                <a:gd name="T6" fmla="*/ 5 w 5"/>
                <a:gd name="T7" fmla="*/ 7 h 9"/>
                <a:gd name="T8" fmla="*/ 5 w 5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9">
                  <a:moveTo>
                    <a:pt x="5" y="9"/>
                  </a:moveTo>
                  <a:lnTo>
                    <a:pt x="5" y="7"/>
                  </a:lnTo>
                  <a:lnTo>
                    <a:pt x="0" y="0"/>
                  </a:lnTo>
                  <a:lnTo>
                    <a:pt x="5" y="7"/>
                  </a:lnTo>
                  <a:lnTo>
                    <a:pt x="5" y="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89" name="Freeform 820">
              <a:extLst>
                <a:ext uri="{FF2B5EF4-FFF2-40B4-BE49-F238E27FC236}">
                  <a16:creationId xmlns:a16="http://schemas.microsoft.com/office/drawing/2014/main" id="{13350CD4-EFF5-4279-A34D-8212E94625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250" y="5218113"/>
              <a:ext cx="12700" cy="19050"/>
            </a:xfrm>
            <a:custGeom>
              <a:avLst/>
              <a:gdLst>
                <a:gd name="T0" fmla="*/ 8 w 8"/>
                <a:gd name="T1" fmla="*/ 12 h 12"/>
                <a:gd name="T2" fmla="*/ 8 w 8"/>
                <a:gd name="T3" fmla="*/ 12 h 12"/>
                <a:gd name="T4" fmla="*/ 0 w 8"/>
                <a:gd name="T5" fmla="*/ 0 h 12"/>
                <a:gd name="T6" fmla="*/ 0 w 8"/>
                <a:gd name="T7" fmla="*/ 0 h 12"/>
                <a:gd name="T8" fmla="*/ 8 w 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2">
                  <a:moveTo>
                    <a:pt x="8" y="12"/>
                  </a:moveTo>
                  <a:lnTo>
                    <a:pt x="8" y="12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0" name="Freeform 821">
              <a:extLst>
                <a:ext uri="{FF2B5EF4-FFF2-40B4-BE49-F238E27FC236}">
                  <a16:creationId xmlns:a16="http://schemas.microsoft.com/office/drawing/2014/main" id="{15373C8C-328A-489D-B955-0968C6DDE4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9975" y="4557713"/>
              <a:ext cx="15875" cy="22225"/>
            </a:xfrm>
            <a:custGeom>
              <a:avLst/>
              <a:gdLst>
                <a:gd name="T0" fmla="*/ 0 w 10"/>
                <a:gd name="T1" fmla="*/ 14 h 14"/>
                <a:gd name="T2" fmla="*/ 5 w 10"/>
                <a:gd name="T3" fmla="*/ 5 h 14"/>
                <a:gd name="T4" fmla="*/ 10 w 10"/>
                <a:gd name="T5" fmla="*/ 0 h 14"/>
                <a:gd name="T6" fmla="*/ 5 w 10"/>
                <a:gd name="T7" fmla="*/ 5 h 14"/>
                <a:gd name="T8" fmla="*/ 0 w 10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4">
                  <a:moveTo>
                    <a:pt x="0" y="14"/>
                  </a:moveTo>
                  <a:lnTo>
                    <a:pt x="5" y="5"/>
                  </a:lnTo>
                  <a:lnTo>
                    <a:pt x="10" y="0"/>
                  </a:lnTo>
                  <a:lnTo>
                    <a:pt x="5" y="5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1" name="Freeform 822">
              <a:extLst>
                <a:ext uri="{FF2B5EF4-FFF2-40B4-BE49-F238E27FC236}">
                  <a16:creationId xmlns:a16="http://schemas.microsoft.com/office/drawing/2014/main" id="{08475815-C30E-4768-B15A-E62AC65039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950" y="4660901"/>
              <a:ext cx="31750" cy="3175"/>
            </a:xfrm>
            <a:custGeom>
              <a:avLst/>
              <a:gdLst>
                <a:gd name="T0" fmla="*/ 0 w 20"/>
                <a:gd name="T1" fmla="*/ 2 h 2"/>
                <a:gd name="T2" fmla="*/ 20 w 20"/>
                <a:gd name="T3" fmla="*/ 0 h 2"/>
                <a:gd name="T4" fmla="*/ 0 w 20"/>
                <a:gd name="T5" fmla="*/ 2 h 2"/>
                <a:gd name="T6" fmla="*/ 0 w 20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">
                  <a:moveTo>
                    <a:pt x="0" y="2"/>
                  </a:moveTo>
                  <a:lnTo>
                    <a:pt x="2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2" name="Freeform 823">
              <a:extLst>
                <a:ext uri="{FF2B5EF4-FFF2-40B4-BE49-F238E27FC236}">
                  <a16:creationId xmlns:a16="http://schemas.microsoft.com/office/drawing/2014/main" id="{46DAA785-6517-4916-9388-A7BA4089E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6638" y="4792663"/>
              <a:ext cx="11113" cy="7938"/>
            </a:xfrm>
            <a:custGeom>
              <a:avLst/>
              <a:gdLst>
                <a:gd name="T0" fmla="*/ 0 w 7"/>
                <a:gd name="T1" fmla="*/ 5 h 5"/>
                <a:gd name="T2" fmla="*/ 0 w 7"/>
                <a:gd name="T3" fmla="*/ 5 h 5"/>
                <a:gd name="T4" fmla="*/ 7 w 7"/>
                <a:gd name="T5" fmla="*/ 0 h 5"/>
                <a:gd name="T6" fmla="*/ 0 w 7"/>
                <a:gd name="T7" fmla="*/ 5 h 5"/>
                <a:gd name="T8" fmla="*/ 0 w 7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5"/>
                  </a:moveTo>
                  <a:lnTo>
                    <a:pt x="0" y="5"/>
                  </a:lnTo>
                  <a:lnTo>
                    <a:pt x="7" y="0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3" name="Freeform 824">
              <a:extLst>
                <a:ext uri="{FF2B5EF4-FFF2-40B4-BE49-F238E27FC236}">
                  <a16:creationId xmlns:a16="http://schemas.microsoft.com/office/drawing/2014/main" id="{915F2745-84F0-4B18-A397-9596CF10E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250" y="4948238"/>
              <a:ext cx="12700" cy="12700"/>
            </a:xfrm>
            <a:custGeom>
              <a:avLst/>
              <a:gdLst>
                <a:gd name="T0" fmla="*/ 8 w 8"/>
                <a:gd name="T1" fmla="*/ 8 h 8"/>
                <a:gd name="T2" fmla="*/ 8 w 8"/>
                <a:gd name="T3" fmla="*/ 8 h 8"/>
                <a:gd name="T4" fmla="*/ 0 w 8"/>
                <a:gd name="T5" fmla="*/ 0 h 8"/>
                <a:gd name="T6" fmla="*/ 0 w 8"/>
                <a:gd name="T7" fmla="*/ 0 h 8"/>
                <a:gd name="T8" fmla="*/ 8 w 8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8" y="8"/>
                  </a:moveTo>
                  <a:lnTo>
                    <a:pt x="8" y="8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4" name="Freeform 825">
              <a:extLst>
                <a:ext uri="{FF2B5EF4-FFF2-40B4-BE49-F238E27FC236}">
                  <a16:creationId xmlns:a16="http://schemas.microsoft.com/office/drawing/2014/main" id="{41A1E4C9-B7E3-4956-8DA3-8051C4FC9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7588" y="4716463"/>
              <a:ext cx="28575" cy="11113"/>
            </a:xfrm>
            <a:custGeom>
              <a:avLst/>
              <a:gdLst>
                <a:gd name="T0" fmla="*/ 18 w 18"/>
                <a:gd name="T1" fmla="*/ 0 h 7"/>
                <a:gd name="T2" fmla="*/ 18 w 18"/>
                <a:gd name="T3" fmla="*/ 0 h 7"/>
                <a:gd name="T4" fmla="*/ 11 w 18"/>
                <a:gd name="T5" fmla="*/ 7 h 7"/>
                <a:gd name="T6" fmla="*/ 0 w 18"/>
                <a:gd name="T7" fmla="*/ 5 h 7"/>
                <a:gd name="T8" fmla="*/ 11 w 18"/>
                <a:gd name="T9" fmla="*/ 7 h 7"/>
                <a:gd name="T10" fmla="*/ 18 w 18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7">
                  <a:moveTo>
                    <a:pt x="18" y="0"/>
                  </a:moveTo>
                  <a:lnTo>
                    <a:pt x="18" y="0"/>
                  </a:lnTo>
                  <a:lnTo>
                    <a:pt x="11" y="7"/>
                  </a:lnTo>
                  <a:lnTo>
                    <a:pt x="0" y="5"/>
                  </a:lnTo>
                  <a:lnTo>
                    <a:pt x="11" y="7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5" name="Freeform 826">
              <a:extLst>
                <a:ext uri="{FF2B5EF4-FFF2-40B4-BE49-F238E27FC236}">
                  <a16:creationId xmlns:a16="http://schemas.microsoft.com/office/drawing/2014/main" id="{45FC92BF-1FD2-46CE-9D84-802B44F4D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4400" y="5313363"/>
              <a:ext cx="23813" cy="41275"/>
            </a:xfrm>
            <a:custGeom>
              <a:avLst/>
              <a:gdLst>
                <a:gd name="T0" fmla="*/ 15 w 15"/>
                <a:gd name="T1" fmla="*/ 7 h 26"/>
                <a:gd name="T2" fmla="*/ 10 w 15"/>
                <a:gd name="T3" fmla="*/ 21 h 26"/>
                <a:gd name="T4" fmla="*/ 14 w 15"/>
                <a:gd name="T5" fmla="*/ 26 h 26"/>
                <a:gd name="T6" fmla="*/ 10 w 15"/>
                <a:gd name="T7" fmla="*/ 21 h 26"/>
                <a:gd name="T8" fmla="*/ 15 w 15"/>
                <a:gd name="T9" fmla="*/ 7 h 26"/>
                <a:gd name="T10" fmla="*/ 5 w 15"/>
                <a:gd name="T11" fmla="*/ 2 h 26"/>
                <a:gd name="T12" fmla="*/ 0 w 15"/>
                <a:gd name="T13" fmla="*/ 0 h 26"/>
                <a:gd name="T14" fmla="*/ 5 w 15"/>
                <a:gd name="T15" fmla="*/ 2 h 26"/>
                <a:gd name="T16" fmla="*/ 15 w 15"/>
                <a:gd name="T17" fmla="*/ 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26">
                  <a:moveTo>
                    <a:pt x="15" y="7"/>
                  </a:moveTo>
                  <a:lnTo>
                    <a:pt x="10" y="21"/>
                  </a:lnTo>
                  <a:lnTo>
                    <a:pt x="14" y="26"/>
                  </a:lnTo>
                  <a:lnTo>
                    <a:pt x="10" y="21"/>
                  </a:lnTo>
                  <a:lnTo>
                    <a:pt x="15" y="7"/>
                  </a:lnTo>
                  <a:lnTo>
                    <a:pt x="5" y="2"/>
                  </a:lnTo>
                  <a:lnTo>
                    <a:pt x="0" y="0"/>
                  </a:lnTo>
                  <a:lnTo>
                    <a:pt x="5" y="2"/>
                  </a:lnTo>
                  <a:lnTo>
                    <a:pt x="15" y="7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6" name="Freeform 827">
              <a:extLst>
                <a:ext uri="{FF2B5EF4-FFF2-40B4-BE49-F238E27FC236}">
                  <a16:creationId xmlns:a16="http://schemas.microsoft.com/office/drawing/2014/main" id="{46E6BA04-A3A2-4F10-9D38-EBA572234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8525" y="5273676"/>
              <a:ext cx="4763" cy="20638"/>
            </a:xfrm>
            <a:custGeom>
              <a:avLst/>
              <a:gdLst>
                <a:gd name="T0" fmla="*/ 3 w 3"/>
                <a:gd name="T1" fmla="*/ 0 h 13"/>
                <a:gd name="T2" fmla="*/ 3 w 3"/>
                <a:gd name="T3" fmla="*/ 0 h 13"/>
                <a:gd name="T4" fmla="*/ 0 w 3"/>
                <a:gd name="T5" fmla="*/ 13 h 13"/>
                <a:gd name="T6" fmla="*/ 3 w 3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3">
                  <a:moveTo>
                    <a:pt x="3" y="0"/>
                  </a:moveTo>
                  <a:lnTo>
                    <a:pt x="3" y="0"/>
                  </a:lnTo>
                  <a:lnTo>
                    <a:pt x="0" y="1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7" name="Freeform 828">
              <a:extLst>
                <a:ext uri="{FF2B5EF4-FFF2-40B4-BE49-F238E27FC236}">
                  <a16:creationId xmlns:a16="http://schemas.microsoft.com/office/drawing/2014/main" id="{4E4AE87B-B7A1-4B3D-BB76-79C51556F3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8525" y="5297488"/>
              <a:ext cx="1588" cy="11113"/>
            </a:xfrm>
            <a:custGeom>
              <a:avLst/>
              <a:gdLst>
                <a:gd name="T0" fmla="*/ 1 w 1"/>
                <a:gd name="T1" fmla="*/ 7 h 7"/>
                <a:gd name="T2" fmla="*/ 0 w 1"/>
                <a:gd name="T3" fmla="*/ 0 h 7"/>
                <a:gd name="T4" fmla="*/ 0 w 1"/>
                <a:gd name="T5" fmla="*/ 0 h 7"/>
                <a:gd name="T6" fmla="*/ 1 w 1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7">
                  <a:moveTo>
                    <a:pt x="1" y="7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7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8" name="Freeform 829">
              <a:extLst>
                <a:ext uri="{FF2B5EF4-FFF2-40B4-BE49-F238E27FC236}">
                  <a16:creationId xmlns:a16="http://schemas.microsoft.com/office/drawing/2014/main" id="{9E78D80F-A3EA-4B0E-B64F-26F9157F5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8863" y="5711826"/>
              <a:ext cx="3175" cy="3175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0 w 2"/>
                <a:gd name="T5" fmla="*/ 2 h 2"/>
                <a:gd name="T6" fmla="*/ 0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299" name="Freeform 830">
              <a:extLst>
                <a:ext uri="{FF2B5EF4-FFF2-40B4-BE49-F238E27FC236}">
                  <a16:creationId xmlns:a16="http://schemas.microsoft.com/office/drawing/2014/main" id="{92840958-EEA4-41A7-A4A3-7C83A04061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0463" y="6140451"/>
              <a:ext cx="3175" cy="9525"/>
            </a:xfrm>
            <a:custGeom>
              <a:avLst/>
              <a:gdLst>
                <a:gd name="T0" fmla="*/ 0 w 2"/>
                <a:gd name="T1" fmla="*/ 0 h 6"/>
                <a:gd name="T2" fmla="*/ 2 w 2"/>
                <a:gd name="T3" fmla="*/ 6 h 6"/>
                <a:gd name="T4" fmla="*/ 2 w 2"/>
                <a:gd name="T5" fmla="*/ 6 h 6"/>
                <a:gd name="T6" fmla="*/ 0 w 2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6">
                  <a:moveTo>
                    <a:pt x="0" y="0"/>
                  </a:moveTo>
                  <a:lnTo>
                    <a:pt x="2" y="6"/>
                  </a:lnTo>
                  <a:lnTo>
                    <a:pt x="2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00" name="Rectangle 831">
              <a:extLst>
                <a:ext uri="{FF2B5EF4-FFF2-40B4-BE49-F238E27FC236}">
                  <a16:creationId xmlns:a16="http://schemas.microsoft.com/office/drawing/2014/main" id="{A0E11D75-FB7B-4E7A-9154-A564F57D7E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8713" y="4565651"/>
              <a:ext cx="1588" cy="7938"/>
            </a:xfrm>
            <a:prstGeom prst="rect">
              <a:avLst/>
            </a:prstGeom>
            <a:grpFill/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01" name="Freeform 832">
              <a:extLst>
                <a:ext uri="{FF2B5EF4-FFF2-40B4-BE49-F238E27FC236}">
                  <a16:creationId xmlns:a16="http://schemas.microsoft.com/office/drawing/2014/main" id="{9E7DE56A-548C-4715-92FC-60BBBA33A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8713" y="4603751"/>
              <a:ext cx="87313" cy="71438"/>
            </a:xfrm>
            <a:custGeom>
              <a:avLst/>
              <a:gdLst>
                <a:gd name="T0" fmla="*/ 8 w 55"/>
                <a:gd name="T1" fmla="*/ 2 h 45"/>
                <a:gd name="T2" fmla="*/ 55 w 55"/>
                <a:gd name="T3" fmla="*/ 45 h 45"/>
                <a:gd name="T4" fmla="*/ 8 w 55"/>
                <a:gd name="T5" fmla="*/ 2 h 45"/>
                <a:gd name="T6" fmla="*/ 0 w 55"/>
                <a:gd name="T7" fmla="*/ 0 h 45"/>
                <a:gd name="T8" fmla="*/ 0 w 55"/>
                <a:gd name="T9" fmla="*/ 0 h 45"/>
                <a:gd name="T10" fmla="*/ 8 w 55"/>
                <a:gd name="T11" fmla="*/ 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45">
                  <a:moveTo>
                    <a:pt x="8" y="2"/>
                  </a:moveTo>
                  <a:lnTo>
                    <a:pt x="55" y="45"/>
                  </a:lnTo>
                  <a:lnTo>
                    <a:pt x="8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02" name="Freeform 833">
              <a:extLst>
                <a:ext uri="{FF2B5EF4-FFF2-40B4-BE49-F238E27FC236}">
                  <a16:creationId xmlns:a16="http://schemas.microsoft.com/office/drawing/2014/main" id="{D4D2916F-F6F6-48D8-853C-5544105A4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3475" y="4262438"/>
              <a:ext cx="7938" cy="14288"/>
            </a:xfrm>
            <a:custGeom>
              <a:avLst/>
              <a:gdLst>
                <a:gd name="T0" fmla="*/ 2 w 5"/>
                <a:gd name="T1" fmla="*/ 9 h 9"/>
                <a:gd name="T2" fmla="*/ 5 w 5"/>
                <a:gd name="T3" fmla="*/ 0 h 9"/>
                <a:gd name="T4" fmla="*/ 0 w 5"/>
                <a:gd name="T5" fmla="*/ 9 h 9"/>
                <a:gd name="T6" fmla="*/ 2 w 5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9">
                  <a:moveTo>
                    <a:pt x="2" y="9"/>
                  </a:moveTo>
                  <a:lnTo>
                    <a:pt x="5" y="0"/>
                  </a:lnTo>
                  <a:lnTo>
                    <a:pt x="0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03" name="Freeform 834">
              <a:extLst>
                <a:ext uri="{FF2B5EF4-FFF2-40B4-BE49-F238E27FC236}">
                  <a16:creationId xmlns:a16="http://schemas.microsoft.com/office/drawing/2014/main" id="{1FE5FB55-13CD-4D81-8B82-734FF9A4D4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1413" y="4311651"/>
              <a:ext cx="46038" cy="242888"/>
            </a:xfrm>
            <a:custGeom>
              <a:avLst/>
              <a:gdLst>
                <a:gd name="T0" fmla="*/ 29 w 29"/>
                <a:gd name="T1" fmla="*/ 95 h 153"/>
                <a:gd name="T2" fmla="*/ 16 w 29"/>
                <a:gd name="T3" fmla="*/ 141 h 153"/>
                <a:gd name="T4" fmla="*/ 0 w 29"/>
                <a:gd name="T5" fmla="*/ 153 h 153"/>
                <a:gd name="T6" fmla="*/ 16 w 29"/>
                <a:gd name="T7" fmla="*/ 141 h 153"/>
                <a:gd name="T8" fmla="*/ 29 w 29"/>
                <a:gd name="T9" fmla="*/ 95 h 153"/>
                <a:gd name="T10" fmla="*/ 5 w 29"/>
                <a:gd name="T11" fmla="*/ 22 h 153"/>
                <a:gd name="T12" fmla="*/ 7 w 29"/>
                <a:gd name="T13" fmla="*/ 0 h 153"/>
                <a:gd name="T14" fmla="*/ 7 w 29"/>
                <a:gd name="T15" fmla="*/ 0 h 153"/>
                <a:gd name="T16" fmla="*/ 5 w 29"/>
                <a:gd name="T17" fmla="*/ 22 h 153"/>
                <a:gd name="T18" fmla="*/ 29 w 29"/>
                <a:gd name="T19" fmla="*/ 95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153">
                  <a:moveTo>
                    <a:pt x="29" y="95"/>
                  </a:moveTo>
                  <a:lnTo>
                    <a:pt x="16" y="141"/>
                  </a:lnTo>
                  <a:lnTo>
                    <a:pt x="0" y="153"/>
                  </a:lnTo>
                  <a:lnTo>
                    <a:pt x="16" y="141"/>
                  </a:lnTo>
                  <a:lnTo>
                    <a:pt x="29" y="95"/>
                  </a:lnTo>
                  <a:lnTo>
                    <a:pt x="5" y="22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22"/>
                  </a:lnTo>
                  <a:lnTo>
                    <a:pt x="29" y="9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04" name="Freeform 835">
              <a:extLst>
                <a:ext uri="{FF2B5EF4-FFF2-40B4-BE49-F238E27FC236}">
                  <a16:creationId xmlns:a16="http://schemas.microsoft.com/office/drawing/2014/main" id="{B38A798B-AF67-4E59-883F-0E607BEF0C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2850" y="4833938"/>
              <a:ext cx="33338" cy="119063"/>
            </a:xfrm>
            <a:custGeom>
              <a:avLst/>
              <a:gdLst>
                <a:gd name="T0" fmla="*/ 15 w 21"/>
                <a:gd name="T1" fmla="*/ 27 h 75"/>
                <a:gd name="T2" fmla="*/ 0 w 21"/>
                <a:gd name="T3" fmla="*/ 43 h 75"/>
                <a:gd name="T4" fmla="*/ 0 w 21"/>
                <a:gd name="T5" fmla="*/ 55 h 75"/>
                <a:gd name="T6" fmla="*/ 15 w 21"/>
                <a:gd name="T7" fmla="*/ 75 h 75"/>
                <a:gd name="T8" fmla="*/ 15 w 21"/>
                <a:gd name="T9" fmla="*/ 75 h 75"/>
                <a:gd name="T10" fmla="*/ 0 w 21"/>
                <a:gd name="T11" fmla="*/ 55 h 75"/>
                <a:gd name="T12" fmla="*/ 0 w 21"/>
                <a:gd name="T13" fmla="*/ 43 h 75"/>
                <a:gd name="T14" fmla="*/ 15 w 21"/>
                <a:gd name="T15" fmla="*/ 27 h 75"/>
                <a:gd name="T16" fmla="*/ 21 w 21"/>
                <a:gd name="T17" fmla="*/ 3 h 75"/>
                <a:gd name="T18" fmla="*/ 15 w 21"/>
                <a:gd name="T19" fmla="*/ 0 h 75"/>
                <a:gd name="T20" fmla="*/ 21 w 21"/>
                <a:gd name="T21" fmla="*/ 3 h 75"/>
                <a:gd name="T22" fmla="*/ 15 w 21"/>
                <a:gd name="T23" fmla="*/ 2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75">
                  <a:moveTo>
                    <a:pt x="15" y="27"/>
                  </a:moveTo>
                  <a:lnTo>
                    <a:pt x="0" y="43"/>
                  </a:lnTo>
                  <a:lnTo>
                    <a:pt x="0" y="55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0" y="55"/>
                  </a:lnTo>
                  <a:lnTo>
                    <a:pt x="0" y="43"/>
                  </a:lnTo>
                  <a:lnTo>
                    <a:pt x="15" y="27"/>
                  </a:lnTo>
                  <a:lnTo>
                    <a:pt x="21" y="3"/>
                  </a:lnTo>
                  <a:lnTo>
                    <a:pt x="15" y="0"/>
                  </a:lnTo>
                  <a:lnTo>
                    <a:pt x="21" y="3"/>
                  </a:lnTo>
                  <a:lnTo>
                    <a:pt x="15" y="27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05" name="Freeform 836">
              <a:extLst>
                <a:ext uri="{FF2B5EF4-FFF2-40B4-BE49-F238E27FC236}">
                  <a16:creationId xmlns:a16="http://schemas.microsoft.com/office/drawing/2014/main" id="{221DE52B-649E-46F0-B4B8-3A9DAAB34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7613" y="4778376"/>
              <a:ext cx="17463" cy="52388"/>
            </a:xfrm>
            <a:custGeom>
              <a:avLst/>
              <a:gdLst>
                <a:gd name="T0" fmla="*/ 11 w 11"/>
                <a:gd name="T1" fmla="*/ 33 h 33"/>
                <a:gd name="T2" fmla="*/ 11 w 11"/>
                <a:gd name="T3" fmla="*/ 33 h 33"/>
                <a:gd name="T4" fmla="*/ 9 w 11"/>
                <a:gd name="T5" fmla="*/ 5 h 33"/>
                <a:gd name="T6" fmla="*/ 0 w 11"/>
                <a:gd name="T7" fmla="*/ 0 h 33"/>
                <a:gd name="T8" fmla="*/ 9 w 11"/>
                <a:gd name="T9" fmla="*/ 5 h 33"/>
                <a:gd name="T10" fmla="*/ 11 w 11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33">
                  <a:moveTo>
                    <a:pt x="11" y="33"/>
                  </a:moveTo>
                  <a:lnTo>
                    <a:pt x="11" y="33"/>
                  </a:lnTo>
                  <a:lnTo>
                    <a:pt x="9" y="5"/>
                  </a:lnTo>
                  <a:lnTo>
                    <a:pt x="0" y="0"/>
                  </a:lnTo>
                  <a:lnTo>
                    <a:pt x="9" y="5"/>
                  </a:lnTo>
                  <a:lnTo>
                    <a:pt x="11" y="3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06" name="Freeform 837">
              <a:extLst>
                <a:ext uri="{FF2B5EF4-FFF2-40B4-BE49-F238E27FC236}">
                  <a16:creationId xmlns:a16="http://schemas.microsoft.com/office/drawing/2014/main" id="{BEE76AE4-5901-404A-B581-215FDBB3A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500" y="4678363"/>
              <a:ext cx="11113" cy="61913"/>
            </a:xfrm>
            <a:custGeom>
              <a:avLst/>
              <a:gdLst>
                <a:gd name="T0" fmla="*/ 0 w 7"/>
                <a:gd name="T1" fmla="*/ 32 h 39"/>
                <a:gd name="T2" fmla="*/ 0 w 7"/>
                <a:gd name="T3" fmla="*/ 39 h 39"/>
                <a:gd name="T4" fmla="*/ 0 w 7"/>
                <a:gd name="T5" fmla="*/ 32 h 39"/>
                <a:gd name="T6" fmla="*/ 7 w 7"/>
                <a:gd name="T7" fmla="*/ 20 h 39"/>
                <a:gd name="T8" fmla="*/ 7 w 7"/>
                <a:gd name="T9" fmla="*/ 0 h 39"/>
                <a:gd name="T10" fmla="*/ 7 w 7"/>
                <a:gd name="T11" fmla="*/ 0 h 39"/>
                <a:gd name="T12" fmla="*/ 7 w 7"/>
                <a:gd name="T13" fmla="*/ 20 h 39"/>
                <a:gd name="T14" fmla="*/ 0 w 7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39">
                  <a:moveTo>
                    <a:pt x="0" y="32"/>
                  </a:moveTo>
                  <a:lnTo>
                    <a:pt x="0" y="39"/>
                  </a:lnTo>
                  <a:lnTo>
                    <a:pt x="0" y="32"/>
                  </a:lnTo>
                  <a:lnTo>
                    <a:pt x="7" y="2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20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07" name="Freeform 838">
              <a:extLst>
                <a:ext uri="{FF2B5EF4-FFF2-40B4-BE49-F238E27FC236}">
                  <a16:creationId xmlns:a16="http://schemas.microsoft.com/office/drawing/2014/main" id="{75540601-E872-4DA2-9809-A8E472F36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0000" y="5024438"/>
              <a:ext cx="30163" cy="174625"/>
            </a:xfrm>
            <a:custGeom>
              <a:avLst/>
              <a:gdLst>
                <a:gd name="T0" fmla="*/ 19 w 19"/>
                <a:gd name="T1" fmla="*/ 36 h 110"/>
                <a:gd name="T2" fmla="*/ 12 w 19"/>
                <a:gd name="T3" fmla="*/ 76 h 110"/>
                <a:gd name="T4" fmla="*/ 0 w 19"/>
                <a:gd name="T5" fmla="*/ 93 h 110"/>
                <a:gd name="T6" fmla="*/ 2 w 19"/>
                <a:gd name="T7" fmla="*/ 110 h 110"/>
                <a:gd name="T8" fmla="*/ 2 w 19"/>
                <a:gd name="T9" fmla="*/ 110 h 110"/>
                <a:gd name="T10" fmla="*/ 0 w 19"/>
                <a:gd name="T11" fmla="*/ 95 h 110"/>
                <a:gd name="T12" fmla="*/ 12 w 19"/>
                <a:gd name="T13" fmla="*/ 76 h 110"/>
                <a:gd name="T14" fmla="*/ 19 w 19"/>
                <a:gd name="T15" fmla="*/ 36 h 110"/>
                <a:gd name="T16" fmla="*/ 9 w 19"/>
                <a:gd name="T17" fmla="*/ 22 h 110"/>
                <a:gd name="T18" fmla="*/ 7 w 19"/>
                <a:gd name="T19" fmla="*/ 0 h 110"/>
                <a:gd name="T20" fmla="*/ 7 w 19"/>
                <a:gd name="T21" fmla="*/ 0 h 110"/>
                <a:gd name="T22" fmla="*/ 9 w 19"/>
                <a:gd name="T23" fmla="*/ 22 h 110"/>
                <a:gd name="T24" fmla="*/ 19 w 19"/>
                <a:gd name="T25" fmla="*/ 3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110">
                  <a:moveTo>
                    <a:pt x="19" y="36"/>
                  </a:moveTo>
                  <a:lnTo>
                    <a:pt x="12" y="76"/>
                  </a:lnTo>
                  <a:lnTo>
                    <a:pt x="0" y="93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0" y="95"/>
                  </a:lnTo>
                  <a:lnTo>
                    <a:pt x="12" y="76"/>
                  </a:lnTo>
                  <a:lnTo>
                    <a:pt x="19" y="36"/>
                  </a:lnTo>
                  <a:lnTo>
                    <a:pt x="9" y="22"/>
                  </a:lnTo>
                  <a:lnTo>
                    <a:pt x="7" y="0"/>
                  </a:lnTo>
                  <a:lnTo>
                    <a:pt x="7" y="0"/>
                  </a:lnTo>
                  <a:lnTo>
                    <a:pt x="9" y="22"/>
                  </a:lnTo>
                  <a:lnTo>
                    <a:pt x="19" y="3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08" name="Freeform 839">
              <a:extLst>
                <a:ext uri="{FF2B5EF4-FFF2-40B4-BE49-F238E27FC236}">
                  <a16:creationId xmlns:a16="http://schemas.microsoft.com/office/drawing/2014/main" id="{A4C2B25B-B56D-42F6-86A3-1D75D7A81F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6663" y="4953001"/>
              <a:ext cx="9525" cy="19050"/>
            </a:xfrm>
            <a:custGeom>
              <a:avLst/>
              <a:gdLst>
                <a:gd name="T0" fmla="*/ 6 w 6"/>
                <a:gd name="T1" fmla="*/ 7 h 12"/>
                <a:gd name="T2" fmla="*/ 4 w 6"/>
                <a:gd name="T3" fmla="*/ 12 h 12"/>
                <a:gd name="T4" fmla="*/ 6 w 6"/>
                <a:gd name="T5" fmla="*/ 7 h 12"/>
                <a:gd name="T6" fmla="*/ 0 w 6"/>
                <a:gd name="T7" fmla="*/ 0 h 12"/>
                <a:gd name="T8" fmla="*/ 0 w 6"/>
                <a:gd name="T9" fmla="*/ 0 h 12"/>
                <a:gd name="T10" fmla="*/ 6 w 6"/>
                <a:gd name="T11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12">
                  <a:moveTo>
                    <a:pt x="6" y="7"/>
                  </a:moveTo>
                  <a:lnTo>
                    <a:pt x="4" y="12"/>
                  </a:lnTo>
                  <a:lnTo>
                    <a:pt x="6" y="7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7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09" name="Freeform 840">
              <a:extLst>
                <a:ext uri="{FF2B5EF4-FFF2-40B4-BE49-F238E27FC236}">
                  <a16:creationId xmlns:a16="http://schemas.microsoft.com/office/drawing/2014/main" id="{18AD3454-9449-4DBD-BFF4-9BFC65F91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6063" y="5646738"/>
              <a:ext cx="1239838" cy="854075"/>
            </a:xfrm>
            <a:custGeom>
              <a:avLst/>
              <a:gdLst>
                <a:gd name="T0" fmla="*/ 771 w 781"/>
                <a:gd name="T1" fmla="*/ 4 h 538"/>
                <a:gd name="T2" fmla="*/ 743 w 781"/>
                <a:gd name="T3" fmla="*/ 12 h 538"/>
                <a:gd name="T4" fmla="*/ 743 w 781"/>
                <a:gd name="T5" fmla="*/ 48 h 538"/>
                <a:gd name="T6" fmla="*/ 716 w 781"/>
                <a:gd name="T7" fmla="*/ 53 h 538"/>
                <a:gd name="T8" fmla="*/ 709 w 781"/>
                <a:gd name="T9" fmla="*/ 86 h 538"/>
                <a:gd name="T10" fmla="*/ 693 w 781"/>
                <a:gd name="T11" fmla="*/ 88 h 538"/>
                <a:gd name="T12" fmla="*/ 676 w 781"/>
                <a:gd name="T13" fmla="*/ 98 h 538"/>
                <a:gd name="T14" fmla="*/ 640 w 781"/>
                <a:gd name="T15" fmla="*/ 91 h 538"/>
                <a:gd name="T16" fmla="*/ 623 w 781"/>
                <a:gd name="T17" fmla="*/ 67 h 538"/>
                <a:gd name="T18" fmla="*/ 604 w 781"/>
                <a:gd name="T19" fmla="*/ 53 h 538"/>
                <a:gd name="T20" fmla="*/ 592 w 781"/>
                <a:gd name="T21" fmla="*/ 76 h 538"/>
                <a:gd name="T22" fmla="*/ 550 w 781"/>
                <a:gd name="T23" fmla="*/ 98 h 538"/>
                <a:gd name="T24" fmla="*/ 521 w 781"/>
                <a:gd name="T25" fmla="*/ 107 h 538"/>
                <a:gd name="T26" fmla="*/ 509 w 781"/>
                <a:gd name="T27" fmla="*/ 153 h 538"/>
                <a:gd name="T28" fmla="*/ 451 w 781"/>
                <a:gd name="T29" fmla="*/ 191 h 538"/>
                <a:gd name="T30" fmla="*/ 404 w 781"/>
                <a:gd name="T31" fmla="*/ 243 h 538"/>
                <a:gd name="T32" fmla="*/ 414 w 781"/>
                <a:gd name="T33" fmla="*/ 299 h 538"/>
                <a:gd name="T34" fmla="*/ 397 w 781"/>
                <a:gd name="T35" fmla="*/ 318 h 538"/>
                <a:gd name="T36" fmla="*/ 361 w 781"/>
                <a:gd name="T37" fmla="*/ 311 h 538"/>
                <a:gd name="T38" fmla="*/ 320 w 781"/>
                <a:gd name="T39" fmla="*/ 298 h 538"/>
                <a:gd name="T40" fmla="*/ 261 w 781"/>
                <a:gd name="T41" fmla="*/ 317 h 538"/>
                <a:gd name="T42" fmla="*/ 211 w 781"/>
                <a:gd name="T43" fmla="*/ 353 h 538"/>
                <a:gd name="T44" fmla="*/ 156 w 781"/>
                <a:gd name="T45" fmla="*/ 329 h 538"/>
                <a:gd name="T46" fmla="*/ 115 w 781"/>
                <a:gd name="T47" fmla="*/ 318 h 538"/>
                <a:gd name="T48" fmla="*/ 103 w 781"/>
                <a:gd name="T49" fmla="*/ 365 h 538"/>
                <a:gd name="T50" fmla="*/ 86 w 781"/>
                <a:gd name="T51" fmla="*/ 360 h 538"/>
                <a:gd name="T52" fmla="*/ 75 w 781"/>
                <a:gd name="T53" fmla="*/ 351 h 538"/>
                <a:gd name="T54" fmla="*/ 41 w 781"/>
                <a:gd name="T55" fmla="*/ 317 h 538"/>
                <a:gd name="T56" fmla="*/ 13 w 781"/>
                <a:gd name="T57" fmla="*/ 318 h 538"/>
                <a:gd name="T58" fmla="*/ 8 w 781"/>
                <a:gd name="T59" fmla="*/ 353 h 538"/>
                <a:gd name="T60" fmla="*/ 13 w 781"/>
                <a:gd name="T61" fmla="*/ 387 h 538"/>
                <a:gd name="T62" fmla="*/ 37 w 781"/>
                <a:gd name="T63" fmla="*/ 409 h 538"/>
                <a:gd name="T64" fmla="*/ 62 w 781"/>
                <a:gd name="T65" fmla="*/ 442 h 538"/>
                <a:gd name="T66" fmla="*/ 96 w 781"/>
                <a:gd name="T67" fmla="*/ 442 h 538"/>
                <a:gd name="T68" fmla="*/ 120 w 781"/>
                <a:gd name="T69" fmla="*/ 416 h 538"/>
                <a:gd name="T70" fmla="*/ 129 w 781"/>
                <a:gd name="T71" fmla="*/ 434 h 538"/>
                <a:gd name="T72" fmla="*/ 149 w 781"/>
                <a:gd name="T73" fmla="*/ 446 h 538"/>
                <a:gd name="T74" fmla="*/ 167 w 781"/>
                <a:gd name="T75" fmla="*/ 461 h 538"/>
                <a:gd name="T76" fmla="*/ 201 w 781"/>
                <a:gd name="T77" fmla="*/ 468 h 538"/>
                <a:gd name="T78" fmla="*/ 215 w 781"/>
                <a:gd name="T79" fmla="*/ 435 h 538"/>
                <a:gd name="T80" fmla="*/ 258 w 781"/>
                <a:gd name="T81" fmla="*/ 423 h 538"/>
                <a:gd name="T82" fmla="*/ 284 w 781"/>
                <a:gd name="T83" fmla="*/ 420 h 538"/>
                <a:gd name="T84" fmla="*/ 316 w 781"/>
                <a:gd name="T85" fmla="*/ 427 h 538"/>
                <a:gd name="T86" fmla="*/ 347 w 781"/>
                <a:gd name="T87" fmla="*/ 409 h 538"/>
                <a:gd name="T88" fmla="*/ 370 w 781"/>
                <a:gd name="T89" fmla="*/ 411 h 538"/>
                <a:gd name="T90" fmla="*/ 356 w 781"/>
                <a:gd name="T91" fmla="*/ 420 h 538"/>
                <a:gd name="T92" fmla="*/ 356 w 781"/>
                <a:gd name="T93" fmla="*/ 432 h 538"/>
                <a:gd name="T94" fmla="*/ 359 w 781"/>
                <a:gd name="T95" fmla="*/ 447 h 538"/>
                <a:gd name="T96" fmla="*/ 382 w 781"/>
                <a:gd name="T97" fmla="*/ 458 h 538"/>
                <a:gd name="T98" fmla="*/ 404 w 781"/>
                <a:gd name="T99" fmla="*/ 489 h 538"/>
                <a:gd name="T100" fmla="*/ 444 w 781"/>
                <a:gd name="T101" fmla="*/ 490 h 538"/>
                <a:gd name="T102" fmla="*/ 483 w 781"/>
                <a:gd name="T103" fmla="*/ 504 h 538"/>
                <a:gd name="T104" fmla="*/ 540 w 781"/>
                <a:gd name="T105" fmla="*/ 504 h 538"/>
                <a:gd name="T106" fmla="*/ 600 w 781"/>
                <a:gd name="T107" fmla="*/ 513 h 538"/>
                <a:gd name="T108" fmla="*/ 621 w 781"/>
                <a:gd name="T109" fmla="*/ 525 h 538"/>
                <a:gd name="T110" fmla="*/ 638 w 781"/>
                <a:gd name="T111" fmla="*/ 525 h 538"/>
                <a:gd name="T112" fmla="*/ 666 w 781"/>
                <a:gd name="T113" fmla="*/ 532 h 538"/>
                <a:gd name="T114" fmla="*/ 683 w 781"/>
                <a:gd name="T115" fmla="*/ 535 h 538"/>
                <a:gd name="T116" fmla="*/ 707 w 781"/>
                <a:gd name="T117" fmla="*/ 533 h 538"/>
                <a:gd name="T118" fmla="*/ 736 w 781"/>
                <a:gd name="T119" fmla="*/ 509 h 538"/>
                <a:gd name="T120" fmla="*/ 750 w 781"/>
                <a:gd name="T121" fmla="*/ 494 h 538"/>
                <a:gd name="T122" fmla="*/ 766 w 781"/>
                <a:gd name="T123" fmla="*/ 487 h 538"/>
                <a:gd name="T124" fmla="*/ 781 w 781"/>
                <a:gd name="T125" fmla="*/ 12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81" h="538">
                  <a:moveTo>
                    <a:pt x="776" y="14"/>
                  </a:moveTo>
                  <a:lnTo>
                    <a:pt x="774" y="12"/>
                  </a:lnTo>
                  <a:lnTo>
                    <a:pt x="771" y="9"/>
                  </a:lnTo>
                  <a:lnTo>
                    <a:pt x="771" y="4"/>
                  </a:lnTo>
                  <a:lnTo>
                    <a:pt x="747" y="0"/>
                  </a:lnTo>
                  <a:lnTo>
                    <a:pt x="743" y="0"/>
                  </a:lnTo>
                  <a:lnTo>
                    <a:pt x="743" y="5"/>
                  </a:lnTo>
                  <a:lnTo>
                    <a:pt x="743" y="12"/>
                  </a:lnTo>
                  <a:lnTo>
                    <a:pt x="747" y="29"/>
                  </a:lnTo>
                  <a:lnTo>
                    <a:pt x="747" y="36"/>
                  </a:lnTo>
                  <a:lnTo>
                    <a:pt x="745" y="45"/>
                  </a:lnTo>
                  <a:lnTo>
                    <a:pt x="743" y="48"/>
                  </a:lnTo>
                  <a:lnTo>
                    <a:pt x="740" y="50"/>
                  </a:lnTo>
                  <a:lnTo>
                    <a:pt x="735" y="50"/>
                  </a:lnTo>
                  <a:lnTo>
                    <a:pt x="719" y="52"/>
                  </a:lnTo>
                  <a:lnTo>
                    <a:pt x="716" y="53"/>
                  </a:lnTo>
                  <a:lnTo>
                    <a:pt x="712" y="62"/>
                  </a:lnTo>
                  <a:lnTo>
                    <a:pt x="709" y="71"/>
                  </a:lnTo>
                  <a:lnTo>
                    <a:pt x="710" y="81"/>
                  </a:lnTo>
                  <a:lnTo>
                    <a:pt x="709" y="86"/>
                  </a:lnTo>
                  <a:lnTo>
                    <a:pt x="705" y="86"/>
                  </a:lnTo>
                  <a:lnTo>
                    <a:pt x="700" y="90"/>
                  </a:lnTo>
                  <a:lnTo>
                    <a:pt x="697" y="88"/>
                  </a:lnTo>
                  <a:lnTo>
                    <a:pt x="693" y="88"/>
                  </a:lnTo>
                  <a:lnTo>
                    <a:pt x="690" y="88"/>
                  </a:lnTo>
                  <a:lnTo>
                    <a:pt x="686" y="88"/>
                  </a:lnTo>
                  <a:lnTo>
                    <a:pt x="683" y="91"/>
                  </a:lnTo>
                  <a:lnTo>
                    <a:pt x="676" y="98"/>
                  </a:lnTo>
                  <a:lnTo>
                    <a:pt x="674" y="100"/>
                  </a:lnTo>
                  <a:lnTo>
                    <a:pt x="662" y="100"/>
                  </a:lnTo>
                  <a:lnTo>
                    <a:pt x="654" y="98"/>
                  </a:lnTo>
                  <a:lnTo>
                    <a:pt x="640" y="91"/>
                  </a:lnTo>
                  <a:lnTo>
                    <a:pt x="631" y="83"/>
                  </a:lnTo>
                  <a:lnTo>
                    <a:pt x="617" y="79"/>
                  </a:lnTo>
                  <a:lnTo>
                    <a:pt x="619" y="74"/>
                  </a:lnTo>
                  <a:lnTo>
                    <a:pt x="623" y="67"/>
                  </a:lnTo>
                  <a:lnTo>
                    <a:pt x="619" y="60"/>
                  </a:lnTo>
                  <a:lnTo>
                    <a:pt x="612" y="55"/>
                  </a:lnTo>
                  <a:lnTo>
                    <a:pt x="607" y="53"/>
                  </a:lnTo>
                  <a:lnTo>
                    <a:pt x="604" y="53"/>
                  </a:lnTo>
                  <a:lnTo>
                    <a:pt x="592" y="52"/>
                  </a:lnTo>
                  <a:lnTo>
                    <a:pt x="590" y="53"/>
                  </a:lnTo>
                  <a:lnTo>
                    <a:pt x="593" y="65"/>
                  </a:lnTo>
                  <a:lnTo>
                    <a:pt x="592" y="76"/>
                  </a:lnTo>
                  <a:lnTo>
                    <a:pt x="588" y="86"/>
                  </a:lnTo>
                  <a:lnTo>
                    <a:pt x="581" y="103"/>
                  </a:lnTo>
                  <a:lnTo>
                    <a:pt x="576" y="103"/>
                  </a:lnTo>
                  <a:lnTo>
                    <a:pt x="550" y="98"/>
                  </a:lnTo>
                  <a:lnTo>
                    <a:pt x="547" y="96"/>
                  </a:lnTo>
                  <a:lnTo>
                    <a:pt x="540" y="96"/>
                  </a:lnTo>
                  <a:lnTo>
                    <a:pt x="514" y="98"/>
                  </a:lnTo>
                  <a:lnTo>
                    <a:pt x="521" y="107"/>
                  </a:lnTo>
                  <a:lnTo>
                    <a:pt x="514" y="115"/>
                  </a:lnTo>
                  <a:lnTo>
                    <a:pt x="519" y="129"/>
                  </a:lnTo>
                  <a:lnTo>
                    <a:pt x="521" y="131"/>
                  </a:lnTo>
                  <a:lnTo>
                    <a:pt x="509" y="153"/>
                  </a:lnTo>
                  <a:lnTo>
                    <a:pt x="487" y="139"/>
                  </a:lnTo>
                  <a:lnTo>
                    <a:pt x="473" y="145"/>
                  </a:lnTo>
                  <a:lnTo>
                    <a:pt x="469" y="172"/>
                  </a:lnTo>
                  <a:lnTo>
                    <a:pt x="451" y="191"/>
                  </a:lnTo>
                  <a:lnTo>
                    <a:pt x="428" y="196"/>
                  </a:lnTo>
                  <a:lnTo>
                    <a:pt x="409" y="207"/>
                  </a:lnTo>
                  <a:lnTo>
                    <a:pt x="390" y="227"/>
                  </a:lnTo>
                  <a:lnTo>
                    <a:pt x="404" y="243"/>
                  </a:lnTo>
                  <a:lnTo>
                    <a:pt x="416" y="256"/>
                  </a:lnTo>
                  <a:lnTo>
                    <a:pt x="420" y="272"/>
                  </a:lnTo>
                  <a:lnTo>
                    <a:pt x="409" y="291"/>
                  </a:lnTo>
                  <a:lnTo>
                    <a:pt x="414" y="299"/>
                  </a:lnTo>
                  <a:lnTo>
                    <a:pt x="421" y="296"/>
                  </a:lnTo>
                  <a:lnTo>
                    <a:pt x="430" y="308"/>
                  </a:lnTo>
                  <a:lnTo>
                    <a:pt x="420" y="337"/>
                  </a:lnTo>
                  <a:lnTo>
                    <a:pt x="397" y="318"/>
                  </a:lnTo>
                  <a:lnTo>
                    <a:pt x="401" y="311"/>
                  </a:lnTo>
                  <a:lnTo>
                    <a:pt x="392" y="303"/>
                  </a:lnTo>
                  <a:lnTo>
                    <a:pt x="377" y="303"/>
                  </a:lnTo>
                  <a:lnTo>
                    <a:pt x="361" y="311"/>
                  </a:lnTo>
                  <a:lnTo>
                    <a:pt x="352" y="299"/>
                  </a:lnTo>
                  <a:lnTo>
                    <a:pt x="333" y="301"/>
                  </a:lnTo>
                  <a:lnTo>
                    <a:pt x="330" y="291"/>
                  </a:lnTo>
                  <a:lnTo>
                    <a:pt x="320" y="298"/>
                  </a:lnTo>
                  <a:lnTo>
                    <a:pt x="325" y="313"/>
                  </a:lnTo>
                  <a:lnTo>
                    <a:pt x="301" y="310"/>
                  </a:lnTo>
                  <a:lnTo>
                    <a:pt x="290" y="315"/>
                  </a:lnTo>
                  <a:lnTo>
                    <a:pt x="261" y="317"/>
                  </a:lnTo>
                  <a:lnTo>
                    <a:pt x="249" y="329"/>
                  </a:lnTo>
                  <a:lnTo>
                    <a:pt x="230" y="332"/>
                  </a:lnTo>
                  <a:lnTo>
                    <a:pt x="230" y="346"/>
                  </a:lnTo>
                  <a:lnTo>
                    <a:pt x="211" y="353"/>
                  </a:lnTo>
                  <a:lnTo>
                    <a:pt x="191" y="348"/>
                  </a:lnTo>
                  <a:lnTo>
                    <a:pt x="172" y="337"/>
                  </a:lnTo>
                  <a:lnTo>
                    <a:pt x="170" y="325"/>
                  </a:lnTo>
                  <a:lnTo>
                    <a:pt x="156" y="329"/>
                  </a:lnTo>
                  <a:lnTo>
                    <a:pt x="149" y="325"/>
                  </a:lnTo>
                  <a:lnTo>
                    <a:pt x="137" y="320"/>
                  </a:lnTo>
                  <a:lnTo>
                    <a:pt x="129" y="325"/>
                  </a:lnTo>
                  <a:lnTo>
                    <a:pt x="115" y="318"/>
                  </a:lnTo>
                  <a:lnTo>
                    <a:pt x="115" y="330"/>
                  </a:lnTo>
                  <a:lnTo>
                    <a:pt x="122" y="344"/>
                  </a:lnTo>
                  <a:lnTo>
                    <a:pt x="113" y="356"/>
                  </a:lnTo>
                  <a:lnTo>
                    <a:pt x="103" y="365"/>
                  </a:lnTo>
                  <a:lnTo>
                    <a:pt x="87" y="370"/>
                  </a:lnTo>
                  <a:lnTo>
                    <a:pt x="89" y="360"/>
                  </a:lnTo>
                  <a:lnTo>
                    <a:pt x="89" y="360"/>
                  </a:lnTo>
                  <a:lnTo>
                    <a:pt x="86" y="360"/>
                  </a:lnTo>
                  <a:lnTo>
                    <a:pt x="86" y="356"/>
                  </a:lnTo>
                  <a:lnTo>
                    <a:pt x="91" y="353"/>
                  </a:lnTo>
                  <a:lnTo>
                    <a:pt x="91" y="353"/>
                  </a:lnTo>
                  <a:lnTo>
                    <a:pt x="75" y="351"/>
                  </a:lnTo>
                  <a:lnTo>
                    <a:pt x="68" y="336"/>
                  </a:lnTo>
                  <a:lnTo>
                    <a:pt x="60" y="323"/>
                  </a:lnTo>
                  <a:lnTo>
                    <a:pt x="44" y="327"/>
                  </a:lnTo>
                  <a:lnTo>
                    <a:pt x="41" y="317"/>
                  </a:lnTo>
                  <a:lnTo>
                    <a:pt x="31" y="325"/>
                  </a:lnTo>
                  <a:lnTo>
                    <a:pt x="19" y="325"/>
                  </a:lnTo>
                  <a:lnTo>
                    <a:pt x="15" y="318"/>
                  </a:lnTo>
                  <a:lnTo>
                    <a:pt x="13" y="318"/>
                  </a:lnTo>
                  <a:lnTo>
                    <a:pt x="10" y="322"/>
                  </a:lnTo>
                  <a:lnTo>
                    <a:pt x="5" y="341"/>
                  </a:lnTo>
                  <a:lnTo>
                    <a:pt x="0" y="346"/>
                  </a:lnTo>
                  <a:lnTo>
                    <a:pt x="8" y="353"/>
                  </a:lnTo>
                  <a:lnTo>
                    <a:pt x="6" y="360"/>
                  </a:lnTo>
                  <a:lnTo>
                    <a:pt x="8" y="365"/>
                  </a:lnTo>
                  <a:lnTo>
                    <a:pt x="12" y="380"/>
                  </a:lnTo>
                  <a:lnTo>
                    <a:pt x="13" y="387"/>
                  </a:lnTo>
                  <a:lnTo>
                    <a:pt x="13" y="396"/>
                  </a:lnTo>
                  <a:lnTo>
                    <a:pt x="15" y="397"/>
                  </a:lnTo>
                  <a:lnTo>
                    <a:pt x="27" y="401"/>
                  </a:lnTo>
                  <a:lnTo>
                    <a:pt x="37" y="409"/>
                  </a:lnTo>
                  <a:lnTo>
                    <a:pt x="46" y="420"/>
                  </a:lnTo>
                  <a:lnTo>
                    <a:pt x="53" y="435"/>
                  </a:lnTo>
                  <a:lnTo>
                    <a:pt x="55" y="437"/>
                  </a:lnTo>
                  <a:lnTo>
                    <a:pt x="62" y="442"/>
                  </a:lnTo>
                  <a:lnTo>
                    <a:pt x="72" y="446"/>
                  </a:lnTo>
                  <a:lnTo>
                    <a:pt x="80" y="447"/>
                  </a:lnTo>
                  <a:lnTo>
                    <a:pt x="82" y="447"/>
                  </a:lnTo>
                  <a:lnTo>
                    <a:pt x="96" y="442"/>
                  </a:lnTo>
                  <a:lnTo>
                    <a:pt x="105" y="435"/>
                  </a:lnTo>
                  <a:lnTo>
                    <a:pt x="106" y="434"/>
                  </a:lnTo>
                  <a:lnTo>
                    <a:pt x="106" y="430"/>
                  </a:lnTo>
                  <a:lnTo>
                    <a:pt x="120" y="416"/>
                  </a:lnTo>
                  <a:lnTo>
                    <a:pt x="122" y="416"/>
                  </a:lnTo>
                  <a:lnTo>
                    <a:pt x="125" y="420"/>
                  </a:lnTo>
                  <a:lnTo>
                    <a:pt x="127" y="423"/>
                  </a:lnTo>
                  <a:lnTo>
                    <a:pt x="129" y="434"/>
                  </a:lnTo>
                  <a:lnTo>
                    <a:pt x="132" y="446"/>
                  </a:lnTo>
                  <a:lnTo>
                    <a:pt x="134" y="444"/>
                  </a:lnTo>
                  <a:lnTo>
                    <a:pt x="144" y="444"/>
                  </a:lnTo>
                  <a:lnTo>
                    <a:pt x="149" y="446"/>
                  </a:lnTo>
                  <a:lnTo>
                    <a:pt x="153" y="446"/>
                  </a:lnTo>
                  <a:lnTo>
                    <a:pt x="158" y="449"/>
                  </a:lnTo>
                  <a:lnTo>
                    <a:pt x="163" y="459"/>
                  </a:lnTo>
                  <a:lnTo>
                    <a:pt x="167" y="461"/>
                  </a:lnTo>
                  <a:lnTo>
                    <a:pt x="177" y="463"/>
                  </a:lnTo>
                  <a:lnTo>
                    <a:pt x="189" y="466"/>
                  </a:lnTo>
                  <a:lnTo>
                    <a:pt x="194" y="468"/>
                  </a:lnTo>
                  <a:lnTo>
                    <a:pt x="201" y="468"/>
                  </a:lnTo>
                  <a:lnTo>
                    <a:pt x="204" y="463"/>
                  </a:lnTo>
                  <a:lnTo>
                    <a:pt x="206" y="458"/>
                  </a:lnTo>
                  <a:lnTo>
                    <a:pt x="213" y="440"/>
                  </a:lnTo>
                  <a:lnTo>
                    <a:pt x="215" y="435"/>
                  </a:lnTo>
                  <a:lnTo>
                    <a:pt x="218" y="432"/>
                  </a:lnTo>
                  <a:lnTo>
                    <a:pt x="227" y="427"/>
                  </a:lnTo>
                  <a:lnTo>
                    <a:pt x="239" y="425"/>
                  </a:lnTo>
                  <a:lnTo>
                    <a:pt x="258" y="423"/>
                  </a:lnTo>
                  <a:lnTo>
                    <a:pt x="259" y="423"/>
                  </a:lnTo>
                  <a:lnTo>
                    <a:pt x="263" y="418"/>
                  </a:lnTo>
                  <a:lnTo>
                    <a:pt x="275" y="418"/>
                  </a:lnTo>
                  <a:lnTo>
                    <a:pt x="284" y="420"/>
                  </a:lnTo>
                  <a:lnTo>
                    <a:pt x="294" y="422"/>
                  </a:lnTo>
                  <a:lnTo>
                    <a:pt x="303" y="428"/>
                  </a:lnTo>
                  <a:lnTo>
                    <a:pt x="313" y="428"/>
                  </a:lnTo>
                  <a:lnTo>
                    <a:pt x="316" y="427"/>
                  </a:lnTo>
                  <a:lnTo>
                    <a:pt x="332" y="415"/>
                  </a:lnTo>
                  <a:lnTo>
                    <a:pt x="339" y="413"/>
                  </a:lnTo>
                  <a:lnTo>
                    <a:pt x="344" y="411"/>
                  </a:lnTo>
                  <a:lnTo>
                    <a:pt x="347" y="409"/>
                  </a:lnTo>
                  <a:lnTo>
                    <a:pt x="363" y="404"/>
                  </a:lnTo>
                  <a:lnTo>
                    <a:pt x="368" y="403"/>
                  </a:lnTo>
                  <a:lnTo>
                    <a:pt x="370" y="404"/>
                  </a:lnTo>
                  <a:lnTo>
                    <a:pt x="370" y="411"/>
                  </a:lnTo>
                  <a:lnTo>
                    <a:pt x="368" y="415"/>
                  </a:lnTo>
                  <a:lnTo>
                    <a:pt x="366" y="418"/>
                  </a:lnTo>
                  <a:lnTo>
                    <a:pt x="358" y="418"/>
                  </a:lnTo>
                  <a:lnTo>
                    <a:pt x="356" y="420"/>
                  </a:lnTo>
                  <a:lnTo>
                    <a:pt x="356" y="422"/>
                  </a:lnTo>
                  <a:lnTo>
                    <a:pt x="354" y="425"/>
                  </a:lnTo>
                  <a:lnTo>
                    <a:pt x="356" y="428"/>
                  </a:lnTo>
                  <a:lnTo>
                    <a:pt x="356" y="432"/>
                  </a:lnTo>
                  <a:lnTo>
                    <a:pt x="354" y="437"/>
                  </a:lnTo>
                  <a:lnTo>
                    <a:pt x="354" y="440"/>
                  </a:lnTo>
                  <a:lnTo>
                    <a:pt x="358" y="442"/>
                  </a:lnTo>
                  <a:lnTo>
                    <a:pt x="359" y="447"/>
                  </a:lnTo>
                  <a:lnTo>
                    <a:pt x="368" y="451"/>
                  </a:lnTo>
                  <a:lnTo>
                    <a:pt x="375" y="451"/>
                  </a:lnTo>
                  <a:lnTo>
                    <a:pt x="378" y="451"/>
                  </a:lnTo>
                  <a:lnTo>
                    <a:pt x="382" y="458"/>
                  </a:lnTo>
                  <a:lnTo>
                    <a:pt x="382" y="463"/>
                  </a:lnTo>
                  <a:lnTo>
                    <a:pt x="389" y="471"/>
                  </a:lnTo>
                  <a:lnTo>
                    <a:pt x="395" y="482"/>
                  </a:lnTo>
                  <a:lnTo>
                    <a:pt x="404" y="489"/>
                  </a:lnTo>
                  <a:lnTo>
                    <a:pt x="409" y="490"/>
                  </a:lnTo>
                  <a:lnTo>
                    <a:pt x="414" y="492"/>
                  </a:lnTo>
                  <a:lnTo>
                    <a:pt x="423" y="492"/>
                  </a:lnTo>
                  <a:lnTo>
                    <a:pt x="444" y="490"/>
                  </a:lnTo>
                  <a:lnTo>
                    <a:pt x="451" y="490"/>
                  </a:lnTo>
                  <a:lnTo>
                    <a:pt x="456" y="494"/>
                  </a:lnTo>
                  <a:lnTo>
                    <a:pt x="463" y="499"/>
                  </a:lnTo>
                  <a:lnTo>
                    <a:pt x="483" y="504"/>
                  </a:lnTo>
                  <a:lnTo>
                    <a:pt x="487" y="502"/>
                  </a:lnTo>
                  <a:lnTo>
                    <a:pt x="499" y="507"/>
                  </a:lnTo>
                  <a:lnTo>
                    <a:pt x="507" y="509"/>
                  </a:lnTo>
                  <a:lnTo>
                    <a:pt x="540" y="504"/>
                  </a:lnTo>
                  <a:lnTo>
                    <a:pt x="566" y="511"/>
                  </a:lnTo>
                  <a:lnTo>
                    <a:pt x="573" y="514"/>
                  </a:lnTo>
                  <a:lnTo>
                    <a:pt x="590" y="513"/>
                  </a:lnTo>
                  <a:lnTo>
                    <a:pt x="600" y="513"/>
                  </a:lnTo>
                  <a:lnTo>
                    <a:pt x="604" y="513"/>
                  </a:lnTo>
                  <a:lnTo>
                    <a:pt x="612" y="518"/>
                  </a:lnTo>
                  <a:lnTo>
                    <a:pt x="617" y="523"/>
                  </a:lnTo>
                  <a:lnTo>
                    <a:pt x="621" y="525"/>
                  </a:lnTo>
                  <a:lnTo>
                    <a:pt x="623" y="523"/>
                  </a:lnTo>
                  <a:lnTo>
                    <a:pt x="630" y="523"/>
                  </a:lnTo>
                  <a:lnTo>
                    <a:pt x="636" y="523"/>
                  </a:lnTo>
                  <a:lnTo>
                    <a:pt x="638" y="525"/>
                  </a:lnTo>
                  <a:lnTo>
                    <a:pt x="640" y="528"/>
                  </a:lnTo>
                  <a:lnTo>
                    <a:pt x="647" y="530"/>
                  </a:lnTo>
                  <a:lnTo>
                    <a:pt x="666" y="530"/>
                  </a:lnTo>
                  <a:lnTo>
                    <a:pt x="666" y="532"/>
                  </a:lnTo>
                  <a:lnTo>
                    <a:pt x="669" y="532"/>
                  </a:lnTo>
                  <a:lnTo>
                    <a:pt x="678" y="530"/>
                  </a:lnTo>
                  <a:lnTo>
                    <a:pt x="681" y="530"/>
                  </a:lnTo>
                  <a:lnTo>
                    <a:pt x="683" y="535"/>
                  </a:lnTo>
                  <a:lnTo>
                    <a:pt x="686" y="537"/>
                  </a:lnTo>
                  <a:lnTo>
                    <a:pt x="697" y="538"/>
                  </a:lnTo>
                  <a:lnTo>
                    <a:pt x="700" y="538"/>
                  </a:lnTo>
                  <a:lnTo>
                    <a:pt x="707" y="533"/>
                  </a:lnTo>
                  <a:lnTo>
                    <a:pt x="716" y="526"/>
                  </a:lnTo>
                  <a:lnTo>
                    <a:pt x="721" y="521"/>
                  </a:lnTo>
                  <a:lnTo>
                    <a:pt x="735" y="514"/>
                  </a:lnTo>
                  <a:lnTo>
                    <a:pt x="736" y="509"/>
                  </a:lnTo>
                  <a:lnTo>
                    <a:pt x="735" y="507"/>
                  </a:lnTo>
                  <a:lnTo>
                    <a:pt x="736" y="504"/>
                  </a:lnTo>
                  <a:lnTo>
                    <a:pt x="740" y="501"/>
                  </a:lnTo>
                  <a:lnTo>
                    <a:pt x="750" y="494"/>
                  </a:lnTo>
                  <a:lnTo>
                    <a:pt x="752" y="490"/>
                  </a:lnTo>
                  <a:lnTo>
                    <a:pt x="757" y="492"/>
                  </a:lnTo>
                  <a:lnTo>
                    <a:pt x="764" y="487"/>
                  </a:lnTo>
                  <a:lnTo>
                    <a:pt x="766" y="487"/>
                  </a:lnTo>
                  <a:lnTo>
                    <a:pt x="769" y="485"/>
                  </a:lnTo>
                  <a:lnTo>
                    <a:pt x="776" y="483"/>
                  </a:lnTo>
                  <a:lnTo>
                    <a:pt x="781" y="485"/>
                  </a:lnTo>
                  <a:lnTo>
                    <a:pt x="781" y="12"/>
                  </a:lnTo>
                  <a:lnTo>
                    <a:pt x="776" y="1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0" name="Freeform 841">
              <a:extLst>
                <a:ext uri="{FF2B5EF4-FFF2-40B4-BE49-F238E27FC236}">
                  <a16:creationId xmlns:a16="http://schemas.microsoft.com/office/drawing/2014/main" id="{0B97CE7E-0EC2-427F-8D0E-743390C98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9213" y="3992563"/>
              <a:ext cx="30163" cy="22225"/>
            </a:xfrm>
            <a:custGeom>
              <a:avLst/>
              <a:gdLst>
                <a:gd name="T0" fmla="*/ 0 w 19"/>
                <a:gd name="T1" fmla="*/ 10 h 14"/>
                <a:gd name="T2" fmla="*/ 19 w 19"/>
                <a:gd name="T3" fmla="*/ 14 h 14"/>
                <a:gd name="T4" fmla="*/ 19 w 19"/>
                <a:gd name="T5" fmla="*/ 0 h 14"/>
                <a:gd name="T6" fmla="*/ 1 w 19"/>
                <a:gd name="T7" fmla="*/ 0 h 14"/>
                <a:gd name="T8" fmla="*/ 0 w 19"/>
                <a:gd name="T9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4">
                  <a:moveTo>
                    <a:pt x="0" y="10"/>
                  </a:moveTo>
                  <a:lnTo>
                    <a:pt x="19" y="14"/>
                  </a:lnTo>
                  <a:lnTo>
                    <a:pt x="19" y="0"/>
                  </a:lnTo>
                  <a:lnTo>
                    <a:pt x="1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1" name="Freeform 842">
              <a:extLst>
                <a:ext uri="{FF2B5EF4-FFF2-40B4-BE49-F238E27FC236}">
                  <a16:creationId xmlns:a16="http://schemas.microsoft.com/office/drawing/2014/main" id="{AC3A850C-56C9-43C8-9341-EE84D3A541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9375" y="4057651"/>
              <a:ext cx="26988" cy="25400"/>
            </a:xfrm>
            <a:custGeom>
              <a:avLst/>
              <a:gdLst>
                <a:gd name="T0" fmla="*/ 6 w 17"/>
                <a:gd name="T1" fmla="*/ 16 h 16"/>
                <a:gd name="T2" fmla="*/ 6 w 17"/>
                <a:gd name="T3" fmla="*/ 16 h 16"/>
                <a:gd name="T4" fmla="*/ 17 w 17"/>
                <a:gd name="T5" fmla="*/ 9 h 16"/>
                <a:gd name="T6" fmla="*/ 13 w 17"/>
                <a:gd name="T7" fmla="*/ 0 h 16"/>
                <a:gd name="T8" fmla="*/ 0 w 17"/>
                <a:gd name="T9" fmla="*/ 5 h 16"/>
                <a:gd name="T10" fmla="*/ 6 w 17"/>
                <a:gd name="T11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6" y="16"/>
                  </a:moveTo>
                  <a:lnTo>
                    <a:pt x="6" y="16"/>
                  </a:lnTo>
                  <a:lnTo>
                    <a:pt x="17" y="9"/>
                  </a:lnTo>
                  <a:lnTo>
                    <a:pt x="13" y="0"/>
                  </a:lnTo>
                  <a:lnTo>
                    <a:pt x="0" y="5"/>
                  </a:lnTo>
                  <a:lnTo>
                    <a:pt x="6" y="16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2" name="Freeform 843">
              <a:extLst>
                <a:ext uri="{FF2B5EF4-FFF2-40B4-BE49-F238E27FC236}">
                  <a16:creationId xmlns:a16="http://schemas.microsoft.com/office/drawing/2014/main" id="{46F90259-8C38-48E6-948A-DC742FCD6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9050" y="3894138"/>
              <a:ext cx="38100" cy="95250"/>
            </a:xfrm>
            <a:custGeom>
              <a:avLst/>
              <a:gdLst>
                <a:gd name="T0" fmla="*/ 10 w 24"/>
                <a:gd name="T1" fmla="*/ 38 h 60"/>
                <a:gd name="T2" fmla="*/ 24 w 24"/>
                <a:gd name="T3" fmla="*/ 34 h 60"/>
                <a:gd name="T4" fmla="*/ 14 w 24"/>
                <a:gd name="T5" fmla="*/ 26 h 60"/>
                <a:gd name="T6" fmla="*/ 15 w 24"/>
                <a:gd name="T7" fmla="*/ 10 h 60"/>
                <a:gd name="T8" fmla="*/ 22 w 24"/>
                <a:gd name="T9" fmla="*/ 3 h 60"/>
                <a:gd name="T10" fmla="*/ 15 w 24"/>
                <a:gd name="T11" fmla="*/ 0 h 60"/>
                <a:gd name="T12" fmla="*/ 0 w 24"/>
                <a:gd name="T13" fmla="*/ 31 h 60"/>
                <a:gd name="T14" fmla="*/ 1 w 24"/>
                <a:gd name="T15" fmla="*/ 60 h 60"/>
                <a:gd name="T16" fmla="*/ 10 w 24"/>
                <a:gd name="T17" fmla="*/ 3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60">
                  <a:moveTo>
                    <a:pt x="10" y="38"/>
                  </a:moveTo>
                  <a:lnTo>
                    <a:pt x="24" y="34"/>
                  </a:lnTo>
                  <a:lnTo>
                    <a:pt x="14" y="26"/>
                  </a:lnTo>
                  <a:lnTo>
                    <a:pt x="15" y="10"/>
                  </a:lnTo>
                  <a:lnTo>
                    <a:pt x="22" y="3"/>
                  </a:lnTo>
                  <a:lnTo>
                    <a:pt x="15" y="0"/>
                  </a:lnTo>
                  <a:lnTo>
                    <a:pt x="0" y="31"/>
                  </a:lnTo>
                  <a:lnTo>
                    <a:pt x="1" y="60"/>
                  </a:lnTo>
                  <a:lnTo>
                    <a:pt x="10" y="38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3" name="Freeform 844">
              <a:extLst>
                <a:ext uri="{FF2B5EF4-FFF2-40B4-BE49-F238E27FC236}">
                  <a16:creationId xmlns:a16="http://schemas.microsoft.com/office/drawing/2014/main" id="{6BD79F02-B237-46AB-90C3-D1C076397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1388" y="4025901"/>
              <a:ext cx="93663" cy="114300"/>
            </a:xfrm>
            <a:custGeom>
              <a:avLst/>
              <a:gdLst>
                <a:gd name="T0" fmla="*/ 21 w 59"/>
                <a:gd name="T1" fmla="*/ 72 h 72"/>
                <a:gd name="T2" fmla="*/ 31 w 59"/>
                <a:gd name="T3" fmla="*/ 63 h 72"/>
                <a:gd name="T4" fmla="*/ 49 w 59"/>
                <a:gd name="T5" fmla="*/ 60 h 72"/>
                <a:gd name="T6" fmla="*/ 57 w 59"/>
                <a:gd name="T7" fmla="*/ 55 h 72"/>
                <a:gd name="T8" fmla="*/ 45 w 59"/>
                <a:gd name="T9" fmla="*/ 49 h 72"/>
                <a:gd name="T10" fmla="*/ 52 w 59"/>
                <a:gd name="T11" fmla="*/ 34 h 72"/>
                <a:gd name="T12" fmla="*/ 59 w 59"/>
                <a:gd name="T13" fmla="*/ 18 h 72"/>
                <a:gd name="T14" fmla="*/ 47 w 59"/>
                <a:gd name="T15" fmla="*/ 17 h 72"/>
                <a:gd name="T16" fmla="*/ 45 w 59"/>
                <a:gd name="T17" fmla="*/ 25 h 72"/>
                <a:gd name="T18" fmla="*/ 40 w 59"/>
                <a:gd name="T19" fmla="*/ 39 h 72"/>
                <a:gd name="T20" fmla="*/ 28 w 59"/>
                <a:gd name="T21" fmla="*/ 34 h 72"/>
                <a:gd name="T22" fmla="*/ 18 w 59"/>
                <a:gd name="T23" fmla="*/ 29 h 72"/>
                <a:gd name="T24" fmla="*/ 21 w 59"/>
                <a:gd name="T25" fmla="*/ 15 h 72"/>
                <a:gd name="T26" fmla="*/ 33 w 59"/>
                <a:gd name="T27" fmla="*/ 5 h 72"/>
                <a:gd name="T28" fmla="*/ 21 w 59"/>
                <a:gd name="T29" fmla="*/ 0 h 72"/>
                <a:gd name="T30" fmla="*/ 11 w 59"/>
                <a:gd name="T31" fmla="*/ 18 h 72"/>
                <a:gd name="T32" fmla="*/ 4 w 59"/>
                <a:gd name="T33" fmla="*/ 36 h 72"/>
                <a:gd name="T34" fmla="*/ 13 w 59"/>
                <a:gd name="T35" fmla="*/ 44 h 72"/>
                <a:gd name="T36" fmla="*/ 16 w 59"/>
                <a:gd name="T37" fmla="*/ 58 h 72"/>
                <a:gd name="T38" fmla="*/ 0 w 59"/>
                <a:gd name="T39" fmla="*/ 58 h 72"/>
                <a:gd name="T40" fmla="*/ 21 w 59"/>
                <a:gd name="T4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" h="72">
                  <a:moveTo>
                    <a:pt x="21" y="72"/>
                  </a:moveTo>
                  <a:lnTo>
                    <a:pt x="31" y="63"/>
                  </a:lnTo>
                  <a:lnTo>
                    <a:pt x="49" y="60"/>
                  </a:lnTo>
                  <a:lnTo>
                    <a:pt x="57" y="55"/>
                  </a:lnTo>
                  <a:lnTo>
                    <a:pt x="45" y="49"/>
                  </a:lnTo>
                  <a:lnTo>
                    <a:pt x="52" y="34"/>
                  </a:lnTo>
                  <a:lnTo>
                    <a:pt x="59" y="18"/>
                  </a:lnTo>
                  <a:lnTo>
                    <a:pt x="47" y="17"/>
                  </a:lnTo>
                  <a:lnTo>
                    <a:pt x="45" y="25"/>
                  </a:lnTo>
                  <a:lnTo>
                    <a:pt x="40" y="39"/>
                  </a:lnTo>
                  <a:lnTo>
                    <a:pt x="28" y="34"/>
                  </a:lnTo>
                  <a:lnTo>
                    <a:pt x="18" y="29"/>
                  </a:lnTo>
                  <a:lnTo>
                    <a:pt x="21" y="15"/>
                  </a:lnTo>
                  <a:lnTo>
                    <a:pt x="33" y="5"/>
                  </a:lnTo>
                  <a:lnTo>
                    <a:pt x="21" y="0"/>
                  </a:lnTo>
                  <a:lnTo>
                    <a:pt x="11" y="18"/>
                  </a:lnTo>
                  <a:lnTo>
                    <a:pt x="4" y="36"/>
                  </a:lnTo>
                  <a:lnTo>
                    <a:pt x="13" y="44"/>
                  </a:lnTo>
                  <a:lnTo>
                    <a:pt x="16" y="58"/>
                  </a:lnTo>
                  <a:lnTo>
                    <a:pt x="0" y="58"/>
                  </a:lnTo>
                  <a:lnTo>
                    <a:pt x="21" y="7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4" name="Freeform 845">
              <a:extLst>
                <a:ext uri="{FF2B5EF4-FFF2-40B4-BE49-F238E27FC236}">
                  <a16:creationId xmlns:a16="http://schemas.microsoft.com/office/drawing/2014/main" id="{5D792E3B-20CD-49EB-A9C3-70E41D97CC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1513" y="3921126"/>
              <a:ext cx="82550" cy="136525"/>
            </a:xfrm>
            <a:custGeom>
              <a:avLst/>
              <a:gdLst>
                <a:gd name="T0" fmla="*/ 36 w 52"/>
                <a:gd name="T1" fmla="*/ 14 h 86"/>
                <a:gd name="T2" fmla="*/ 14 w 52"/>
                <a:gd name="T3" fmla="*/ 0 h 86"/>
                <a:gd name="T4" fmla="*/ 0 w 52"/>
                <a:gd name="T5" fmla="*/ 4 h 86"/>
                <a:gd name="T6" fmla="*/ 7 w 52"/>
                <a:gd name="T7" fmla="*/ 19 h 86"/>
                <a:gd name="T8" fmla="*/ 17 w 52"/>
                <a:gd name="T9" fmla="*/ 33 h 86"/>
                <a:gd name="T10" fmla="*/ 22 w 52"/>
                <a:gd name="T11" fmla="*/ 48 h 86"/>
                <a:gd name="T12" fmla="*/ 17 w 52"/>
                <a:gd name="T13" fmla="*/ 62 h 86"/>
                <a:gd name="T14" fmla="*/ 33 w 52"/>
                <a:gd name="T15" fmla="*/ 86 h 86"/>
                <a:gd name="T16" fmla="*/ 28 w 52"/>
                <a:gd name="T17" fmla="*/ 59 h 86"/>
                <a:gd name="T18" fmla="*/ 52 w 52"/>
                <a:gd name="T19" fmla="*/ 29 h 86"/>
                <a:gd name="T20" fmla="*/ 45 w 52"/>
                <a:gd name="T21" fmla="*/ 16 h 86"/>
                <a:gd name="T22" fmla="*/ 36 w 52"/>
                <a:gd name="T23" fmla="*/ 1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2" h="86">
                  <a:moveTo>
                    <a:pt x="36" y="14"/>
                  </a:moveTo>
                  <a:lnTo>
                    <a:pt x="14" y="0"/>
                  </a:lnTo>
                  <a:lnTo>
                    <a:pt x="0" y="4"/>
                  </a:lnTo>
                  <a:lnTo>
                    <a:pt x="7" y="19"/>
                  </a:lnTo>
                  <a:lnTo>
                    <a:pt x="17" y="33"/>
                  </a:lnTo>
                  <a:lnTo>
                    <a:pt x="22" y="48"/>
                  </a:lnTo>
                  <a:lnTo>
                    <a:pt x="17" y="62"/>
                  </a:lnTo>
                  <a:lnTo>
                    <a:pt x="33" y="86"/>
                  </a:lnTo>
                  <a:lnTo>
                    <a:pt x="28" y="59"/>
                  </a:lnTo>
                  <a:lnTo>
                    <a:pt x="52" y="29"/>
                  </a:lnTo>
                  <a:lnTo>
                    <a:pt x="45" y="16"/>
                  </a:lnTo>
                  <a:lnTo>
                    <a:pt x="36" y="1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5" name="Freeform 846">
              <a:extLst>
                <a:ext uri="{FF2B5EF4-FFF2-40B4-BE49-F238E27FC236}">
                  <a16:creationId xmlns:a16="http://schemas.microsoft.com/office/drawing/2014/main" id="{EB92A7BC-F32D-47B7-97BE-01CB12376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6125" y="3897313"/>
              <a:ext cx="76200" cy="53975"/>
            </a:xfrm>
            <a:custGeom>
              <a:avLst/>
              <a:gdLst>
                <a:gd name="T0" fmla="*/ 32 w 48"/>
                <a:gd name="T1" fmla="*/ 3 h 34"/>
                <a:gd name="T2" fmla="*/ 18 w 48"/>
                <a:gd name="T3" fmla="*/ 0 h 34"/>
                <a:gd name="T4" fmla="*/ 24 w 48"/>
                <a:gd name="T5" fmla="*/ 10 h 34"/>
                <a:gd name="T6" fmla="*/ 5 w 48"/>
                <a:gd name="T7" fmla="*/ 17 h 34"/>
                <a:gd name="T8" fmla="*/ 0 w 48"/>
                <a:gd name="T9" fmla="*/ 26 h 34"/>
                <a:gd name="T10" fmla="*/ 10 w 48"/>
                <a:gd name="T11" fmla="*/ 34 h 34"/>
                <a:gd name="T12" fmla="*/ 18 w 48"/>
                <a:gd name="T13" fmla="*/ 22 h 34"/>
                <a:gd name="T14" fmla="*/ 31 w 48"/>
                <a:gd name="T15" fmla="*/ 15 h 34"/>
                <a:gd name="T16" fmla="*/ 48 w 48"/>
                <a:gd name="T17" fmla="*/ 20 h 34"/>
                <a:gd name="T18" fmla="*/ 46 w 48"/>
                <a:gd name="T19" fmla="*/ 5 h 34"/>
                <a:gd name="T20" fmla="*/ 32 w 48"/>
                <a:gd name="T21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34">
                  <a:moveTo>
                    <a:pt x="32" y="3"/>
                  </a:moveTo>
                  <a:lnTo>
                    <a:pt x="18" y="0"/>
                  </a:lnTo>
                  <a:lnTo>
                    <a:pt x="24" y="10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10" y="34"/>
                  </a:lnTo>
                  <a:lnTo>
                    <a:pt x="18" y="22"/>
                  </a:lnTo>
                  <a:lnTo>
                    <a:pt x="31" y="15"/>
                  </a:lnTo>
                  <a:lnTo>
                    <a:pt x="48" y="20"/>
                  </a:lnTo>
                  <a:lnTo>
                    <a:pt x="46" y="5"/>
                  </a:lnTo>
                  <a:lnTo>
                    <a:pt x="32" y="3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6" name="Freeform 847">
              <a:extLst>
                <a:ext uri="{FF2B5EF4-FFF2-40B4-BE49-F238E27FC236}">
                  <a16:creationId xmlns:a16="http://schemas.microsoft.com/office/drawing/2014/main" id="{6FEBB2F4-F129-4B3C-A0B6-D7CAFEE16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1113" y="2973388"/>
              <a:ext cx="458788" cy="369888"/>
            </a:xfrm>
            <a:custGeom>
              <a:avLst/>
              <a:gdLst>
                <a:gd name="T0" fmla="*/ 15 w 289"/>
                <a:gd name="T1" fmla="*/ 229 h 233"/>
                <a:gd name="T2" fmla="*/ 24 w 289"/>
                <a:gd name="T3" fmla="*/ 233 h 233"/>
                <a:gd name="T4" fmla="*/ 34 w 289"/>
                <a:gd name="T5" fmla="*/ 224 h 233"/>
                <a:gd name="T6" fmla="*/ 34 w 289"/>
                <a:gd name="T7" fmla="*/ 209 h 233"/>
                <a:gd name="T8" fmla="*/ 48 w 289"/>
                <a:gd name="T9" fmla="*/ 203 h 233"/>
                <a:gd name="T10" fmla="*/ 53 w 289"/>
                <a:gd name="T11" fmla="*/ 178 h 233"/>
                <a:gd name="T12" fmla="*/ 65 w 289"/>
                <a:gd name="T13" fmla="*/ 176 h 233"/>
                <a:gd name="T14" fmla="*/ 75 w 289"/>
                <a:gd name="T15" fmla="*/ 166 h 233"/>
                <a:gd name="T16" fmla="*/ 93 w 289"/>
                <a:gd name="T17" fmla="*/ 164 h 233"/>
                <a:gd name="T18" fmla="*/ 106 w 289"/>
                <a:gd name="T19" fmla="*/ 159 h 233"/>
                <a:gd name="T20" fmla="*/ 123 w 289"/>
                <a:gd name="T21" fmla="*/ 169 h 233"/>
                <a:gd name="T22" fmla="*/ 132 w 289"/>
                <a:gd name="T23" fmla="*/ 160 h 233"/>
                <a:gd name="T24" fmla="*/ 151 w 289"/>
                <a:gd name="T25" fmla="*/ 157 h 233"/>
                <a:gd name="T26" fmla="*/ 168 w 289"/>
                <a:gd name="T27" fmla="*/ 157 h 233"/>
                <a:gd name="T28" fmla="*/ 177 w 289"/>
                <a:gd name="T29" fmla="*/ 152 h 233"/>
                <a:gd name="T30" fmla="*/ 196 w 289"/>
                <a:gd name="T31" fmla="*/ 152 h 233"/>
                <a:gd name="T32" fmla="*/ 208 w 289"/>
                <a:gd name="T33" fmla="*/ 145 h 233"/>
                <a:gd name="T34" fmla="*/ 222 w 289"/>
                <a:gd name="T35" fmla="*/ 152 h 233"/>
                <a:gd name="T36" fmla="*/ 249 w 289"/>
                <a:gd name="T37" fmla="*/ 171 h 233"/>
                <a:gd name="T38" fmla="*/ 258 w 289"/>
                <a:gd name="T39" fmla="*/ 157 h 233"/>
                <a:gd name="T40" fmla="*/ 263 w 289"/>
                <a:gd name="T41" fmla="*/ 129 h 233"/>
                <a:gd name="T42" fmla="*/ 273 w 289"/>
                <a:gd name="T43" fmla="*/ 114 h 233"/>
                <a:gd name="T44" fmla="*/ 270 w 289"/>
                <a:gd name="T45" fmla="*/ 81 h 233"/>
                <a:gd name="T46" fmla="*/ 273 w 289"/>
                <a:gd name="T47" fmla="*/ 67 h 233"/>
                <a:gd name="T48" fmla="*/ 263 w 289"/>
                <a:gd name="T49" fmla="*/ 42 h 233"/>
                <a:gd name="T50" fmla="*/ 266 w 289"/>
                <a:gd name="T51" fmla="*/ 23 h 233"/>
                <a:gd name="T52" fmla="*/ 289 w 289"/>
                <a:gd name="T53" fmla="*/ 0 h 233"/>
                <a:gd name="T54" fmla="*/ 278 w 289"/>
                <a:gd name="T55" fmla="*/ 0 h 233"/>
                <a:gd name="T56" fmla="*/ 253 w 289"/>
                <a:gd name="T57" fmla="*/ 23 h 233"/>
                <a:gd name="T58" fmla="*/ 235 w 289"/>
                <a:gd name="T59" fmla="*/ 33 h 233"/>
                <a:gd name="T60" fmla="*/ 208 w 289"/>
                <a:gd name="T61" fmla="*/ 31 h 233"/>
                <a:gd name="T62" fmla="*/ 201 w 289"/>
                <a:gd name="T63" fmla="*/ 47 h 233"/>
                <a:gd name="T64" fmla="*/ 187 w 289"/>
                <a:gd name="T65" fmla="*/ 59 h 233"/>
                <a:gd name="T66" fmla="*/ 180 w 289"/>
                <a:gd name="T67" fmla="*/ 81 h 233"/>
                <a:gd name="T68" fmla="*/ 167 w 289"/>
                <a:gd name="T69" fmla="*/ 100 h 233"/>
                <a:gd name="T70" fmla="*/ 158 w 289"/>
                <a:gd name="T71" fmla="*/ 109 h 233"/>
                <a:gd name="T72" fmla="*/ 156 w 289"/>
                <a:gd name="T73" fmla="*/ 119 h 233"/>
                <a:gd name="T74" fmla="*/ 141 w 289"/>
                <a:gd name="T75" fmla="*/ 131 h 233"/>
                <a:gd name="T76" fmla="*/ 118 w 289"/>
                <a:gd name="T77" fmla="*/ 135 h 233"/>
                <a:gd name="T78" fmla="*/ 94 w 289"/>
                <a:gd name="T79" fmla="*/ 129 h 233"/>
                <a:gd name="T80" fmla="*/ 79 w 289"/>
                <a:gd name="T81" fmla="*/ 138 h 233"/>
                <a:gd name="T82" fmla="*/ 67 w 289"/>
                <a:gd name="T83" fmla="*/ 145 h 233"/>
                <a:gd name="T84" fmla="*/ 46 w 289"/>
                <a:gd name="T85" fmla="*/ 138 h 233"/>
                <a:gd name="T86" fmla="*/ 37 w 289"/>
                <a:gd name="T87" fmla="*/ 152 h 233"/>
                <a:gd name="T88" fmla="*/ 27 w 289"/>
                <a:gd name="T89" fmla="*/ 159 h 233"/>
                <a:gd name="T90" fmla="*/ 17 w 289"/>
                <a:gd name="T91" fmla="*/ 176 h 233"/>
                <a:gd name="T92" fmla="*/ 5 w 289"/>
                <a:gd name="T93" fmla="*/ 202 h 233"/>
                <a:gd name="T94" fmla="*/ 0 w 289"/>
                <a:gd name="T95" fmla="*/ 229 h 233"/>
                <a:gd name="T96" fmla="*/ 6 w 289"/>
                <a:gd name="T97" fmla="*/ 217 h 233"/>
                <a:gd name="T98" fmla="*/ 15 w 289"/>
                <a:gd name="T99" fmla="*/ 229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89" h="233">
                  <a:moveTo>
                    <a:pt x="15" y="229"/>
                  </a:moveTo>
                  <a:lnTo>
                    <a:pt x="24" y="233"/>
                  </a:lnTo>
                  <a:lnTo>
                    <a:pt x="34" y="224"/>
                  </a:lnTo>
                  <a:lnTo>
                    <a:pt x="34" y="209"/>
                  </a:lnTo>
                  <a:lnTo>
                    <a:pt x="48" y="203"/>
                  </a:lnTo>
                  <a:lnTo>
                    <a:pt x="53" y="178"/>
                  </a:lnTo>
                  <a:lnTo>
                    <a:pt x="65" y="176"/>
                  </a:lnTo>
                  <a:lnTo>
                    <a:pt x="75" y="166"/>
                  </a:lnTo>
                  <a:lnTo>
                    <a:pt x="93" y="164"/>
                  </a:lnTo>
                  <a:lnTo>
                    <a:pt x="106" y="159"/>
                  </a:lnTo>
                  <a:lnTo>
                    <a:pt x="123" y="169"/>
                  </a:lnTo>
                  <a:lnTo>
                    <a:pt x="132" y="160"/>
                  </a:lnTo>
                  <a:lnTo>
                    <a:pt x="151" y="157"/>
                  </a:lnTo>
                  <a:lnTo>
                    <a:pt x="168" y="157"/>
                  </a:lnTo>
                  <a:lnTo>
                    <a:pt x="177" y="152"/>
                  </a:lnTo>
                  <a:lnTo>
                    <a:pt x="196" y="152"/>
                  </a:lnTo>
                  <a:lnTo>
                    <a:pt x="208" y="145"/>
                  </a:lnTo>
                  <a:lnTo>
                    <a:pt x="222" y="152"/>
                  </a:lnTo>
                  <a:lnTo>
                    <a:pt x="249" y="171"/>
                  </a:lnTo>
                  <a:lnTo>
                    <a:pt x="258" y="157"/>
                  </a:lnTo>
                  <a:lnTo>
                    <a:pt x="263" y="129"/>
                  </a:lnTo>
                  <a:lnTo>
                    <a:pt x="273" y="114"/>
                  </a:lnTo>
                  <a:lnTo>
                    <a:pt x="270" y="81"/>
                  </a:lnTo>
                  <a:lnTo>
                    <a:pt x="273" y="67"/>
                  </a:lnTo>
                  <a:lnTo>
                    <a:pt x="263" y="42"/>
                  </a:lnTo>
                  <a:lnTo>
                    <a:pt x="266" y="23"/>
                  </a:lnTo>
                  <a:lnTo>
                    <a:pt x="289" y="0"/>
                  </a:lnTo>
                  <a:lnTo>
                    <a:pt x="278" y="0"/>
                  </a:lnTo>
                  <a:lnTo>
                    <a:pt x="253" y="23"/>
                  </a:lnTo>
                  <a:lnTo>
                    <a:pt x="235" y="33"/>
                  </a:lnTo>
                  <a:lnTo>
                    <a:pt x="208" y="31"/>
                  </a:lnTo>
                  <a:lnTo>
                    <a:pt x="201" y="47"/>
                  </a:lnTo>
                  <a:lnTo>
                    <a:pt x="187" y="59"/>
                  </a:lnTo>
                  <a:lnTo>
                    <a:pt x="180" y="81"/>
                  </a:lnTo>
                  <a:lnTo>
                    <a:pt x="167" y="100"/>
                  </a:lnTo>
                  <a:lnTo>
                    <a:pt x="158" y="109"/>
                  </a:lnTo>
                  <a:lnTo>
                    <a:pt x="156" y="119"/>
                  </a:lnTo>
                  <a:lnTo>
                    <a:pt x="141" y="131"/>
                  </a:lnTo>
                  <a:lnTo>
                    <a:pt x="118" y="135"/>
                  </a:lnTo>
                  <a:lnTo>
                    <a:pt x="94" y="129"/>
                  </a:lnTo>
                  <a:lnTo>
                    <a:pt x="79" y="138"/>
                  </a:lnTo>
                  <a:lnTo>
                    <a:pt x="67" y="145"/>
                  </a:lnTo>
                  <a:lnTo>
                    <a:pt x="46" y="138"/>
                  </a:lnTo>
                  <a:lnTo>
                    <a:pt x="37" y="152"/>
                  </a:lnTo>
                  <a:lnTo>
                    <a:pt x="27" y="159"/>
                  </a:lnTo>
                  <a:lnTo>
                    <a:pt x="17" y="176"/>
                  </a:lnTo>
                  <a:lnTo>
                    <a:pt x="5" y="202"/>
                  </a:lnTo>
                  <a:lnTo>
                    <a:pt x="0" y="229"/>
                  </a:lnTo>
                  <a:lnTo>
                    <a:pt x="6" y="217"/>
                  </a:lnTo>
                  <a:lnTo>
                    <a:pt x="15" y="22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7" name="Freeform 848">
              <a:extLst>
                <a:ext uri="{FF2B5EF4-FFF2-40B4-BE49-F238E27FC236}">
                  <a16:creationId xmlns:a16="http://schemas.microsoft.com/office/drawing/2014/main" id="{5D7FC6F3-9F7D-48E9-AB21-E73204817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3025" y="3257551"/>
              <a:ext cx="65088" cy="93663"/>
            </a:xfrm>
            <a:custGeom>
              <a:avLst/>
              <a:gdLst>
                <a:gd name="T0" fmla="*/ 36 w 41"/>
                <a:gd name="T1" fmla="*/ 0 h 59"/>
                <a:gd name="T2" fmla="*/ 28 w 41"/>
                <a:gd name="T3" fmla="*/ 11 h 59"/>
                <a:gd name="T4" fmla="*/ 16 w 41"/>
                <a:gd name="T5" fmla="*/ 12 h 59"/>
                <a:gd name="T6" fmla="*/ 9 w 41"/>
                <a:gd name="T7" fmla="*/ 28 h 59"/>
                <a:gd name="T8" fmla="*/ 0 w 41"/>
                <a:gd name="T9" fmla="*/ 38 h 59"/>
                <a:gd name="T10" fmla="*/ 4 w 41"/>
                <a:gd name="T11" fmla="*/ 48 h 59"/>
                <a:gd name="T12" fmla="*/ 12 w 41"/>
                <a:gd name="T13" fmla="*/ 59 h 59"/>
                <a:gd name="T14" fmla="*/ 21 w 41"/>
                <a:gd name="T15" fmla="*/ 55 h 59"/>
                <a:gd name="T16" fmla="*/ 28 w 41"/>
                <a:gd name="T17" fmla="*/ 47 h 59"/>
                <a:gd name="T18" fmla="*/ 41 w 41"/>
                <a:gd name="T19" fmla="*/ 30 h 59"/>
                <a:gd name="T20" fmla="*/ 35 w 41"/>
                <a:gd name="T21" fmla="*/ 14 h 59"/>
                <a:gd name="T22" fmla="*/ 41 w 41"/>
                <a:gd name="T23" fmla="*/ 9 h 59"/>
                <a:gd name="T24" fmla="*/ 36 w 41"/>
                <a:gd name="T25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59">
                  <a:moveTo>
                    <a:pt x="36" y="0"/>
                  </a:moveTo>
                  <a:lnTo>
                    <a:pt x="28" y="11"/>
                  </a:lnTo>
                  <a:lnTo>
                    <a:pt x="16" y="12"/>
                  </a:lnTo>
                  <a:lnTo>
                    <a:pt x="9" y="28"/>
                  </a:lnTo>
                  <a:lnTo>
                    <a:pt x="0" y="38"/>
                  </a:lnTo>
                  <a:lnTo>
                    <a:pt x="4" y="48"/>
                  </a:lnTo>
                  <a:lnTo>
                    <a:pt x="12" y="59"/>
                  </a:lnTo>
                  <a:lnTo>
                    <a:pt x="21" y="55"/>
                  </a:lnTo>
                  <a:lnTo>
                    <a:pt x="28" y="47"/>
                  </a:lnTo>
                  <a:lnTo>
                    <a:pt x="41" y="30"/>
                  </a:lnTo>
                  <a:lnTo>
                    <a:pt x="35" y="14"/>
                  </a:lnTo>
                  <a:lnTo>
                    <a:pt x="41" y="9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8" name="Freeform 849">
              <a:extLst>
                <a:ext uri="{FF2B5EF4-FFF2-40B4-BE49-F238E27FC236}">
                  <a16:creationId xmlns:a16="http://schemas.microsoft.com/office/drawing/2014/main" id="{E93F2ECA-B070-4790-9C2F-CCFDBC2CA1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3975" y="3343276"/>
              <a:ext cx="30163" cy="34925"/>
            </a:xfrm>
            <a:custGeom>
              <a:avLst/>
              <a:gdLst>
                <a:gd name="T0" fmla="*/ 0 w 19"/>
                <a:gd name="T1" fmla="*/ 8 h 22"/>
                <a:gd name="T2" fmla="*/ 9 w 19"/>
                <a:gd name="T3" fmla="*/ 22 h 22"/>
                <a:gd name="T4" fmla="*/ 19 w 19"/>
                <a:gd name="T5" fmla="*/ 19 h 22"/>
                <a:gd name="T6" fmla="*/ 19 w 19"/>
                <a:gd name="T7" fmla="*/ 8 h 22"/>
                <a:gd name="T8" fmla="*/ 9 w 19"/>
                <a:gd name="T9" fmla="*/ 0 h 22"/>
                <a:gd name="T10" fmla="*/ 0 w 19"/>
                <a:gd name="T11" fmla="*/ 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2">
                  <a:moveTo>
                    <a:pt x="0" y="8"/>
                  </a:moveTo>
                  <a:lnTo>
                    <a:pt x="9" y="22"/>
                  </a:lnTo>
                  <a:lnTo>
                    <a:pt x="19" y="19"/>
                  </a:lnTo>
                  <a:lnTo>
                    <a:pt x="19" y="8"/>
                  </a:lnTo>
                  <a:lnTo>
                    <a:pt x="9" y="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19" name="Freeform 850">
              <a:extLst>
                <a:ext uri="{FF2B5EF4-FFF2-40B4-BE49-F238E27FC236}">
                  <a16:creationId xmlns:a16="http://schemas.microsoft.com/office/drawing/2014/main" id="{67F34132-1B85-4AE5-8D7C-D5C450E2B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0038" y="3700463"/>
              <a:ext cx="200025" cy="198438"/>
            </a:xfrm>
            <a:custGeom>
              <a:avLst/>
              <a:gdLst>
                <a:gd name="T0" fmla="*/ 91 w 126"/>
                <a:gd name="T1" fmla="*/ 125 h 125"/>
                <a:gd name="T2" fmla="*/ 105 w 126"/>
                <a:gd name="T3" fmla="*/ 122 h 125"/>
                <a:gd name="T4" fmla="*/ 115 w 126"/>
                <a:gd name="T5" fmla="*/ 119 h 125"/>
                <a:gd name="T6" fmla="*/ 122 w 126"/>
                <a:gd name="T7" fmla="*/ 103 h 125"/>
                <a:gd name="T8" fmla="*/ 126 w 126"/>
                <a:gd name="T9" fmla="*/ 77 h 125"/>
                <a:gd name="T10" fmla="*/ 126 w 126"/>
                <a:gd name="T11" fmla="*/ 62 h 125"/>
                <a:gd name="T12" fmla="*/ 112 w 126"/>
                <a:gd name="T13" fmla="*/ 41 h 125"/>
                <a:gd name="T14" fmla="*/ 115 w 126"/>
                <a:gd name="T15" fmla="*/ 33 h 125"/>
                <a:gd name="T16" fmla="*/ 102 w 126"/>
                <a:gd name="T17" fmla="*/ 26 h 125"/>
                <a:gd name="T18" fmla="*/ 98 w 126"/>
                <a:gd name="T19" fmla="*/ 34 h 125"/>
                <a:gd name="T20" fmla="*/ 77 w 126"/>
                <a:gd name="T21" fmla="*/ 38 h 125"/>
                <a:gd name="T22" fmla="*/ 88 w 126"/>
                <a:gd name="T23" fmla="*/ 27 h 125"/>
                <a:gd name="T24" fmla="*/ 84 w 126"/>
                <a:gd name="T25" fmla="*/ 19 h 125"/>
                <a:gd name="T26" fmla="*/ 95 w 126"/>
                <a:gd name="T27" fmla="*/ 14 h 125"/>
                <a:gd name="T28" fmla="*/ 107 w 126"/>
                <a:gd name="T29" fmla="*/ 19 h 125"/>
                <a:gd name="T30" fmla="*/ 98 w 126"/>
                <a:gd name="T31" fmla="*/ 7 h 125"/>
                <a:gd name="T32" fmla="*/ 83 w 126"/>
                <a:gd name="T33" fmla="*/ 5 h 125"/>
                <a:gd name="T34" fmla="*/ 59 w 126"/>
                <a:gd name="T35" fmla="*/ 0 h 125"/>
                <a:gd name="T36" fmla="*/ 38 w 126"/>
                <a:gd name="T37" fmla="*/ 3 h 125"/>
                <a:gd name="T38" fmla="*/ 24 w 126"/>
                <a:gd name="T39" fmla="*/ 15 h 125"/>
                <a:gd name="T40" fmla="*/ 16 w 126"/>
                <a:gd name="T41" fmla="*/ 22 h 125"/>
                <a:gd name="T42" fmla="*/ 2 w 126"/>
                <a:gd name="T43" fmla="*/ 15 h 125"/>
                <a:gd name="T44" fmla="*/ 0 w 126"/>
                <a:gd name="T45" fmla="*/ 27 h 125"/>
                <a:gd name="T46" fmla="*/ 5 w 126"/>
                <a:gd name="T47" fmla="*/ 43 h 125"/>
                <a:gd name="T48" fmla="*/ 17 w 126"/>
                <a:gd name="T49" fmla="*/ 48 h 125"/>
                <a:gd name="T50" fmla="*/ 14 w 126"/>
                <a:gd name="T51" fmla="*/ 65 h 125"/>
                <a:gd name="T52" fmla="*/ 16 w 126"/>
                <a:gd name="T53" fmla="*/ 79 h 125"/>
                <a:gd name="T54" fmla="*/ 33 w 126"/>
                <a:gd name="T55" fmla="*/ 93 h 125"/>
                <a:gd name="T56" fmla="*/ 41 w 126"/>
                <a:gd name="T57" fmla="*/ 93 h 125"/>
                <a:gd name="T58" fmla="*/ 52 w 126"/>
                <a:gd name="T59" fmla="*/ 108 h 125"/>
                <a:gd name="T60" fmla="*/ 72 w 126"/>
                <a:gd name="T61" fmla="*/ 122 h 125"/>
                <a:gd name="T62" fmla="*/ 91 w 126"/>
                <a:gd name="T63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6" h="125">
                  <a:moveTo>
                    <a:pt x="91" y="125"/>
                  </a:moveTo>
                  <a:lnTo>
                    <a:pt x="105" y="122"/>
                  </a:lnTo>
                  <a:lnTo>
                    <a:pt x="115" y="119"/>
                  </a:lnTo>
                  <a:lnTo>
                    <a:pt x="122" y="103"/>
                  </a:lnTo>
                  <a:lnTo>
                    <a:pt x="126" y="77"/>
                  </a:lnTo>
                  <a:lnTo>
                    <a:pt x="126" y="62"/>
                  </a:lnTo>
                  <a:lnTo>
                    <a:pt x="112" y="41"/>
                  </a:lnTo>
                  <a:lnTo>
                    <a:pt x="115" y="33"/>
                  </a:lnTo>
                  <a:lnTo>
                    <a:pt x="102" y="26"/>
                  </a:lnTo>
                  <a:lnTo>
                    <a:pt x="98" y="34"/>
                  </a:lnTo>
                  <a:lnTo>
                    <a:pt x="77" y="38"/>
                  </a:lnTo>
                  <a:lnTo>
                    <a:pt x="88" y="27"/>
                  </a:lnTo>
                  <a:lnTo>
                    <a:pt x="84" y="19"/>
                  </a:lnTo>
                  <a:lnTo>
                    <a:pt x="95" y="14"/>
                  </a:lnTo>
                  <a:lnTo>
                    <a:pt x="107" y="19"/>
                  </a:lnTo>
                  <a:lnTo>
                    <a:pt x="98" y="7"/>
                  </a:lnTo>
                  <a:lnTo>
                    <a:pt x="83" y="5"/>
                  </a:lnTo>
                  <a:lnTo>
                    <a:pt x="59" y="0"/>
                  </a:lnTo>
                  <a:lnTo>
                    <a:pt x="38" y="3"/>
                  </a:lnTo>
                  <a:lnTo>
                    <a:pt x="24" y="15"/>
                  </a:lnTo>
                  <a:lnTo>
                    <a:pt x="16" y="22"/>
                  </a:lnTo>
                  <a:lnTo>
                    <a:pt x="2" y="15"/>
                  </a:lnTo>
                  <a:lnTo>
                    <a:pt x="0" y="27"/>
                  </a:lnTo>
                  <a:lnTo>
                    <a:pt x="5" y="43"/>
                  </a:lnTo>
                  <a:lnTo>
                    <a:pt x="17" y="48"/>
                  </a:lnTo>
                  <a:lnTo>
                    <a:pt x="14" y="65"/>
                  </a:lnTo>
                  <a:lnTo>
                    <a:pt x="16" y="79"/>
                  </a:lnTo>
                  <a:lnTo>
                    <a:pt x="33" y="93"/>
                  </a:lnTo>
                  <a:lnTo>
                    <a:pt x="41" y="93"/>
                  </a:lnTo>
                  <a:lnTo>
                    <a:pt x="52" y="108"/>
                  </a:lnTo>
                  <a:lnTo>
                    <a:pt x="72" y="122"/>
                  </a:lnTo>
                  <a:lnTo>
                    <a:pt x="91" y="125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0" name="Freeform 851">
              <a:extLst>
                <a:ext uri="{FF2B5EF4-FFF2-40B4-BE49-F238E27FC236}">
                  <a16:creationId xmlns:a16="http://schemas.microsoft.com/office/drawing/2014/main" id="{A102F630-7BD7-4BA5-8428-4B3EC4D15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0988" y="3883026"/>
              <a:ext cx="79375" cy="74613"/>
            </a:xfrm>
            <a:custGeom>
              <a:avLst/>
              <a:gdLst>
                <a:gd name="T0" fmla="*/ 29 w 50"/>
                <a:gd name="T1" fmla="*/ 12 h 47"/>
                <a:gd name="T2" fmla="*/ 19 w 50"/>
                <a:gd name="T3" fmla="*/ 0 h 47"/>
                <a:gd name="T4" fmla="*/ 0 w 50"/>
                <a:gd name="T5" fmla="*/ 5 h 47"/>
                <a:gd name="T6" fmla="*/ 10 w 50"/>
                <a:gd name="T7" fmla="*/ 16 h 47"/>
                <a:gd name="T8" fmla="*/ 19 w 50"/>
                <a:gd name="T9" fmla="*/ 19 h 47"/>
                <a:gd name="T10" fmla="*/ 22 w 50"/>
                <a:gd name="T11" fmla="*/ 29 h 47"/>
                <a:gd name="T12" fmla="*/ 21 w 50"/>
                <a:gd name="T13" fmla="*/ 40 h 47"/>
                <a:gd name="T14" fmla="*/ 33 w 50"/>
                <a:gd name="T15" fmla="*/ 47 h 47"/>
                <a:gd name="T16" fmla="*/ 50 w 50"/>
                <a:gd name="T17" fmla="*/ 40 h 47"/>
                <a:gd name="T18" fmla="*/ 38 w 50"/>
                <a:gd name="T19" fmla="*/ 14 h 47"/>
                <a:gd name="T20" fmla="*/ 29 w 50"/>
                <a:gd name="T21" fmla="*/ 1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7">
                  <a:moveTo>
                    <a:pt x="29" y="12"/>
                  </a:moveTo>
                  <a:lnTo>
                    <a:pt x="19" y="0"/>
                  </a:lnTo>
                  <a:lnTo>
                    <a:pt x="0" y="5"/>
                  </a:lnTo>
                  <a:lnTo>
                    <a:pt x="10" y="16"/>
                  </a:lnTo>
                  <a:lnTo>
                    <a:pt x="19" y="19"/>
                  </a:lnTo>
                  <a:lnTo>
                    <a:pt x="22" y="29"/>
                  </a:lnTo>
                  <a:lnTo>
                    <a:pt x="21" y="40"/>
                  </a:lnTo>
                  <a:lnTo>
                    <a:pt x="33" y="47"/>
                  </a:lnTo>
                  <a:lnTo>
                    <a:pt x="50" y="40"/>
                  </a:lnTo>
                  <a:lnTo>
                    <a:pt x="38" y="14"/>
                  </a:lnTo>
                  <a:lnTo>
                    <a:pt x="29" y="1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1" name="Freeform 852">
              <a:extLst>
                <a:ext uri="{FF2B5EF4-FFF2-40B4-BE49-F238E27FC236}">
                  <a16:creationId xmlns:a16="http://schemas.microsoft.com/office/drawing/2014/main" id="{887F91EE-D1C4-4B35-B5CE-613F30F711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0525" y="3935413"/>
              <a:ext cx="53975" cy="34925"/>
            </a:xfrm>
            <a:custGeom>
              <a:avLst/>
              <a:gdLst>
                <a:gd name="T0" fmla="*/ 20 w 34"/>
                <a:gd name="T1" fmla="*/ 22 h 22"/>
                <a:gd name="T2" fmla="*/ 34 w 34"/>
                <a:gd name="T3" fmla="*/ 15 h 22"/>
                <a:gd name="T4" fmla="*/ 0 w 34"/>
                <a:gd name="T5" fmla="*/ 0 h 22"/>
                <a:gd name="T6" fmla="*/ 20 w 34"/>
                <a:gd name="T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22">
                  <a:moveTo>
                    <a:pt x="20" y="22"/>
                  </a:moveTo>
                  <a:lnTo>
                    <a:pt x="34" y="15"/>
                  </a:lnTo>
                  <a:lnTo>
                    <a:pt x="0" y="0"/>
                  </a:lnTo>
                  <a:lnTo>
                    <a:pt x="20" y="2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2" name="Freeform 853">
              <a:extLst>
                <a:ext uri="{FF2B5EF4-FFF2-40B4-BE49-F238E27FC236}">
                  <a16:creationId xmlns:a16="http://schemas.microsoft.com/office/drawing/2014/main" id="{614731C0-5BBE-41F9-BDB1-05FACBA28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9900" y="3856038"/>
              <a:ext cx="60325" cy="139700"/>
            </a:xfrm>
            <a:custGeom>
              <a:avLst/>
              <a:gdLst>
                <a:gd name="T0" fmla="*/ 17 w 38"/>
                <a:gd name="T1" fmla="*/ 29 h 88"/>
                <a:gd name="T2" fmla="*/ 3 w 38"/>
                <a:gd name="T3" fmla="*/ 48 h 88"/>
                <a:gd name="T4" fmla="*/ 8 w 38"/>
                <a:gd name="T5" fmla="*/ 58 h 88"/>
                <a:gd name="T6" fmla="*/ 0 w 38"/>
                <a:gd name="T7" fmla="*/ 67 h 88"/>
                <a:gd name="T8" fmla="*/ 7 w 38"/>
                <a:gd name="T9" fmla="*/ 88 h 88"/>
                <a:gd name="T10" fmla="*/ 20 w 38"/>
                <a:gd name="T11" fmla="*/ 46 h 88"/>
                <a:gd name="T12" fmla="*/ 38 w 38"/>
                <a:gd name="T13" fmla="*/ 3 h 88"/>
                <a:gd name="T14" fmla="*/ 31 w 38"/>
                <a:gd name="T15" fmla="*/ 0 h 88"/>
                <a:gd name="T16" fmla="*/ 17 w 38"/>
                <a:gd name="T17" fmla="*/ 2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88">
                  <a:moveTo>
                    <a:pt x="17" y="29"/>
                  </a:moveTo>
                  <a:lnTo>
                    <a:pt x="3" y="48"/>
                  </a:lnTo>
                  <a:lnTo>
                    <a:pt x="8" y="58"/>
                  </a:lnTo>
                  <a:lnTo>
                    <a:pt x="0" y="67"/>
                  </a:lnTo>
                  <a:lnTo>
                    <a:pt x="7" y="88"/>
                  </a:lnTo>
                  <a:lnTo>
                    <a:pt x="20" y="46"/>
                  </a:lnTo>
                  <a:lnTo>
                    <a:pt x="38" y="3"/>
                  </a:lnTo>
                  <a:lnTo>
                    <a:pt x="31" y="0"/>
                  </a:lnTo>
                  <a:lnTo>
                    <a:pt x="17" y="2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3" name="Freeform 854">
              <a:extLst>
                <a:ext uri="{FF2B5EF4-FFF2-40B4-BE49-F238E27FC236}">
                  <a16:creationId xmlns:a16="http://schemas.microsoft.com/office/drawing/2014/main" id="{7B14C807-3B63-43D9-8EEC-953DE5EDAD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500" y="3902076"/>
              <a:ext cx="30163" cy="26988"/>
            </a:xfrm>
            <a:custGeom>
              <a:avLst/>
              <a:gdLst>
                <a:gd name="T0" fmla="*/ 12 w 19"/>
                <a:gd name="T1" fmla="*/ 0 h 17"/>
                <a:gd name="T2" fmla="*/ 0 w 19"/>
                <a:gd name="T3" fmla="*/ 5 h 17"/>
                <a:gd name="T4" fmla="*/ 5 w 19"/>
                <a:gd name="T5" fmla="*/ 17 h 17"/>
                <a:gd name="T6" fmla="*/ 19 w 19"/>
                <a:gd name="T7" fmla="*/ 10 h 17"/>
                <a:gd name="T8" fmla="*/ 12 w 19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7">
                  <a:moveTo>
                    <a:pt x="12" y="0"/>
                  </a:moveTo>
                  <a:lnTo>
                    <a:pt x="0" y="5"/>
                  </a:lnTo>
                  <a:lnTo>
                    <a:pt x="5" y="17"/>
                  </a:lnTo>
                  <a:lnTo>
                    <a:pt x="19" y="1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4" name="Freeform 855">
              <a:extLst>
                <a:ext uri="{FF2B5EF4-FFF2-40B4-BE49-F238E27FC236}">
                  <a16:creationId xmlns:a16="http://schemas.microsoft.com/office/drawing/2014/main" id="{C05C4F81-010A-4340-8EE8-6F1FC3041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500" y="3579813"/>
              <a:ext cx="36513" cy="82550"/>
            </a:xfrm>
            <a:custGeom>
              <a:avLst/>
              <a:gdLst>
                <a:gd name="T0" fmla="*/ 16 w 23"/>
                <a:gd name="T1" fmla="*/ 29 h 52"/>
                <a:gd name="T2" fmla="*/ 23 w 23"/>
                <a:gd name="T3" fmla="*/ 23 h 52"/>
                <a:gd name="T4" fmla="*/ 11 w 23"/>
                <a:gd name="T5" fmla="*/ 11 h 52"/>
                <a:gd name="T6" fmla="*/ 11 w 23"/>
                <a:gd name="T7" fmla="*/ 0 h 52"/>
                <a:gd name="T8" fmla="*/ 2 w 23"/>
                <a:gd name="T9" fmla="*/ 0 h 52"/>
                <a:gd name="T10" fmla="*/ 2 w 23"/>
                <a:gd name="T11" fmla="*/ 12 h 52"/>
                <a:gd name="T12" fmla="*/ 11 w 23"/>
                <a:gd name="T13" fmla="*/ 24 h 52"/>
                <a:gd name="T14" fmla="*/ 2 w 23"/>
                <a:gd name="T15" fmla="*/ 31 h 52"/>
                <a:gd name="T16" fmla="*/ 0 w 23"/>
                <a:gd name="T17" fmla="*/ 47 h 52"/>
                <a:gd name="T18" fmla="*/ 16 w 23"/>
                <a:gd name="T19" fmla="*/ 52 h 52"/>
                <a:gd name="T20" fmla="*/ 16 w 23"/>
                <a:gd name="T21" fmla="*/ 2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52">
                  <a:moveTo>
                    <a:pt x="16" y="29"/>
                  </a:moveTo>
                  <a:lnTo>
                    <a:pt x="23" y="23"/>
                  </a:lnTo>
                  <a:lnTo>
                    <a:pt x="11" y="11"/>
                  </a:lnTo>
                  <a:lnTo>
                    <a:pt x="11" y="0"/>
                  </a:lnTo>
                  <a:lnTo>
                    <a:pt x="2" y="0"/>
                  </a:lnTo>
                  <a:lnTo>
                    <a:pt x="2" y="12"/>
                  </a:lnTo>
                  <a:lnTo>
                    <a:pt x="11" y="24"/>
                  </a:lnTo>
                  <a:lnTo>
                    <a:pt x="2" y="31"/>
                  </a:lnTo>
                  <a:lnTo>
                    <a:pt x="0" y="47"/>
                  </a:lnTo>
                  <a:lnTo>
                    <a:pt x="16" y="52"/>
                  </a:lnTo>
                  <a:lnTo>
                    <a:pt x="16" y="29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5" name="Freeform 856">
              <a:extLst>
                <a:ext uri="{FF2B5EF4-FFF2-40B4-BE49-F238E27FC236}">
                  <a16:creationId xmlns:a16="http://schemas.microsoft.com/office/drawing/2014/main" id="{C7FBAE1E-FEE8-422C-81FF-6E898210FF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2763" y="3121026"/>
              <a:ext cx="57150" cy="38100"/>
            </a:xfrm>
            <a:custGeom>
              <a:avLst/>
              <a:gdLst>
                <a:gd name="T0" fmla="*/ 23 w 36"/>
                <a:gd name="T1" fmla="*/ 21 h 24"/>
                <a:gd name="T2" fmla="*/ 24 w 36"/>
                <a:gd name="T3" fmla="*/ 11 h 24"/>
                <a:gd name="T4" fmla="*/ 33 w 36"/>
                <a:gd name="T5" fmla="*/ 9 h 24"/>
                <a:gd name="T6" fmla="*/ 36 w 36"/>
                <a:gd name="T7" fmla="*/ 0 h 24"/>
                <a:gd name="T8" fmla="*/ 19 w 36"/>
                <a:gd name="T9" fmla="*/ 2 h 24"/>
                <a:gd name="T10" fmla="*/ 11 w 36"/>
                <a:gd name="T11" fmla="*/ 7 h 24"/>
                <a:gd name="T12" fmla="*/ 0 w 36"/>
                <a:gd name="T13" fmla="*/ 16 h 24"/>
                <a:gd name="T14" fmla="*/ 11 w 36"/>
                <a:gd name="T15" fmla="*/ 24 h 24"/>
                <a:gd name="T16" fmla="*/ 23 w 36"/>
                <a:gd name="T17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4">
                  <a:moveTo>
                    <a:pt x="23" y="21"/>
                  </a:moveTo>
                  <a:lnTo>
                    <a:pt x="24" y="11"/>
                  </a:lnTo>
                  <a:lnTo>
                    <a:pt x="33" y="9"/>
                  </a:lnTo>
                  <a:lnTo>
                    <a:pt x="3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0" y="16"/>
                  </a:lnTo>
                  <a:lnTo>
                    <a:pt x="11" y="24"/>
                  </a:lnTo>
                  <a:lnTo>
                    <a:pt x="23" y="21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6" name="Freeform 857">
              <a:extLst>
                <a:ext uri="{FF2B5EF4-FFF2-40B4-BE49-F238E27FC236}">
                  <a16:creationId xmlns:a16="http://schemas.microsoft.com/office/drawing/2014/main" id="{1C734DD6-E197-4FD0-8601-E4FB63D4F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225" y="3927476"/>
              <a:ext cx="163513" cy="107950"/>
            </a:xfrm>
            <a:custGeom>
              <a:avLst/>
              <a:gdLst>
                <a:gd name="T0" fmla="*/ 84 w 103"/>
                <a:gd name="T1" fmla="*/ 12 h 68"/>
                <a:gd name="T2" fmla="*/ 79 w 103"/>
                <a:gd name="T3" fmla="*/ 20 h 68"/>
                <a:gd name="T4" fmla="*/ 65 w 103"/>
                <a:gd name="T5" fmla="*/ 27 h 68"/>
                <a:gd name="T6" fmla="*/ 56 w 103"/>
                <a:gd name="T7" fmla="*/ 17 h 68"/>
                <a:gd name="T8" fmla="*/ 37 w 103"/>
                <a:gd name="T9" fmla="*/ 0 h 68"/>
                <a:gd name="T10" fmla="*/ 13 w 103"/>
                <a:gd name="T11" fmla="*/ 1 h 68"/>
                <a:gd name="T12" fmla="*/ 8 w 103"/>
                <a:gd name="T13" fmla="*/ 12 h 68"/>
                <a:gd name="T14" fmla="*/ 19 w 103"/>
                <a:gd name="T15" fmla="*/ 24 h 68"/>
                <a:gd name="T16" fmla="*/ 13 w 103"/>
                <a:gd name="T17" fmla="*/ 31 h 68"/>
                <a:gd name="T18" fmla="*/ 0 w 103"/>
                <a:gd name="T19" fmla="*/ 31 h 68"/>
                <a:gd name="T20" fmla="*/ 5 w 103"/>
                <a:gd name="T21" fmla="*/ 41 h 68"/>
                <a:gd name="T22" fmla="*/ 25 w 103"/>
                <a:gd name="T23" fmla="*/ 44 h 68"/>
                <a:gd name="T24" fmla="*/ 41 w 103"/>
                <a:gd name="T25" fmla="*/ 55 h 68"/>
                <a:gd name="T26" fmla="*/ 60 w 103"/>
                <a:gd name="T27" fmla="*/ 68 h 68"/>
                <a:gd name="T28" fmla="*/ 74 w 103"/>
                <a:gd name="T29" fmla="*/ 60 h 68"/>
                <a:gd name="T30" fmla="*/ 84 w 103"/>
                <a:gd name="T31" fmla="*/ 60 h 68"/>
                <a:gd name="T32" fmla="*/ 98 w 103"/>
                <a:gd name="T33" fmla="*/ 62 h 68"/>
                <a:gd name="T34" fmla="*/ 103 w 103"/>
                <a:gd name="T35" fmla="*/ 41 h 68"/>
                <a:gd name="T36" fmla="*/ 94 w 103"/>
                <a:gd name="T37" fmla="*/ 22 h 68"/>
                <a:gd name="T38" fmla="*/ 84 w 103"/>
                <a:gd name="T39" fmla="*/ 1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3" h="68">
                  <a:moveTo>
                    <a:pt x="84" y="12"/>
                  </a:moveTo>
                  <a:lnTo>
                    <a:pt x="79" y="20"/>
                  </a:lnTo>
                  <a:lnTo>
                    <a:pt x="65" y="27"/>
                  </a:lnTo>
                  <a:lnTo>
                    <a:pt x="56" y="17"/>
                  </a:lnTo>
                  <a:lnTo>
                    <a:pt x="37" y="0"/>
                  </a:lnTo>
                  <a:lnTo>
                    <a:pt x="13" y="1"/>
                  </a:lnTo>
                  <a:lnTo>
                    <a:pt x="8" y="12"/>
                  </a:lnTo>
                  <a:lnTo>
                    <a:pt x="19" y="24"/>
                  </a:lnTo>
                  <a:lnTo>
                    <a:pt x="13" y="31"/>
                  </a:lnTo>
                  <a:lnTo>
                    <a:pt x="0" y="31"/>
                  </a:lnTo>
                  <a:lnTo>
                    <a:pt x="5" y="41"/>
                  </a:lnTo>
                  <a:lnTo>
                    <a:pt x="25" y="44"/>
                  </a:lnTo>
                  <a:lnTo>
                    <a:pt x="41" y="55"/>
                  </a:lnTo>
                  <a:lnTo>
                    <a:pt x="60" y="68"/>
                  </a:lnTo>
                  <a:lnTo>
                    <a:pt x="74" y="60"/>
                  </a:lnTo>
                  <a:lnTo>
                    <a:pt x="84" y="60"/>
                  </a:lnTo>
                  <a:lnTo>
                    <a:pt x="98" y="62"/>
                  </a:lnTo>
                  <a:lnTo>
                    <a:pt x="103" y="41"/>
                  </a:lnTo>
                  <a:lnTo>
                    <a:pt x="94" y="22"/>
                  </a:lnTo>
                  <a:lnTo>
                    <a:pt x="84" y="12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7" name="Freeform 858">
              <a:extLst>
                <a:ext uri="{FF2B5EF4-FFF2-40B4-BE49-F238E27FC236}">
                  <a16:creationId xmlns:a16="http://schemas.microsoft.com/office/drawing/2014/main" id="{1443E5A2-9C58-4C99-8421-B8B5DAE886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0950" y="3214688"/>
              <a:ext cx="549275" cy="762000"/>
            </a:xfrm>
            <a:custGeom>
              <a:avLst/>
              <a:gdLst>
                <a:gd name="T0" fmla="*/ 98 w 346"/>
                <a:gd name="T1" fmla="*/ 456 h 480"/>
                <a:gd name="T2" fmla="*/ 156 w 346"/>
                <a:gd name="T3" fmla="*/ 473 h 480"/>
                <a:gd name="T4" fmla="*/ 173 w 346"/>
                <a:gd name="T5" fmla="*/ 462 h 480"/>
                <a:gd name="T6" fmla="*/ 203 w 346"/>
                <a:gd name="T7" fmla="*/ 471 h 480"/>
                <a:gd name="T8" fmla="*/ 206 w 346"/>
                <a:gd name="T9" fmla="*/ 447 h 480"/>
                <a:gd name="T10" fmla="*/ 175 w 346"/>
                <a:gd name="T11" fmla="*/ 421 h 480"/>
                <a:gd name="T12" fmla="*/ 192 w 346"/>
                <a:gd name="T13" fmla="*/ 400 h 480"/>
                <a:gd name="T14" fmla="*/ 189 w 346"/>
                <a:gd name="T15" fmla="*/ 357 h 480"/>
                <a:gd name="T16" fmla="*/ 173 w 346"/>
                <a:gd name="T17" fmla="*/ 335 h 480"/>
                <a:gd name="T18" fmla="*/ 204 w 346"/>
                <a:gd name="T19" fmla="*/ 309 h 480"/>
                <a:gd name="T20" fmla="*/ 175 w 346"/>
                <a:gd name="T21" fmla="*/ 294 h 480"/>
                <a:gd name="T22" fmla="*/ 211 w 346"/>
                <a:gd name="T23" fmla="*/ 301 h 480"/>
                <a:gd name="T24" fmla="*/ 235 w 346"/>
                <a:gd name="T25" fmla="*/ 277 h 480"/>
                <a:gd name="T26" fmla="*/ 218 w 346"/>
                <a:gd name="T27" fmla="*/ 259 h 480"/>
                <a:gd name="T28" fmla="*/ 242 w 346"/>
                <a:gd name="T29" fmla="*/ 253 h 480"/>
                <a:gd name="T30" fmla="*/ 263 w 346"/>
                <a:gd name="T31" fmla="*/ 225 h 480"/>
                <a:gd name="T32" fmla="*/ 260 w 346"/>
                <a:gd name="T33" fmla="*/ 179 h 480"/>
                <a:gd name="T34" fmla="*/ 284 w 346"/>
                <a:gd name="T35" fmla="*/ 182 h 480"/>
                <a:gd name="T36" fmla="*/ 287 w 346"/>
                <a:gd name="T37" fmla="*/ 192 h 480"/>
                <a:gd name="T38" fmla="*/ 294 w 346"/>
                <a:gd name="T39" fmla="*/ 192 h 480"/>
                <a:gd name="T40" fmla="*/ 315 w 346"/>
                <a:gd name="T41" fmla="*/ 198 h 480"/>
                <a:gd name="T42" fmla="*/ 346 w 346"/>
                <a:gd name="T43" fmla="*/ 132 h 480"/>
                <a:gd name="T44" fmla="*/ 289 w 346"/>
                <a:gd name="T45" fmla="*/ 120 h 480"/>
                <a:gd name="T46" fmla="*/ 272 w 346"/>
                <a:gd name="T47" fmla="*/ 94 h 480"/>
                <a:gd name="T48" fmla="*/ 261 w 346"/>
                <a:gd name="T49" fmla="*/ 38 h 480"/>
                <a:gd name="T50" fmla="*/ 218 w 346"/>
                <a:gd name="T51" fmla="*/ 7 h 480"/>
                <a:gd name="T52" fmla="*/ 170 w 346"/>
                <a:gd name="T53" fmla="*/ 8 h 480"/>
                <a:gd name="T54" fmla="*/ 137 w 346"/>
                <a:gd name="T55" fmla="*/ 44 h 480"/>
                <a:gd name="T56" fmla="*/ 141 w 346"/>
                <a:gd name="T57" fmla="*/ 70 h 480"/>
                <a:gd name="T58" fmla="*/ 151 w 346"/>
                <a:gd name="T59" fmla="*/ 94 h 480"/>
                <a:gd name="T60" fmla="*/ 124 w 346"/>
                <a:gd name="T61" fmla="*/ 105 h 480"/>
                <a:gd name="T62" fmla="*/ 124 w 346"/>
                <a:gd name="T63" fmla="*/ 63 h 480"/>
                <a:gd name="T64" fmla="*/ 99 w 346"/>
                <a:gd name="T65" fmla="*/ 65 h 480"/>
                <a:gd name="T66" fmla="*/ 75 w 346"/>
                <a:gd name="T67" fmla="*/ 98 h 480"/>
                <a:gd name="T68" fmla="*/ 74 w 346"/>
                <a:gd name="T69" fmla="*/ 130 h 480"/>
                <a:gd name="T70" fmla="*/ 53 w 346"/>
                <a:gd name="T71" fmla="*/ 112 h 480"/>
                <a:gd name="T72" fmla="*/ 15 w 346"/>
                <a:gd name="T73" fmla="*/ 98 h 480"/>
                <a:gd name="T74" fmla="*/ 5 w 346"/>
                <a:gd name="T75" fmla="*/ 137 h 480"/>
                <a:gd name="T76" fmla="*/ 10 w 346"/>
                <a:gd name="T77" fmla="*/ 230 h 480"/>
                <a:gd name="T78" fmla="*/ 32 w 346"/>
                <a:gd name="T79" fmla="*/ 235 h 480"/>
                <a:gd name="T80" fmla="*/ 22 w 346"/>
                <a:gd name="T81" fmla="*/ 249 h 480"/>
                <a:gd name="T82" fmla="*/ 5 w 346"/>
                <a:gd name="T83" fmla="*/ 239 h 480"/>
                <a:gd name="T84" fmla="*/ 0 w 346"/>
                <a:gd name="T85" fmla="*/ 320 h 480"/>
                <a:gd name="T86" fmla="*/ 29 w 346"/>
                <a:gd name="T87" fmla="*/ 316 h 480"/>
                <a:gd name="T88" fmla="*/ 48 w 346"/>
                <a:gd name="T89" fmla="*/ 344 h 480"/>
                <a:gd name="T90" fmla="*/ 70 w 346"/>
                <a:gd name="T91" fmla="*/ 371 h 480"/>
                <a:gd name="T92" fmla="*/ 72 w 346"/>
                <a:gd name="T93" fmla="*/ 416 h 480"/>
                <a:gd name="T94" fmla="*/ 74 w 346"/>
                <a:gd name="T95" fmla="*/ 457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6" h="480">
                  <a:moveTo>
                    <a:pt x="98" y="456"/>
                  </a:moveTo>
                  <a:lnTo>
                    <a:pt x="98" y="456"/>
                  </a:lnTo>
                  <a:lnTo>
                    <a:pt x="98" y="456"/>
                  </a:lnTo>
                  <a:lnTo>
                    <a:pt x="141" y="468"/>
                  </a:lnTo>
                  <a:lnTo>
                    <a:pt x="144" y="480"/>
                  </a:lnTo>
                  <a:lnTo>
                    <a:pt x="156" y="473"/>
                  </a:lnTo>
                  <a:lnTo>
                    <a:pt x="165" y="473"/>
                  </a:lnTo>
                  <a:lnTo>
                    <a:pt x="165" y="473"/>
                  </a:lnTo>
                  <a:lnTo>
                    <a:pt x="173" y="462"/>
                  </a:lnTo>
                  <a:lnTo>
                    <a:pt x="184" y="457"/>
                  </a:lnTo>
                  <a:lnTo>
                    <a:pt x="189" y="469"/>
                  </a:lnTo>
                  <a:lnTo>
                    <a:pt x="203" y="471"/>
                  </a:lnTo>
                  <a:lnTo>
                    <a:pt x="198" y="459"/>
                  </a:lnTo>
                  <a:lnTo>
                    <a:pt x="204" y="459"/>
                  </a:lnTo>
                  <a:lnTo>
                    <a:pt x="206" y="447"/>
                  </a:lnTo>
                  <a:lnTo>
                    <a:pt x="186" y="431"/>
                  </a:lnTo>
                  <a:lnTo>
                    <a:pt x="165" y="433"/>
                  </a:lnTo>
                  <a:lnTo>
                    <a:pt x="175" y="421"/>
                  </a:lnTo>
                  <a:lnTo>
                    <a:pt x="170" y="413"/>
                  </a:lnTo>
                  <a:lnTo>
                    <a:pt x="179" y="400"/>
                  </a:lnTo>
                  <a:lnTo>
                    <a:pt x="192" y="400"/>
                  </a:lnTo>
                  <a:lnTo>
                    <a:pt x="194" y="385"/>
                  </a:lnTo>
                  <a:lnTo>
                    <a:pt x="189" y="373"/>
                  </a:lnTo>
                  <a:lnTo>
                    <a:pt x="189" y="357"/>
                  </a:lnTo>
                  <a:lnTo>
                    <a:pt x="194" y="345"/>
                  </a:lnTo>
                  <a:lnTo>
                    <a:pt x="187" y="339"/>
                  </a:lnTo>
                  <a:lnTo>
                    <a:pt x="173" y="335"/>
                  </a:lnTo>
                  <a:lnTo>
                    <a:pt x="186" y="330"/>
                  </a:lnTo>
                  <a:lnTo>
                    <a:pt x="194" y="321"/>
                  </a:lnTo>
                  <a:lnTo>
                    <a:pt x="204" y="309"/>
                  </a:lnTo>
                  <a:lnTo>
                    <a:pt x="198" y="304"/>
                  </a:lnTo>
                  <a:lnTo>
                    <a:pt x="191" y="296"/>
                  </a:lnTo>
                  <a:lnTo>
                    <a:pt x="175" y="294"/>
                  </a:lnTo>
                  <a:lnTo>
                    <a:pt x="189" y="289"/>
                  </a:lnTo>
                  <a:lnTo>
                    <a:pt x="201" y="296"/>
                  </a:lnTo>
                  <a:lnTo>
                    <a:pt x="211" y="301"/>
                  </a:lnTo>
                  <a:lnTo>
                    <a:pt x="227" y="292"/>
                  </a:lnTo>
                  <a:lnTo>
                    <a:pt x="239" y="284"/>
                  </a:lnTo>
                  <a:lnTo>
                    <a:pt x="235" y="277"/>
                  </a:lnTo>
                  <a:lnTo>
                    <a:pt x="241" y="266"/>
                  </a:lnTo>
                  <a:lnTo>
                    <a:pt x="225" y="268"/>
                  </a:lnTo>
                  <a:lnTo>
                    <a:pt x="218" y="259"/>
                  </a:lnTo>
                  <a:lnTo>
                    <a:pt x="227" y="258"/>
                  </a:lnTo>
                  <a:lnTo>
                    <a:pt x="232" y="253"/>
                  </a:lnTo>
                  <a:lnTo>
                    <a:pt x="242" y="253"/>
                  </a:lnTo>
                  <a:lnTo>
                    <a:pt x="249" y="261"/>
                  </a:lnTo>
                  <a:lnTo>
                    <a:pt x="260" y="249"/>
                  </a:lnTo>
                  <a:lnTo>
                    <a:pt x="263" y="225"/>
                  </a:lnTo>
                  <a:lnTo>
                    <a:pt x="260" y="208"/>
                  </a:lnTo>
                  <a:lnTo>
                    <a:pt x="254" y="192"/>
                  </a:lnTo>
                  <a:lnTo>
                    <a:pt x="260" y="179"/>
                  </a:lnTo>
                  <a:lnTo>
                    <a:pt x="273" y="173"/>
                  </a:lnTo>
                  <a:lnTo>
                    <a:pt x="284" y="173"/>
                  </a:lnTo>
                  <a:lnTo>
                    <a:pt x="284" y="182"/>
                  </a:lnTo>
                  <a:lnTo>
                    <a:pt x="273" y="187"/>
                  </a:lnTo>
                  <a:lnTo>
                    <a:pt x="278" y="196"/>
                  </a:lnTo>
                  <a:lnTo>
                    <a:pt x="287" y="192"/>
                  </a:lnTo>
                  <a:lnTo>
                    <a:pt x="285" y="203"/>
                  </a:lnTo>
                  <a:lnTo>
                    <a:pt x="294" y="206"/>
                  </a:lnTo>
                  <a:lnTo>
                    <a:pt x="294" y="192"/>
                  </a:lnTo>
                  <a:lnTo>
                    <a:pt x="303" y="180"/>
                  </a:lnTo>
                  <a:lnTo>
                    <a:pt x="304" y="192"/>
                  </a:lnTo>
                  <a:lnTo>
                    <a:pt x="315" y="198"/>
                  </a:lnTo>
                  <a:lnTo>
                    <a:pt x="318" y="180"/>
                  </a:lnTo>
                  <a:lnTo>
                    <a:pt x="337" y="160"/>
                  </a:lnTo>
                  <a:lnTo>
                    <a:pt x="346" y="132"/>
                  </a:lnTo>
                  <a:lnTo>
                    <a:pt x="330" y="117"/>
                  </a:lnTo>
                  <a:lnTo>
                    <a:pt x="309" y="117"/>
                  </a:lnTo>
                  <a:lnTo>
                    <a:pt x="289" y="120"/>
                  </a:lnTo>
                  <a:lnTo>
                    <a:pt x="275" y="101"/>
                  </a:lnTo>
                  <a:lnTo>
                    <a:pt x="260" y="113"/>
                  </a:lnTo>
                  <a:lnTo>
                    <a:pt x="272" y="94"/>
                  </a:lnTo>
                  <a:lnTo>
                    <a:pt x="272" y="79"/>
                  </a:lnTo>
                  <a:lnTo>
                    <a:pt x="261" y="60"/>
                  </a:lnTo>
                  <a:lnTo>
                    <a:pt x="261" y="38"/>
                  </a:lnTo>
                  <a:lnTo>
                    <a:pt x="265" y="24"/>
                  </a:lnTo>
                  <a:lnTo>
                    <a:pt x="227" y="0"/>
                  </a:lnTo>
                  <a:lnTo>
                    <a:pt x="218" y="7"/>
                  </a:lnTo>
                  <a:lnTo>
                    <a:pt x="194" y="7"/>
                  </a:lnTo>
                  <a:lnTo>
                    <a:pt x="182" y="19"/>
                  </a:lnTo>
                  <a:lnTo>
                    <a:pt x="170" y="8"/>
                  </a:lnTo>
                  <a:lnTo>
                    <a:pt x="148" y="20"/>
                  </a:lnTo>
                  <a:lnTo>
                    <a:pt x="129" y="32"/>
                  </a:lnTo>
                  <a:lnTo>
                    <a:pt x="137" y="44"/>
                  </a:lnTo>
                  <a:lnTo>
                    <a:pt x="132" y="57"/>
                  </a:lnTo>
                  <a:lnTo>
                    <a:pt x="134" y="65"/>
                  </a:lnTo>
                  <a:lnTo>
                    <a:pt x="141" y="70"/>
                  </a:lnTo>
                  <a:lnTo>
                    <a:pt x="132" y="84"/>
                  </a:lnTo>
                  <a:lnTo>
                    <a:pt x="149" y="81"/>
                  </a:lnTo>
                  <a:lnTo>
                    <a:pt x="151" y="94"/>
                  </a:lnTo>
                  <a:lnTo>
                    <a:pt x="139" y="94"/>
                  </a:lnTo>
                  <a:lnTo>
                    <a:pt x="130" y="93"/>
                  </a:lnTo>
                  <a:lnTo>
                    <a:pt x="124" y="105"/>
                  </a:lnTo>
                  <a:lnTo>
                    <a:pt x="117" y="94"/>
                  </a:lnTo>
                  <a:lnTo>
                    <a:pt x="129" y="75"/>
                  </a:lnTo>
                  <a:lnTo>
                    <a:pt x="124" y="63"/>
                  </a:lnTo>
                  <a:lnTo>
                    <a:pt x="117" y="51"/>
                  </a:lnTo>
                  <a:lnTo>
                    <a:pt x="106" y="55"/>
                  </a:lnTo>
                  <a:lnTo>
                    <a:pt x="99" y="65"/>
                  </a:lnTo>
                  <a:lnTo>
                    <a:pt x="91" y="79"/>
                  </a:lnTo>
                  <a:lnTo>
                    <a:pt x="84" y="93"/>
                  </a:lnTo>
                  <a:lnTo>
                    <a:pt x="75" y="98"/>
                  </a:lnTo>
                  <a:lnTo>
                    <a:pt x="82" y="108"/>
                  </a:lnTo>
                  <a:lnTo>
                    <a:pt x="81" y="122"/>
                  </a:lnTo>
                  <a:lnTo>
                    <a:pt x="74" y="130"/>
                  </a:lnTo>
                  <a:lnTo>
                    <a:pt x="67" y="124"/>
                  </a:lnTo>
                  <a:lnTo>
                    <a:pt x="63" y="110"/>
                  </a:lnTo>
                  <a:lnTo>
                    <a:pt x="53" y="112"/>
                  </a:lnTo>
                  <a:lnTo>
                    <a:pt x="43" y="105"/>
                  </a:lnTo>
                  <a:lnTo>
                    <a:pt x="29" y="103"/>
                  </a:lnTo>
                  <a:lnTo>
                    <a:pt x="15" y="98"/>
                  </a:lnTo>
                  <a:lnTo>
                    <a:pt x="15" y="84"/>
                  </a:lnTo>
                  <a:lnTo>
                    <a:pt x="7" y="108"/>
                  </a:lnTo>
                  <a:lnTo>
                    <a:pt x="5" y="137"/>
                  </a:lnTo>
                  <a:lnTo>
                    <a:pt x="8" y="173"/>
                  </a:lnTo>
                  <a:lnTo>
                    <a:pt x="5" y="218"/>
                  </a:lnTo>
                  <a:lnTo>
                    <a:pt x="10" y="230"/>
                  </a:lnTo>
                  <a:lnTo>
                    <a:pt x="10" y="208"/>
                  </a:lnTo>
                  <a:lnTo>
                    <a:pt x="29" y="216"/>
                  </a:lnTo>
                  <a:lnTo>
                    <a:pt x="32" y="235"/>
                  </a:lnTo>
                  <a:lnTo>
                    <a:pt x="43" y="244"/>
                  </a:lnTo>
                  <a:lnTo>
                    <a:pt x="27" y="261"/>
                  </a:lnTo>
                  <a:lnTo>
                    <a:pt x="22" y="249"/>
                  </a:lnTo>
                  <a:lnTo>
                    <a:pt x="17" y="254"/>
                  </a:lnTo>
                  <a:lnTo>
                    <a:pt x="12" y="237"/>
                  </a:lnTo>
                  <a:lnTo>
                    <a:pt x="5" y="239"/>
                  </a:lnTo>
                  <a:lnTo>
                    <a:pt x="13" y="259"/>
                  </a:lnTo>
                  <a:lnTo>
                    <a:pt x="10" y="287"/>
                  </a:lnTo>
                  <a:lnTo>
                    <a:pt x="0" y="320"/>
                  </a:lnTo>
                  <a:lnTo>
                    <a:pt x="25" y="339"/>
                  </a:lnTo>
                  <a:lnTo>
                    <a:pt x="22" y="321"/>
                  </a:lnTo>
                  <a:lnTo>
                    <a:pt x="29" y="316"/>
                  </a:lnTo>
                  <a:lnTo>
                    <a:pt x="31" y="325"/>
                  </a:lnTo>
                  <a:lnTo>
                    <a:pt x="41" y="337"/>
                  </a:lnTo>
                  <a:lnTo>
                    <a:pt x="48" y="344"/>
                  </a:lnTo>
                  <a:lnTo>
                    <a:pt x="62" y="347"/>
                  </a:lnTo>
                  <a:lnTo>
                    <a:pt x="68" y="357"/>
                  </a:lnTo>
                  <a:lnTo>
                    <a:pt x="70" y="371"/>
                  </a:lnTo>
                  <a:lnTo>
                    <a:pt x="70" y="385"/>
                  </a:lnTo>
                  <a:lnTo>
                    <a:pt x="74" y="400"/>
                  </a:lnTo>
                  <a:lnTo>
                    <a:pt x="72" y="416"/>
                  </a:lnTo>
                  <a:lnTo>
                    <a:pt x="67" y="433"/>
                  </a:lnTo>
                  <a:lnTo>
                    <a:pt x="72" y="457"/>
                  </a:lnTo>
                  <a:lnTo>
                    <a:pt x="74" y="457"/>
                  </a:lnTo>
                  <a:lnTo>
                    <a:pt x="86" y="461"/>
                  </a:lnTo>
                  <a:lnTo>
                    <a:pt x="98" y="456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 dirty="0"/>
            </a:p>
          </p:txBody>
        </p:sp>
        <p:sp>
          <p:nvSpPr>
            <p:cNvPr id="328" name="Freeform 859">
              <a:extLst>
                <a:ext uri="{FF2B5EF4-FFF2-40B4-BE49-F238E27FC236}">
                  <a16:creationId xmlns:a16="http://schemas.microsoft.com/office/drawing/2014/main" id="{43EE968F-303B-4A21-A526-270214C3FC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8425" y="3940176"/>
              <a:ext cx="19050" cy="6350"/>
            </a:xfrm>
            <a:custGeom>
              <a:avLst/>
              <a:gdLst>
                <a:gd name="T0" fmla="*/ 12 w 12"/>
                <a:gd name="T1" fmla="*/ 4 h 4"/>
                <a:gd name="T2" fmla="*/ 0 w 12"/>
                <a:gd name="T3" fmla="*/ 0 h 4"/>
                <a:gd name="T4" fmla="*/ 12 w 12"/>
                <a:gd name="T5" fmla="*/ 4 h 4"/>
                <a:gd name="T6" fmla="*/ 12 w 1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4">
                  <a:moveTo>
                    <a:pt x="12" y="4"/>
                  </a:moveTo>
                  <a:lnTo>
                    <a:pt x="0" y="0"/>
                  </a:lnTo>
                  <a:lnTo>
                    <a:pt x="12" y="4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29" name="Rectangle 860">
              <a:extLst>
                <a:ext uri="{FF2B5EF4-FFF2-40B4-BE49-F238E27FC236}">
                  <a16:creationId xmlns:a16="http://schemas.microsoft.com/office/drawing/2014/main" id="{A5AC5277-DEAF-491C-B1D2-E666BAFE3E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2888" y="3965576"/>
              <a:ext cx="1588" cy="1588"/>
            </a:xfrm>
            <a:prstGeom prst="rect">
              <a:avLst/>
            </a:prstGeom>
            <a:grpFill/>
            <a:ln w="3175">
              <a:solidFill>
                <a:schemeClr val="bg2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0" name="Freeform 861">
              <a:extLst>
                <a:ext uri="{FF2B5EF4-FFF2-40B4-BE49-F238E27FC236}">
                  <a16:creationId xmlns:a16="http://schemas.microsoft.com/office/drawing/2014/main" id="{4E222B4B-7EC3-4949-BEEA-F8422F8702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5" y="3938588"/>
              <a:ext cx="73025" cy="38100"/>
            </a:xfrm>
            <a:custGeom>
              <a:avLst/>
              <a:gdLst>
                <a:gd name="T0" fmla="*/ 0 w 46"/>
                <a:gd name="T1" fmla="*/ 0 h 24"/>
                <a:gd name="T2" fmla="*/ 0 w 46"/>
                <a:gd name="T3" fmla="*/ 0 h 24"/>
                <a:gd name="T4" fmla="*/ 43 w 46"/>
                <a:gd name="T5" fmla="*/ 12 h 24"/>
                <a:gd name="T6" fmla="*/ 46 w 46"/>
                <a:gd name="T7" fmla="*/ 24 h 24"/>
                <a:gd name="T8" fmla="*/ 43 w 46"/>
                <a:gd name="T9" fmla="*/ 12 h 24"/>
                <a:gd name="T10" fmla="*/ 0 w 46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24">
                  <a:moveTo>
                    <a:pt x="0" y="0"/>
                  </a:moveTo>
                  <a:lnTo>
                    <a:pt x="0" y="0"/>
                  </a:lnTo>
                  <a:lnTo>
                    <a:pt x="43" y="12"/>
                  </a:lnTo>
                  <a:lnTo>
                    <a:pt x="46" y="24"/>
                  </a:lnTo>
                  <a:lnTo>
                    <a:pt x="43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1" name="Freeform 862">
              <a:extLst>
                <a:ext uri="{FF2B5EF4-FFF2-40B4-BE49-F238E27FC236}">
                  <a16:creationId xmlns:a16="http://schemas.microsoft.com/office/drawing/2014/main" id="{7E8EAD25-464F-4862-9F76-9A356FF588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7150" y="3840163"/>
              <a:ext cx="19050" cy="50800"/>
            </a:xfrm>
            <a:custGeom>
              <a:avLst/>
              <a:gdLst>
                <a:gd name="T0" fmla="*/ 0 w 12"/>
                <a:gd name="T1" fmla="*/ 20 h 32"/>
                <a:gd name="T2" fmla="*/ 5 w 12"/>
                <a:gd name="T3" fmla="*/ 32 h 32"/>
                <a:gd name="T4" fmla="*/ 12 w 12"/>
                <a:gd name="T5" fmla="*/ 17 h 32"/>
                <a:gd name="T6" fmla="*/ 12 w 12"/>
                <a:gd name="T7" fmla="*/ 1 h 32"/>
                <a:gd name="T8" fmla="*/ 0 w 12"/>
                <a:gd name="T9" fmla="*/ 0 h 32"/>
                <a:gd name="T10" fmla="*/ 0 w 12"/>
                <a:gd name="T11" fmla="*/ 2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32">
                  <a:moveTo>
                    <a:pt x="0" y="20"/>
                  </a:moveTo>
                  <a:lnTo>
                    <a:pt x="5" y="32"/>
                  </a:lnTo>
                  <a:lnTo>
                    <a:pt x="12" y="17"/>
                  </a:lnTo>
                  <a:lnTo>
                    <a:pt x="12" y="1"/>
                  </a:lnTo>
                  <a:lnTo>
                    <a:pt x="0" y="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317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/>
            </a:p>
          </p:txBody>
        </p:sp>
        <p:sp>
          <p:nvSpPr>
            <p:cNvPr id="332" name="Freeform 863">
              <a:extLst>
                <a:ext uri="{FF2B5EF4-FFF2-40B4-BE49-F238E27FC236}">
                  <a16:creationId xmlns:a16="http://schemas.microsoft.com/office/drawing/2014/main" id="{3ED95681-2F64-4486-8AFC-B6B9D1B0E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3875" y="3533776"/>
              <a:ext cx="320675" cy="390525"/>
            </a:xfrm>
            <a:custGeom>
              <a:avLst/>
              <a:gdLst>
                <a:gd name="T0" fmla="*/ 14 w 202"/>
                <a:gd name="T1" fmla="*/ 96 h 246"/>
                <a:gd name="T2" fmla="*/ 21 w 202"/>
                <a:gd name="T3" fmla="*/ 110 h 246"/>
                <a:gd name="T4" fmla="*/ 17 w 202"/>
                <a:gd name="T5" fmla="*/ 127 h 246"/>
                <a:gd name="T6" fmla="*/ 35 w 202"/>
                <a:gd name="T7" fmla="*/ 155 h 246"/>
                <a:gd name="T8" fmla="*/ 23 w 202"/>
                <a:gd name="T9" fmla="*/ 170 h 246"/>
                <a:gd name="T10" fmla="*/ 36 w 202"/>
                <a:gd name="T11" fmla="*/ 187 h 246"/>
                <a:gd name="T12" fmla="*/ 59 w 202"/>
                <a:gd name="T13" fmla="*/ 194 h 246"/>
                <a:gd name="T14" fmla="*/ 86 w 202"/>
                <a:gd name="T15" fmla="*/ 194 h 246"/>
                <a:gd name="T16" fmla="*/ 103 w 202"/>
                <a:gd name="T17" fmla="*/ 208 h 246"/>
                <a:gd name="T18" fmla="*/ 107 w 202"/>
                <a:gd name="T19" fmla="*/ 227 h 246"/>
                <a:gd name="T20" fmla="*/ 121 w 202"/>
                <a:gd name="T21" fmla="*/ 241 h 246"/>
                <a:gd name="T22" fmla="*/ 146 w 202"/>
                <a:gd name="T23" fmla="*/ 237 h 246"/>
                <a:gd name="T24" fmla="*/ 145 w 202"/>
                <a:gd name="T25" fmla="*/ 215 h 246"/>
                <a:gd name="T26" fmla="*/ 129 w 202"/>
                <a:gd name="T27" fmla="*/ 212 h 246"/>
                <a:gd name="T28" fmla="*/ 140 w 202"/>
                <a:gd name="T29" fmla="*/ 201 h 246"/>
                <a:gd name="T30" fmla="*/ 158 w 202"/>
                <a:gd name="T31" fmla="*/ 187 h 246"/>
                <a:gd name="T32" fmla="*/ 179 w 202"/>
                <a:gd name="T33" fmla="*/ 169 h 246"/>
                <a:gd name="T34" fmla="*/ 150 w 202"/>
                <a:gd name="T35" fmla="*/ 144 h 246"/>
                <a:gd name="T36" fmla="*/ 165 w 202"/>
                <a:gd name="T37" fmla="*/ 115 h 246"/>
                <a:gd name="T38" fmla="*/ 186 w 202"/>
                <a:gd name="T39" fmla="*/ 110 h 246"/>
                <a:gd name="T40" fmla="*/ 198 w 202"/>
                <a:gd name="T41" fmla="*/ 86 h 246"/>
                <a:gd name="T42" fmla="*/ 193 w 202"/>
                <a:gd name="T43" fmla="*/ 55 h 246"/>
                <a:gd name="T44" fmla="*/ 202 w 202"/>
                <a:gd name="T45" fmla="*/ 24 h 246"/>
                <a:gd name="T46" fmla="*/ 174 w 202"/>
                <a:gd name="T47" fmla="*/ 7 h 246"/>
                <a:gd name="T48" fmla="*/ 150 w 202"/>
                <a:gd name="T49" fmla="*/ 2 h 246"/>
                <a:gd name="T50" fmla="*/ 110 w 202"/>
                <a:gd name="T51" fmla="*/ 34 h 246"/>
                <a:gd name="T52" fmla="*/ 129 w 202"/>
                <a:gd name="T53" fmla="*/ 38 h 246"/>
                <a:gd name="T54" fmla="*/ 124 w 202"/>
                <a:gd name="T55" fmla="*/ 43 h 246"/>
                <a:gd name="T56" fmla="*/ 117 w 202"/>
                <a:gd name="T57" fmla="*/ 53 h 246"/>
                <a:gd name="T58" fmla="*/ 110 w 202"/>
                <a:gd name="T59" fmla="*/ 74 h 246"/>
                <a:gd name="T60" fmla="*/ 107 w 202"/>
                <a:gd name="T61" fmla="*/ 98 h 246"/>
                <a:gd name="T62" fmla="*/ 95 w 202"/>
                <a:gd name="T63" fmla="*/ 81 h 246"/>
                <a:gd name="T64" fmla="*/ 81 w 202"/>
                <a:gd name="T65" fmla="*/ 72 h 246"/>
                <a:gd name="T66" fmla="*/ 88 w 202"/>
                <a:gd name="T67" fmla="*/ 52 h 246"/>
                <a:gd name="T68" fmla="*/ 100 w 202"/>
                <a:gd name="T69" fmla="*/ 40 h 246"/>
                <a:gd name="T70" fmla="*/ 83 w 202"/>
                <a:gd name="T71" fmla="*/ 43 h 246"/>
                <a:gd name="T72" fmla="*/ 43 w 202"/>
                <a:gd name="T73" fmla="*/ 29 h 246"/>
                <a:gd name="T74" fmla="*/ 71 w 202"/>
                <a:gd name="T75" fmla="*/ 43 h 246"/>
                <a:gd name="T76" fmla="*/ 55 w 202"/>
                <a:gd name="T77" fmla="*/ 64 h 246"/>
                <a:gd name="T78" fmla="*/ 35 w 202"/>
                <a:gd name="T79" fmla="*/ 81 h 246"/>
                <a:gd name="T80" fmla="*/ 19 w 202"/>
                <a:gd name="T81" fmla="*/ 81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2" h="246">
                  <a:moveTo>
                    <a:pt x="0" y="84"/>
                  </a:moveTo>
                  <a:lnTo>
                    <a:pt x="14" y="96"/>
                  </a:lnTo>
                  <a:lnTo>
                    <a:pt x="4" y="98"/>
                  </a:lnTo>
                  <a:lnTo>
                    <a:pt x="21" y="110"/>
                  </a:lnTo>
                  <a:lnTo>
                    <a:pt x="24" y="119"/>
                  </a:lnTo>
                  <a:lnTo>
                    <a:pt x="17" y="127"/>
                  </a:lnTo>
                  <a:lnTo>
                    <a:pt x="29" y="134"/>
                  </a:lnTo>
                  <a:lnTo>
                    <a:pt x="35" y="155"/>
                  </a:lnTo>
                  <a:lnTo>
                    <a:pt x="21" y="162"/>
                  </a:lnTo>
                  <a:lnTo>
                    <a:pt x="23" y="170"/>
                  </a:lnTo>
                  <a:lnTo>
                    <a:pt x="36" y="177"/>
                  </a:lnTo>
                  <a:lnTo>
                    <a:pt x="36" y="187"/>
                  </a:lnTo>
                  <a:lnTo>
                    <a:pt x="45" y="194"/>
                  </a:lnTo>
                  <a:lnTo>
                    <a:pt x="59" y="194"/>
                  </a:lnTo>
                  <a:lnTo>
                    <a:pt x="76" y="194"/>
                  </a:lnTo>
                  <a:lnTo>
                    <a:pt x="86" y="194"/>
                  </a:lnTo>
                  <a:lnTo>
                    <a:pt x="93" y="203"/>
                  </a:lnTo>
                  <a:lnTo>
                    <a:pt x="103" y="208"/>
                  </a:lnTo>
                  <a:lnTo>
                    <a:pt x="95" y="215"/>
                  </a:lnTo>
                  <a:lnTo>
                    <a:pt x="107" y="227"/>
                  </a:lnTo>
                  <a:lnTo>
                    <a:pt x="90" y="224"/>
                  </a:lnTo>
                  <a:lnTo>
                    <a:pt x="121" y="241"/>
                  </a:lnTo>
                  <a:lnTo>
                    <a:pt x="134" y="246"/>
                  </a:lnTo>
                  <a:lnTo>
                    <a:pt x="146" y="237"/>
                  </a:lnTo>
                  <a:lnTo>
                    <a:pt x="141" y="224"/>
                  </a:lnTo>
                  <a:lnTo>
                    <a:pt x="145" y="215"/>
                  </a:lnTo>
                  <a:lnTo>
                    <a:pt x="143" y="208"/>
                  </a:lnTo>
                  <a:lnTo>
                    <a:pt x="129" y="212"/>
                  </a:lnTo>
                  <a:lnTo>
                    <a:pt x="129" y="203"/>
                  </a:lnTo>
                  <a:lnTo>
                    <a:pt x="140" y="201"/>
                  </a:lnTo>
                  <a:lnTo>
                    <a:pt x="148" y="194"/>
                  </a:lnTo>
                  <a:lnTo>
                    <a:pt x="158" y="187"/>
                  </a:lnTo>
                  <a:lnTo>
                    <a:pt x="177" y="181"/>
                  </a:lnTo>
                  <a:lnTo>
                    <a:pt x="179" y="169"/>
                  </a:lnTo>
                  <a:lnTo>
                    <a:pt x="165" y="155"/>
                  </a:lnTo>
                  <a:lnTo>
                    <a:pt x="150" y="144"/>
                  </a:lnTo>
                  <a:lnTo>
                    <a:pt x="150" y="132"/>
                  </a:lnTo>
                  <a:lnTo>
                    <a:pt x="165" y="115"/>
                  </a:lnTo>
                  <a:lnTo>
                    <a:pt x="172" y="110"/>
                  </a:lnTo>
                  <a:lnTo>
                    <a:pt x="186" y="110"/>
                  </a:lnTo>
                  <a:lnTo>
                    <a:pt x="193" y="101"/>
                  </a:lnTo>
                  <a:lnTo>
                    <a:pt x="198" y="86"/>
                  </a:lnTo>
                  <a:lnTo>
                    <a:pt x="200" y="69"/>
                  </a:lnTo>
                  <a:lnTo>
                    <a:pt x="193" y="55"/>
                  </a:lnTo>
                  <a:lnTo>
                    <a:pt x="191" y="36"/>
                  </a:lnTo>
                  <a:lnTo>
                    <a:pt x="202" y="24"/>
                  </a:lnTo>
                  <a:lnTo>
                    <a:pt x="188" y="10"/>
                  </a:lnTo>
                  <a:lnTo>
                    <a:pt x="174" y="7"/>
                  </a:lnTo>
                  <a:lnTo>
                    <a:pt x="160" y="0"/>
                  </a:lnTo>
                  <a:lnTo>
                    <a:pt x="150" y="2"/>
                  </a:lnTo>
                  <a:lnTo>
                    <a:pt x="131" y="21"/>
                  </a:lnTo>
                  <a:lnTo>
                    <a:pt x="110" y="34"/>
                  </a:lnTo>
                  <a:lnTo>
                    <a:pt x="115" y="40"/>
                  </a:lnTo>
                  <a:lnTo>
                    <a:pt x="129" y="38"/>
                  </a:lnTo>
                  <a:lnTo>
                    <a:pt x="131" y="53"/>
                  </a:lnTo>
                  <a:lnTo>
                    <a:pt x="124" y="43"/>
                  </a:lnTo>
                  <a:lnTo>
                    <a:pt x="115" y="45"/>
                  </a:lnTo>
                  <a:lnTo>
                    <a:pt x="117" y="53"/>
                  </a:lnTo>
                  <a:lnTo>
                    <a:pt x="115" y="62"/>
                  </a:lnTo>
                  <a:lnTo>
                    <a:pt x="110" y="74"/>
                  </a:lnTo>
                  <a:lnTo>
                    <a:pt x="112" y="88"/>
                  </a:lnTo>
                  <a:lnTo>
                    <a:pt x="107" y="98"/>
                  </a:lnTo>
                  <a:lnTo>
                    <a:pt x="102" y="88"/>
                  </a:lnTo>
                  <a:lnTo>
                    <a:pt x="95" y="81"/>
                  </a:lnTo>
                  <a:lnTo>
                    <a:pt x="97" y="72"/>
                  </a:lnTo>
                  <a:lnTo>
                    <a:pt x="81" y="72"/>
                  </a:lnTo>
                  <a:lnTo>
                    <a:pt x="93" y="62"/>
                  </a:lnTo>
                  <a:lnTo>
                    <a:pt x="88" y="52"/>
                  </a:lnTo>
                  <a:lnTo>
                    <a:pt x="97" y="50"/>
                  </a:lnTo>
                  <a:lnTo>
                    <a:pt x="100" y="40"/>
                  </a:lnTo>
                  <a:lnTo>
                    <a:pt x="95" y="33"/>
                  </a:lnTo>
                  <a:lnTo>
                    <a:pt x="83" y="43"/>
                  </a:lnTo>
                  <a:lnTo>
                    <a:pt x="74" y="36"/>
                  </a:lnTo>
                  <a:lnTo>
                    <a:pt x="43" y="29"/>
                  </a:lnTo>
                  <a:lnTo>
                    <a:pt x="43" y="34"/>
                  </a:lnTo>
                  <a:lnTo>
                    <a:pt x="71" y="43"/>
                  </a:lnTo>
                  <a:lnTo>
                    <a:pt x="69" y="60"/>
                  </a:lnTo>
                  <a:lnTo>
                    <a:pt x="55" y="64"/>
                  </a:lnTo>
                  <a:lnTo>
                    <a:pt x="48" y="81"/>
                  </a:lnTo>
                  <a:lnTo>
                    <a:pt x="35" y="81"/>
                  </a:lnTo>
                  <a:lnTo>
                    <a:pt x="36" y="89"/>
                  </a:lnTo>
                  <a:lnTo>
                    <a:pt x="19" y="81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D53E2AE-D289-47F6-9703-3D216F038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066" y="326586"/>
            <a:ext cx="9244119" cy="783805"/>
          </a:xfrm>
        </p:spPr>
        <p:txBody>
          <a:bodyPr/>
          <a:lstStyle/>
          <a:p>
            <a:r>
              <a:rPr lang="en-GB" sz="2300" dirty="0"/>
              <a:t>Proven track record in developing long-term global partnership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B2D23B7-46C2-4765-B717-4241A857B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4</a:t>
            </a:fld>
            <a:endParaRPr lang="en-GB" dirty="0"/>
          </a:p>
        </p:txBody>
      </p:sp>
      <p:sp>
        <p:nvSpPr>
          <p:cNvPr id="339" name="Content Placeholder 4">
            <a:extLst>
              <a:ext uri="{FF2B5EF4-FFF2-40B4-BE49-F238E27FC236}">
                <a16:creationId xmlns:a16="http://schemas.microsoft.com/office/drawing/2014/main" id="{F52B269A-2221-4949-B7D6-2FBD4FED683E}"/>
              </a:ext>
            </a:extLst>
          </p:cNvPr>
          <p:cNvSpPr txBox="1">
            <a:spLocks/>
          </p:cNvSpPr>
          <p:nvPr/>
        </p:nvSpPr>
        <p:spPr>
          <a:xfrm>
            <a:off x="443720" y="1121121"/>
            <a:ext cx="4672866" cy="5095775"/>
          </a:xfrm>
          <a:prstGeom prst="rect">
            <a:avLst/>
          </a:prstGeom>
        </p:spPr>
        <p:txBody>
          <a:bodyPr lIns="0"/>
          <a:lstStyle>
            <a:lvl1pPr marL="0" indent="0" algn="l" defTabSz="1007943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accent1"/>
                </a:solidFill>
                <a:latin typeface="+mj-lt"/>
              </a:rPr>
              <a:t>European partnerships</a:t>
            </a:r>
            <a:endParaRPr lang="en-GB" dirty="0">
              <a:solidFill>
                <a:schemeClr val="accent1"/>
              </a:solidFill>
              <a:latin typeface="Arial" pitchFamily="34" charset="0"/>
            </a:endParaRPr>
          </a:p>
        </p:txBody>
      </p:sp>
      <p:sp>
        <p:nvSpPr>
          <p:cNvPr id="340" name="Content Placeholder 4">
            <a:extLst>
              <a:ext uri="{FF2B5EF4-FFF2-40B4-BE49-F238E27FC236}">
                <a16:creationId xmlns:a16="http://schemas.microsoft.com/office/drawing/2014/main" id="{9AD9408E-F809-49E4-AB19-5252858F359E}"/>
              </a:ext>
            </a:extLst>
          </p:cNvPr>
          <p:cNvSpPr txBox="1">
            <a:spLocks/>
          </p:cNvSpPr>
          <p:nvPr/>
        </p:nvSpPr>
        <p:spPr>
          <a:xfrm>
            <a:off x="5360802" y="1121122"/>
            <a:ext cx="4145135" cy="2867644"/>
          </a:xfrm>
          <a:prstGeom prst="rect">
            <a:avLst/>
          </a:prstGeom>
        </p:spPr>
        <p:txBody>
          <a:bodyPr lIns="0"/>
          <a:lstStyle>
            <a:lvl1pPr marL="0" indent="0" algn="l" defTabSz="1007943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accent1"/>
                </a:solidFill>
                <a:latin typeface="+mj-lt"/>
              </a:rPr>
              <a:t>North American partnerships</a:t>
            </a:r>
            <a:endParaRPr lang="en-GB" dirty="0">
              <a:solidFill>
                <a:schemeClr val="accent1"/>
              </a:solidFill>
              <a:latin typeface="Arial" pitchFamily="34" charset="0"/>
            </a:endParaRPr>
          </a:p>
        </p:txBody>
      </p:sp>
      <p:sp>
        <p:nvSpPr>
          <p:cNvPr id="341" name="Content Placeholder 4">
            <a:extLst>
              <a:ext uri="{FF2B5EF4-FFF2-40B4-BE49-F238E27FC236}">
                <a16:creationId xmlns:a16="http://schemas.microsoft.com/office/drawing/2014/main" id="{4FF69BE3-9DF8-44F6-ACD4-42D86B1E96CA}"/>
              </a:ext>
            </a:extLst>
          </p:cNvPr>
          <p:cNvSpPr txBox="1">
            <a:spLocks/>
          </p:cNvSpPr>
          <p:nvPr/>
        </p:nvSpPr>
        <p:spPr>
          <a:xfrm>
            <a:off x="5374961" y="3790746"/>
            <a:ext cx="4145135" cy="2867644"/>
          </a:xfrm>
          <a:prstGeom prst="rect">
            <a:avLst/>
          </a:prstGeom>
        </p:spPr>
        <p:txBody>
          <a:bodyPr lIns="0"/>
          <a:lstStyle>
            <a:lvl1pPr marL="0" indent="0" algn="l" defTabSz="1007943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accent1"/>
                </a:solidFill>
                <a:latin typeface="+mj-lt"/>
              </a:rPr>
              <a:t>Asia Pacific partnerships</a:t>
            </a:r>
            <a:endParaRPr lang="en-GB" dirty="0">
              <a:solidFill>
                <a:schemeClr val="accent1"/>
              </a:solidFill>
              <a:latin typeface="Arial" pitchFamily="34" charset="0"/>
            </a:endParaRPr>
          </a:p>
        </p:txBody>
      </p:sp>
      <p:grpSp>
        <p:nvGrpSpPr>
          <p:cNvPr id="520" name="Group 519">
            <a:extLst>
              <a:ext uri="{FF2B5EF4-FFF2-40B4-BE49-F238E27FC236}">
                <a16:creationId xmlns:a16="http://schemas.microsoft.com/office/drawing/2014/main" id="{C84AB30E-9CA5-4961-8F97-E845FF81A633}"/>
              </a:ext>
            </a:extLst>
          </p:cNvPr>
          <p:cNvGrpSpPr>
            <a:grpSpLocks noChangeAspect="1"/>
          </p:cNvGrpSpPr>
          <p:nvPr/>
        </p:nvGrpSpPr>
        <p:grpSpPr>
          <a:xfrm>
            <a:off x="5341552" y="4097761"/>
            <a:ext cx="4164385" cy="2330415"/>
            <a:chOff x="5740401" y="2441575"/>
            <a:chExt cx="2471738" cy="1404938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521" name="Freeform 48">
              <a:extLst>
                <a:ext uri="{FF2B5EF4-FFF2-40B4-BE49-F238E27FC236}">
                  <a16:creationId xmlns:a16="http://schemas.microsoft.com/office/drawing/2014/main" id="{DAB71A15-AADB-467D-9112-1CF8F3BE3B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4138" y="2979738"/>
              <a:ext cx="88900" cy="114300"/>
            </a:xfrm>
            <a:custGeom>
              <a:avLst/>
              <a:gdLst>
                <a:gd name="T0" fmla="*/ 13 w 56"/>
                <a:gd name="T1" fmla="*/ 6 h 72"/>
                <a:gd name="T2" fmla="*/ 13 w 56"/>
                <a:gd name="T3" fmla="*/ 6 h 72"/>
                <a:gd name="T4" fmla="*/ 3 w 56"/>
                <a:gd name="T5" fmla="*/ 13 h 72"/>
                <a:gd name="T6" fmla="*/ 3 w 56"/>
                <a:gd name="T7" fmla="*/ 13 h 72"/>
                <a:gd name="T8" fmla="*/ 5 w 56"/>
                <a:gd name="T9" fmla="*/ 18 h 72"/>
                <a:gd name="T10" fmla="*/ 6 w 56"/>
                <a:gd name="T11" fmla="*/ 21 h 72"/>
                <a:gd name="T12" fmla="*/ 9 w 56"/>
                <a:gd name="T13" fmla="*/ 21 h 72"/>
                <a:gd name="T14" fmla="*/ 9 w 56"/>
                <a:gd name="T15" fmla="*/ 21 h 72"/>
                <a:gd name="T16" fmla="*/ 10 w 56"/>
                <a:gd name="T17" fmla="*/ 22 h 72"/>
                <a:gd name="T18" fmla="*/ 12 w 56"/>
                <a:gd name="T19" fmla="*/ 25 h 72"/>
                <a:gd name="T20" fmla="*/ 10 w 56"/>
                <a:gd name="T21" fmla="*/ 28 h 72"/>
                <a:gd name="T22" fmla="*/ 7 w 56"/>
                <a:gd name="T23" fmla="*/ 28 h 72"/>
                <a:gd name="T24" fmla="*/ 7 w 56"/>
                <a:gd name="T25" fmla="*/ 28 h 72"/>
                <a:gd name="T26" fmla="*/ 6 w 56"/>
                <a:gd name="T27" fmla="*/ 28 h 72"/>
                <a:gd name="T28" fmla="*/ 5 w 56"/>
                <a:gd name="T29" fmla="*/ 29 h 72"/>
                <a:gd name="T30" fmla="*/ 3 w 56"/>
                <a:gd name="T31" fmla="*/ 32 h 72"/>
                <a:gd name="T32" fmla="*/ 5 w 56"/>
                <a:gd name="T33" fmla="*/ 38 h 72"/>
                <a:gd name="T34" fmla="*/ 6 w 56"/>
                <a:gd name="T35" fmla="*/ 43 h 72"/>
                <a:gd name="T36" fmla="*/ 6 w 56"/>
                <a:gd name="T37" fmla="*/ 43 h 72"/>
                <a:gd name="T38" fmla="*/ 7 w 56"/>
                <a:gd name="T39" fmla="*/ 46 h 72"/>
                <a:gd name="T40" fmla="*/ 7 w 56"/>
                <a:gd name="T41" fmla="*/ 47 h 72"/>
                <a:gd name="T42" fmla="*/ 5 w 56"/>
                <a:gd name="T43" fmla="*/ 53 h 72"/>
                <a:gd name="T44" fmla="*/ 2 w 56"/>
                <a:gd name="T45" fmla="*/ 58 h 72"/>
                <a:gd name="T46" fmla="*/ 0 w 56"/>
                <a:gd name="T47" fmla="*/ 60 h 72"/>
                <a:gd name="T48" fmla="*/ 2 w 56"/>
                <a:gd name="T49" fmla="*/ 61 h 72"/>
                <a:gd name="T50" fmla="*/ 2 w 56"/>
                <a:gd name="T51" fmla="*/ 61 h 72"/>
                <a:gd name="T52" fmla="*/ 3 w 56"/>
                <a:gd name="T53" fmla="*/ 64 h 72"/>
                <a:gd name="T54" fmla="*/ 3 w 56"/>
                <a:gd name="T55" fmla="*/ 67 h 72"/>
                <a:gd name="T56" fmla="*/ 3 w 56"/>
                <a:gd name="T57" fmla="*/ 69 h 72"/>
                <a:gd name="T58" fmla="*/ 3 w 56"/>
                <a:gd name="T59" fmla="*/ 72 h 72"/>
                <a:gd name="T60" fmla="*/ 3 w 56"/>
                <a:gd name="T61" fmla="*/ 72 h 72"/>
                <a:gd name="T62" fmla="*/ 7 w 56"/>
                <a:gd name="T63" fmla="*/ 72 h 72"/>
                <a:gd name="T64" fmla="*/ 16 w 56"/>
                <a:gd name="T65" fmla="*/ 71 h 72"/>
                <a:gd name="T66" fmla="*/ 25 w 56"/>
                <a:gd name="T67" fmla="*/ 68 h 72"/>
                <a:gd name="T68" fmla="*/ 30 w 56"/>
                <a:gd name="T69" fmla="*/ 65 h 72"/>
                <a:gd name="T70" fmla="*/ 34 w 56"/>
                <a:gd name="T71" fmla="*/ 63 h 72"/>
                <a:gd name="T72" fmla="*/ 34 w 56"/>
                <a:gd name="T73" fmla="*/ 63 h 72"/>
                <a:gd name="T74" fmla="*/ 39 w 56"/>
                <a:gd name="T75" fmla="*/ 57 h 72"/>
                <a:gd name="T76" fmla="*/ 44 w 56"/>
                <a:gd name="T77" fmla="*/ 56 h 72"/>
                <a:gd name="T78" fmla="*/ 46 w 56"/>
                <a:gd name="T79" fmla="*/ 56 h 72"/>
                <a:gd name="T80" fmla="*/ 49 w 56"/>
                <a:gd name="T81" fmla="*/ 56 h 72"/>
                <a:gd name="T82" fmla="*/ 49 w 56"/>
                <a:gd name="T83" fmla="*/ 56 h 72"/>
                <a:gd name="T84" fmla="*/ 52 w 56"/>
                <a:gd name="T85" fmla="*/ 56 h 72"/>
                <a:gd name="T86" fmla="*/ 55 w 56"/>
                <a:gd name="T87" fmla="*/ 54 h 72"/>
                <a:gd name="T88" fmla="*/ 56 w 56"/>
                <a:gd name="T89" fmla="*/ 51 h 72"/>
                <a:gd name="T90" fmla="*/ 56 w 56"/>
                <a:gd name="T91" fmla="*/ 49 h 72"/>
                <a:gd name="T92" fmla="*/ 56 w 56"/>
                <a:gd name="T93" fmla="*/ 49 h 72"/>
                <a:gd name="T94" fmla="*/ 53 w 56"/>
                <a:gd name="T95" fmla="*/ 46 h 72"/>
                <a:gd name="T96" fmla="*/ 52 w 56"/>
                <a:gd name="T97" fmla="*/ 40 h 72"/>
                <a:gd name="T98" fmla="*/ 52 w 56"/>
                <a:gd name="T99" fmla="*/ 33 h 72"/>
                <a:gd name="T100" fmla="*/ 52 w 56"/>
                <a:gd name="T101" fmla="*/ 26 h 72"/>
                <a:gd name="T102" fmla="*/ 52 w 56"/>
                <a:gd name="T103" fmla="*/ 26 h 72"/>
                <a:gd name="T104" fmla="*/ 50 w 56"/>
                <a:gd name="T105" fmla="*/ 21 h 72"/>
                <a:gd name="T106" fmla="*/ 46 w 56"/>
                <a:gd name="T107" fmla="*/ 14 h 72"/>
                <a:gd name="T108" fmla="*/ 35 w 56"/>
                <a:gd name="T109" fmla="*/ 0 h 72"/>
                <a:gd name="T110" fmla="*/ 35 w 56"/>
                <a:gd name="T111" fmla="*/ 0 h 72"/>
                <a:gd name="T112" fmla="*/ 31 w 56"/>
                <a:gd name="T113" fmla="*/ 3 h 72"/>
                <a:gd name="T114" fmla="*/ 27 w 56"/>
                <a:gd name="T115" fmla="*/ 3 h 72"/>
                <a:gd name="T116" fmla="*/ 27 w 56"/>
                <a:gd name="T117" fmla="*/ 3 h 72"/>
                <a:gd name="T118" fmla="*/ 19 w 56"/>
                <a:gd name="T119" fmla="*/ 4 h 72"/>
                <a:gd name="T120" fmla="*/ 14 w 56"/>
                <a:gd name="T121" fmla="*/ 4 h 72"/>
                <a:gd name="T122" fmla="*/ 13 w 56"/>
                <a:gd name="T123" fmla="*/ 6 h 72"/>
                <a:gd name="T124" fmla="*/ 13 w 56"/>
                <a:gd name="T125" fmla="*/ 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" h="72">
                  <a:moveTo>
                    <a:pt x="13" y="6"/>
                  </a:moveTo>
                  <a:lnTo>
                    <a:pt x="13" y="6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5" y="18"/>
                  </a:lnTo>
                  <a:lnTo>
                    <a:pt x="6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10" y="22"/>
                  </a:lnTo>
                  <a:lnTo>
                    <a:pt x="12" y="25"/>
                  </a:lnTo>
                  <a:lnTo>
                    <a:pt x="10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6" y="28"/>
                  </a:lnTo>
                  <a:lnTo>
                    <a:pt x="5" y="29"/>
                  </a:lnTo>
                  <a:lnTo>
                    <a:pt x="3" y="32"/>
                  </a:lnTo>
                  <a:lnTo>
                    <a:pt x="5" y="38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7" y="46"/>
                  </a:lnTo>
                  <a:lnTo>
                    <a:pt x="7" y="47"/>
                  </a:lnTo>
                  <a:lnTo>
                    <a:pt x="5" y="53"/>
                  </a:lnTo>
                  <a:lnTo>
                    <a:pt x="2" y="58"/>
                  </a:lnTo>
                  <a:lnTo>
                    <a:pt x="0" y="60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3" y="64"/>
                  </a:lnTo>
                  <a:lnTo>
                    <a:pt x="3" y="67"/>
                  </a:lnTo>
                  <a:lnTo>
                    <a:pt x="3" y="69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7" y="72"/>
                  </a:lnTo>
                  <a:lnTo>
                    <a:pt x="16" y="71"/>
                  </a:lnTo>
                  <a:lnTo>
                    <a:pt x="25" y="68"/>
                  </a:lnTo>
                  <a:lnTo>
                    <a:pt x="30" y="65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9" y="57"/>
                  </a:lnTo>
                  <a:lnTo>
                    <a:pt x="44" y="56"/>
                  </a:lnTo>
                  <a:lnTo>
                    <a:pt x="46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52" y="56"/>
                  </a:lnTo>
                  <a:lnTo>
                    <a:pt x="55" y="54"/>
                  </a:lnTo>
                  <a:lnTo>
                    <a:pt x="56" y="51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3" y="46"/>
                  </a:lnTo>
                  <a:lnTo>
                    <a:pt x="52" y="40"/>
                  </a:lnTo>
                  <a:lnTo>
                    <a:pt x="52" y="33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0" y="21"/>
                  </a:lnTo>
                  <a:lnTo>
                    <a:pt x="46" y="14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1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19" y="4"/>
                  </a:lnTo>
                  <a:lnTo>
                    <a:pt x="14" y="4"/>
                  </a:lnTo>
                  <a:lnTo>
                    <a:pt x="13" y="6"/>
                  </a:lnTo>
                  <a:lnTo>
                    <a:pt x="13" y="6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2" name="Freeform 49">
              <a:extLst>
                <a:ext uri="{FF2B5EF4-FFF2-40B4-BE49-F238E27FC236}">
                  <a16:creationId xmlns:a16="http://schemas.microsoft.com/office/drawing/2014/main" id="{E33050D1-3471-4C44-8CF2-E5152AC3E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72276" y="3319463"/>
              <a:ext cx="103188" cy="138113"/>
            </a:xfrm>
            <a:custGeom>
              <a:avLst/>
              <a:gdLst>
                <a:gd name="T0" fmla="*/ 65 w 65"/>
                <a:gd name="T1" fmla="*/ 72 h 87"/>
                <a:gd name="T2" fmla="*/ 61 w 65"/>
                <a:gd name="T3" fmla="*/ 44 h 87"/>
                <a:gd name="T4" fmla="*/ 60 w 65"/>
                <a:gd name="T5" fmla="*/ 41 h 87"/>
                <a:gd name="T6" fmla="*/ 54 w 65"/>
                <a:gd name="T7" fmla="*/ 48 h 87"/>
                <a:gd name="T8" fmla="*/ 50 w 65"/>
                <a:gd name="T9" fmla="*/ 54 h 87"/>
                <a:gd name="T10" fmla="*/ 49 w 65"/>
                <a:gd name="T11" fmla="*/ 54 h 87"/>
                <a:gd name="T12" fmla="*/ 46 w 65"/>
                <a:gd name="T13" fmla="*/ 51 h 87"/>
                <a:gd name="T14" fmla="*/ 46 w 65"/>
                <a:gd name="T15" fmla="*/ 40 h 87"/>
                <a:gd name="T16" fmla="*/ 49 w 65"/>
                <a:gd name="T17" fmla="*/ 37 h 87"/>
                <a:gd name="T18" fmla="*/ 52 w 65"/>
                <a:gd name="T19" fmla="*/ 37 h 87"/>
                <a:gd name="T20" fmla="*/ 57 w 65"/>
                <a:gd name="T21" fmla="*/ 30 h 87"/>
                <a:gd name="T22" fmla="*/ 61 w 65"/>
                <a:gd name="T23" fmla="*/ 22 h 87"/>
                <a:gd name="T24" fmla="*/ 60 w 65"/>
                <a:gd name="T25" fmla="*/ 19 h 87"/>
                <a:gd name="T26" fmla="*/ 50 w 65"/>
                <a:gd name="T27" fmla="*/ 18 h 87"/>
                <a:gd name="T28" fmla="*/ 32 w 65"/>
                <a:gd name="T29" fmla="*/ 19 h 87"/>
                <a:gd name="T30" fmla="*/ 28 w 65"/>
                <a:gd name="T31" fmla="*/ 17 h 87"/>
                <a:gd name="T32" fmla="*/ 25 w 65"/>
                <a:gd name="T33" fmla="*/ 11 h 87"/>
                <a:gd name="T34" fmla="*/ 24 w 65"/>
                <a:gd name="T35" fmla="*/ 8 h 87"/>
                <a:gd name="T36" fmla="*/ 20 w 65"/>
                <a:gd name="T37" fmla="*/ 4 h 87"/>
                <a:gd name="T38" fmla="*/ 14 w 65"/>
                <a:gd name="T39" fmla="*/ 3 h 87"/>
                <a:gd name="T40" fmla="*/ 7 w 65"/>
                <a:gd name="T41" fmla="*/ 0 h 87"/>
                <a:gd name="T42" fmla="*/ 2 w 65"/>
                <a:gd name="T43" fmla="*/ 3 h 87"/>
                <a:gd name="T44" fmla="*/ 0 w 65"/>
                <a:gd name="T45" fmla="*/ 5 h 87"/>
                <a:gd name="T46" fmla="*/ 6 w 65"/>
                <a:gd name="T47" fmla="*/ 10 h 87"/>
                <a:gd name="T48" fmla="*/ 11 w 65"/>
                <a:gd name="T49" fmla="*/ 14 h 87"/>
                <a:gd name="T50" fmla="*/ 11 w 65"/>
                <a:gd name="T51" fmla="*/ 17 h 87"/>
                <a:gd name="T52" fmla="*/ 7 w 65"/>
                <a:gd name="T53" fmla="*/ 19 h 87"/>
                <a:gd name="T54" fmla="*/ 3 w 65"/>
                <a:gd name="T55" fmla="*/ 22 h 87"/>
                <a:gd name="T56" fmla="*/ 3 w 65"/>
                <a:gd name="T57" fmla="*/ 28 h 87"/>
                <a:gd name="T58" fmla="*/ 7 w 65"/>
                <a:gd name="T59" fmla="*/ 46 h 87"/>
                <a:gd name="T60" fmla="*/ 10 w 65"/>
                <a:gd name="T61" fmla="*/ 58 h 87"/>
                <a:gd name="T62" fmla="*/ 13 w 65"/>
                <a:gd name="T63" fmla="*/ 75 h 87"/>
                <a:gd name="T64" fmla="*/ 18 w 65"/>
                <a:gd name="T65" fmla="*/ 73 h 87"/>
                <a:gd name="T66" fmla="*/ 22 w 65"/>
                <a:gd name="T67" fmla="*/ 72 h 87"/>
                <a:gd name="T68" fmla="*/ 34 w 65"/>
                <a:gd name="T69" fmla="*/ 69 h 87"/>
                <a:gd name="T70" fmla="*/ 35 w 65"/>
                <a:gd name="T71" fmla="*/ 65 h 87"/>
                <a:gd name="T72" fmla="*/ 39 w 65"/>
                <a:gd name="T73" fmla="*/ 60 h 87"/>
                <a:gd name="T74" fmla="*/ 45 w 65"/>
                <a:gd name="T75" fmla="*/ 58 h 87"/>
                <a:gd name="T76" fmla="*/ 47 w 65"/>
                <a:gd name="T77" fmla="*/ 61 h 87"/>
                <a:gd name="T78" fmla="*/ 53 w 65"/>
                <a:gd name="T79" fmla="*/ 73 h 87"/>
                <a:gd name="T80" fmla="*/ 53 w 65"/>
                <a:gd name="T81" fmla="*/ 79 h 87"/>
                <a:gd name="T82" fmla="*/ 56 w 65"/>
                <a:gd name="T83" fmla="*/ 87 h 87"/>
                <a:gd name="T84" fmla="*/ 61 w 65"/>
                <a:gd name="T85" fmla="*/ 83 h 87"/>
                <a:gd name="T86" fmla="*/ 63 w 65"/>
                <a:gd name="T87" fmla="*/ 79 h 87"/>
                <a:gd name="T88" fmla="*/ 65 w 65"/>
                <a:gd name="T89" fmla="*/ 7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5" h="87">
                  <a:moveTo>
                    <a:pt x="65" y="72"/>
                  </a:moveTo>
                  <a:lnTo>
                    <a:pt x="65" y="72"/>
                  </a:lnTo>
                  <a:lnTo>
                    <a:pt x="63" y="51"/>
                  </a:lnTo>
                  <a:lnTo>
                    <a:pt x="61" y="44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57" y="44"/>
                  </a:lnTo>
                  <a:lnTo>
                    <a:pt x="54" y="48"/>
                  </a:lnTo>
                  <a:lnTo>
                    <a:pt x="52" y="53"/>
                  </a:lnTo>
                  <a:lnTo>
                    <a:pt x="50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6" y="54"/>
                  </a:lnTo>
                  <a:lnTo>
                    <a:pt x="46" y="51"/>
                  </a:lnTo>
                  <a:lnTo>
                    <a:pt x="45" y="46"/>
                  </a:lnTo>
                  <a:lnTo>
                    <a:pt x="46" y="40"/>
                  </a:lnTo>
                  <a:lnTo>
                    <a:pt x="47" y="39"/>
                  </a:lnTo>
                  <a:lnTo>
                    <a:pt x="49" y="37"/>
                  </a:lnTo>
                  <a:lnTo>
                    <a:pt x="49" y="37"/>
                  </a:lnTo>
                  <a:lnTo>
                    <a:pt x="52" y="37"/>
                  </a:lnTo>
                  <a:lnTo>
                    <a:pt x="53" y="36"/>
                  </a:lnTo>
                  <a:lnTo>
                    <a:pt x="57" y="30"/>
                  </a:lnTo>
                  <a:lnTo>
                    <a:pt x="60" y="26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0" y="19"/>
                  </a:lnTo>
                  <a:lnTo>
                    <a:pt x="59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28" y="17"/>
                  </a:lnTo>
                  <a:lnTo>
                    <a:pt x="27" y="14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4" y="8"/>
                  </a:lnTo>
                  <a:lnTo>
                    <a:pt x="22" y="5"/>
                  </a:lnTo>
                  <a:lnTo>
                    <a:pt x="20" y="4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0" y="1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7"/>
                  </a:lnTo>
                  <a:lnTo>
                    <a:pt x="6" y="10"/>
                  </a:lnTo>
                  <a:lnTo>
                    <a:pt x="10" y="12"/>
                  </a:lnTo>
                  <a:lnTo>
                    <a:pt x="11" y="14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9"/>
                  </a:lnTo>
                  <a:lnTo>
                    <a:pt x="7" y="19"/>
                  </a:lnTo>
                  <a:lnTo>
                    <a:pt x="4" y="21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8"/>
                  </a:lnTo>
                  <a:lnTo>
                    <a:pt x="4" y="33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10" y="58"/>
                  </a:lnTo>
                  <a:lnTo>
                    <a:pt x="11" y="66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8" y="73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31" y="71"/>
                  </a:lnTo>
                  <a:lnTo>
                    <a:pt x="34" y="69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6" y="62"/>
                  </a:lnTo>
                  <a:lnTo>
                    <a:pt x="39" y="60"/>
                  </a:lnTo>
                  <a:lnTo>
                    <a:pt x="42" y="58"/>
                  </a:lnTo>
                  <a:lnTo>
                    <a:pt x="45" y="58"/>
                  </a:lnTo>
                  <a:lnTo>
                    <a:pt x="45" y="58"/>
                  </a:lnTo>
                  <a:lnTo>
                    <a:pt x="47" y="61"/>
                  </a:lnTo>
                  <a:lnTo>
                    <a:pt x="50" y="66"/>
                  </a:lnTo>
                  <a:lnTo>
                    <a:pt x="53" y="73"/>
                  </a:lnTo>
                  <a:lnTo>
                    <a:pt x="53" y="79"/>
                  </a:lnTo>
                  <a:lnTo>
                    <a:pt x="53" y="79"/>
                  </a:lnTo>
                  <a:lnTo>
                    <a:pt x="54" y="83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3" y="79"/>
                  </a:lnTo>
                  <a:lnTo>
                    <a:pt x="65" y="72"/>
                  </a:lnTo>
                  <a:lnTo>
                    <a:pt x="65" y="72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3" name="Freeform 50">
              <a:extLst>
                <a:ext uri="{FF2B5EF4-FFF2-40B4-BE49-F238E27FC236}">
                  <a16:creationId xmlns:a16="http://schemas.microsoft.com/office/drawing/2014/main" id="{9A98343E-9F2D-46D6-83F5-F3AEE53AC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9676" y="3063875"/>
              <a:ext cx="690563" cy="727075"/>
            </a:xfrm>
            <a:custGeom>
              <a:avLst/>
              <a:gdLst>
                <a:gd name="T0" fmla="*/ 314 w 435"/>
                <a:gd name="T1" fmla="*/ 180 h 458"/>
                <a:gd name="T2" fmla="*/ 306 w 435"/>
                <a:gd name="T3" fmla="*/ 164 h 458"/>
                <a:gd name="T4" fmla="*/ 329 w 435"/>
                <a:gd name="T5" fmla="*/ 172 h 458"/>
                <a:gd name="T6" fmla="*/ 364 w 435"/>
                <a:gd name="T7" fmla="*/ 180 h 458"/>
                <a:gd name="T8" fmla="*/ 351 w 435"/>
                <a:gd name="T9" fmla="*/ 200 h 458"/>
                <a:gd name="T10" fmla="*/ 358 w 435"/>
                <a:gd name="T11" fmla="*/ 209 h 458"/>
                <a:gd name="T12" fmla="*/ 372 w 435"/>
                <a:gd name="T13" fmla="*/ 232 h 458"/>
                <a:gd name="T14" fmla="*/ 379 w 435"/>
                <a:gd name="T15" fmla="*/ 201 h 458"/>
                <a:gd name="T16" fmla="*/ 394 w 435"/>
                <a:gd name="T17" fmla="*/ 191 h 458"/>
                <a:gd name="T18" fmla="*/ 403 w 435"/>
                <a:gd name="T19" fmla="*/ 158 h 458"/>
                <a:gd name="T20" fmla="*/ 428 w 435"/>
                <a:gd name="T21" fmla="*/ 146 h 458"/>
                <a:gd name="T22" fmla="*/ 431 w 435"/>
                <a:gd name="T23" fmla="*/ 133 h 458"/>
                <a:gd name="T24" fmla="*/ 425 w 435"/>
                <a:gd name="T25" fmla="*/ 121 h 458"/>
                <a:gd name="T26" fmla="*/ 408 w 435"/>
                <a:gd name="T27" fmla="*/ 112 h 458"/>
                <a:gd name="T28" fmla="*/ 379 w 435"/>
                <a:gd name="T29" fmla="*/ 121 h 458"/>
                <a:gd name="T30" fmla="*/ 357 w 435"/>
                <a:gd name="T31" fmla="*/ 137 h 458"/>
                <a:gd name="T32" fmla="*/ 343 w 435"/>
                <a:gd name="T33" fmla="*/ 153 h 458"/>
                <a:gd name="T34" fmla="*/ 321 w 435"/>
                <a:gd name="T35" fmla="*/ 150 h 458"/>
                <a:gd name="T36" fmla="*/ 313 w 435"/>
                <a:gd name="T37" fmla="*/ 132 h 458"/>
                <a:gd name="T38" fmla="*/ 303 w 435"/>
                <a:gd name="T39" fmla="*/ 147 h 458"/>
                <a:gd name="T40" fmla="*/ 270 w 435"/>
                <a:gd name="T41" fmla="*/ 154 h 458"/>
                <a:gd name="T42" fmla="*/ 238 w 435"/>
                <a:gd name="T43" fmla="*/ 141 h 458"/>
                <a:gd name="T44" fmla="*/ 207 w 435"/>
                <a:gd name="T45" fmla="*/ 130 h 458"/>
                <a:gd name="T46" fmla="*/ 189 w 435"/>
                <a:gd name="T47" fmla="*/ 119 h 458"/>
                <a:gd name="T48" fmla="*/ 195 w 435"/>
                <a:gd name="T49" fmla="*/ 97 h 458"/>
                <a:gd name="T50" fmla="*/ 179 w 435"/>
                <a:gd name="T51" fmla="*/ 80 h 458"/>
                <a:gd name="T52" fmla="*/ 163 w 435"/>
                <a:gd name="T53" fmla="*/ 61 h 458"/>
                <a:gd name="T54" fmla="*/ 172 w 435"/>
                <a:gd name="T55" fmla="*/ 53 h 458"/>
                <a:gd name="T56" fmla="*/ 167 w 435"/>
                <a:gd name="T57" fmla="*/ 25 h 458"/>
                <a:gd name="T58" fmla="*/ 154 w 435"/>
                <a:gd name="T59" fmla="*/ 4 h 458"/>
                <a:gd name="T60" fmla="*/ 129 w 435"/>
                <a:gd name="T61" fmla="*/ 14 h 458"/>
                <a:gd name="T62" fmla="*/ 93 w 435"/>
                <a:gd name="T63" fmla="*/ 14 h 458"/>
                <a:gd name="T64" fmla="*/ 95 w 435"/>
                <a:gd name="T65" fmla="*/ 44 h 458"/>
                <a:gd name="T66" fmla="*/ 108 w 435"/>
                <a:gd name="T67" fmla="*/ 58 h 458"/>
                <a:gd name="T68" fmla="*/ 97 w 435"/>
                <a:gd name="T69" fmla="*/ 82 h 458"/>
                <a:gd name="T70" fmla="*/ 86 w 435"/>
                <a:gd name="T71" fmla="*/ 96 h 458"/>
                <a:gd name="T72" fmla="*/ 63 w 435"/>
                <a:gd name="T73" fmla="*/ 121 h 458"/>
                <a:gd name="T74" fmla="*/ 45 w 435"/>
                <a:gd name="T75" fmla="*/ 133 h 458"/>
                <a:gd name="T76" fmla="*/ 24 w 435"/>
                <a:gd name="T77" fmla="*/ 140 h 458"/>
                <a:gd name="T78" fmla="*/ 29 w 435"/>
                <a:gd name="T79" fmla="*/ 159 h 458"/>
                <a:gd name="T80" fmla="*/ 42 w 435"/>
                <a:gd name="T81" fmla="*/ 190 h 458"/>
                <a:gd name="T82" fmla="*/ 15 w 435"/>
                <a:gd name="T83" fmla="*/ 194 h 458"/>
                <a:gd name="T84" fmla="*/ 14 w 435"/>
                <a:gd name="T85" fmla="*/ 218 h 458"/>
                <a:gd name="T86" fmla="*/ 31 w 435"/>
                <a:gd name="T87" fmla="*/ 221 h 458"/>
                <a:gd name="T88" fmla="*/ 38 w 435"/>
                <a:gd name="T89" fmla="*/ 252 h 458"/>
                <a:gd name="T90" fmla="*/ 60 w 435"/>
                <a:gd name="T91" fmla="*/ 237 h 458"/>
                <a:gd name="T92" fmla="*/ 68 w 435"/>
                <a:gd name="T93" fmla="*/ 246 h 458"/>
                <a:gd name="T94" fmla="*/ 71 w 435"/>
                <a:gd name="T95" fmla="*/ 286 h 458"/>
                <a:gd name="T96" fmla="*/ 97 w 435"/>
                <a:gd name="T97" fmla="*/ 366 h 458"/>
                <a:gd name="T98" fmla="*/ 124 w 435"/>
                <a:gd name="T99" fmla="*/ 433 h 458"/>
                <a:gd name="T100" fmla="*/ 153 w 435"/>
                <a:gd name="T101" fmla="*/ 447 h 458"/>
                <a:gd name="T102" fmla="*/ 171 w 435"/>
                <a:gd name="T103" fmla="*/ 423 h 458"/>
                <a:gd name="T104" fmla="*/ 182 w 435"/>
                <a:gd name="T105" fmla="*/ 391 h 458"/>
                <a:gd name="T106" fmla="*/ 186 w 435"/>
                <a:gd name="T107" fmla="*/ 345 h 458"/>
                <a:gd name="T108" fmla="*/ 207 w 435"/>
                <a:gd name="T109" fmla="*/ 322 h 458"/>
                <a:gd name="T110" fmla="*/ 256 w 435"/>
                <a:gd name="T111" fmla="*/ 277 h 458"/>
                <a:gd name="T112" fmla="*/ 285 w 435"/>
                <a:gd name="T113" fmla="*/ 246 h 458"/>
                <a:gd name="T114" fmla="*/ 315 w 435"/>
                <a:gd name="T115" fmla="*/ 227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58">
                  <a:moveTo>
                    <a:pt x="311" y="207"/>
                  </a:moveTo>
                  <a:lnTo>
                    <a:pt x="311" y="207"/>
                  </a:lnTo>
                  <a:lnTo>
                    <a:pt x="308" y="194"/>
                  </a:lnTo>
                  <a:lnTo>
                    <a:pt x="307" y="189"/>
                  </a:lnTo>
                  <a:lnTo>
                    <a:pt x="307" y="183"/>
                  </a:lnTo>
                  <a:lnTo>
                    <a:pt x="307" y="183"/>
                  </a:lnTo>
                  <a:lnTo>
                    <a:pt x="308" y="182"/>
                  </a:lnTo>
                  <a:lnTo>
                    <a:pt x="311" y="180"/>
                  </a:lnTo>
                  <a:lnTo>
                    <a:pt x="314" y="180"/>
                  </a:lnTo>
                  <a:lnTo>
                    <a:pt x="315" y="178"/>
                  </a:lnTo>
                  <a:lnTo>
                    <a:pt x="315" y="178"/>
                  </a:lnTo>
                  <a:lnTo>
                    <a:pt x="315" y="175"/>
                  </a:lnTo>
                  <a:lnTo>
                    <a:pt x="314" y="173"/>
                  </a:lnTo>
                  <a:lnTo>
                    <a:pt x="310" y="171"/>
                  </a:lnTo>
                  <a:lnTo>
                    <a:pt x="304" y="168"/>
                  </a:lnTo>
                  <a:lnTo>
                    <a:pt x="304" y="166"/>
                  </a:lnTo>
                  <a:lnTo>
                    <a:pt x="306" y="164"/>
                  </a:lnTo>
                  <a:lnTo>
                    <a:pt x="306" y="164"/>
                  </a:lnTo>
                  <a:lnTo>
                    <a:pt x="308" y="161"/>
                  </a:lnTo>
                  <a:lnTo>
                    <a:pt x="311" y="161"/>
                  </a:lnTo>
                  <a:lnTo>
                    <a:pt x="314" y="162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24" y="165"/>
                  </a:lnTo>
                  <a:lnTo>
                    <a:pt x="326" y="166"/>
                  </a:lnTo>
                  <a:lnTo>
                    <a:pt x="328" y="169"/>
                  </a:lnTo>
                  <a:lnTo>
                    <a:pt x="329" y="172"/>
                  </a:lnTo>
                  <a:lnTo>
                    <a:pt x="329" y="172"/>
                  </a:lnTo>
                  <a:lnTo>
                    <a:pt x="331" y="175"/>
                  </a:lnTo>
                  <a:lnTo>
                    <a:pt x="332" y="178"/>
                  </a:lnTo>
                  <a:lnTo>
                    <a:pt x="336" y="180"/>
                  </a:lnTo>
                  <a:lnTo>
                    <a:pt x="336" y="180"/>
                  </a:lnTo>
                  <a:lnTo>
                    <a:pt x="354" y="179"/>
                  </a:lnTo>
                  <a:lnTo>
                    <a:pt x="354" y="179"/>
                  </a:lnTo>
                  <a:lnTo>
                    <a:pt x="363" y="179"/>
                  </a:lnTo>
                  <a:lnTo>
                    <a:pt x="364" y="180"/>
                  </a:lnTo>
                  <a:lnTo>
                    <a:pt x="365" y="183"/>
                  </a:lnTo>
                  <a:lnTo>
                    <a:pt x="365" y="183"/>
                  </a:lnTo>
                  <a:lnTo>
                    <a:pt x="364" y="187"/>
                  </a:lnTo>
                  <a:lnTo>
                    <a:pt x="361" y="191"/>
                  </a:lnTo>
                  <a:lnTo>
                    <a:pt x="357" y="197"/>
                  </a:lnTo>
                  <a:lnTo>
                    <a:pt x="356" y="198"/>
                  </a:lnTo>
                  <a:lnTo>
                    <a:pt x="353" y="198"/>
                  </a:lnTo>
                  <a:lnTo>
                    <a:pt x="353" y="198"/>
                  </a:lnTo>
                  <a:lnTo>
                    <a:pt x="351" y="200"/>
                  </a:lnTo>
                  <a:lnTo>
                    <a:pt x="350" y="201"/>
                  </a:lnTo>
                  <a:lnTo>
                    <a:pt x="349" y="207"/>
                  </a:lnTo>
                  <a:lnTo>
                    <a:pt x="350" y="212"/>
                  </a:lnTo>
                  <a:lnTo>
                    <a:pt x="350" y="215"/>
                  </a:lnTo>
                  <a:lnTo>
                    <a:pt x="353" y="215"/>
                  </a:lnTo>
                  <a:lnTo>
                    <a:pt x="353" y="215"/>
                  </a:lnTo>
                  <a:lnTo>
                    <a:pt x="354" y="215"/>
                  </a:lnTo>
                  <a:lnTo>
                    <a:pt x="356" y="214"/>
                  </a:lnTo>
                  <a:lnTo>
                    <a:pt x="358" y="209"/>
                  </a:lnTo>
                  <a:lnTo>
                    <a:pt x="361" y="205"/>
                  </a:lnTo>
                  <a:lnTo>
                    <a:pt x="364" y="202"/>
                  </a:lnTo>
                  <a:lnTo>
                    <a:pt x="364" y="202"/>
                  </a:lnTo>
                  <a:lnTo>
                    <a:pt x="365" y="205"/>
                  </a:lnTo>
                  <a:lnTo>
                    <a:pt x="367" y="212"/>
                  </a:lnTo>
                  <a:lnTo>
                    <a:pt x="369" y="233"/>
                  </a:lnTo>
                  <a:lnTo>
                    <a:pt x="369" y="233"/>
                  </a:lnTo>
                  <a:lnTo>
                    <a:pt x="372" y="232"/>
                  </a:lnTo>
                  <a:lnTo>
                    <a:pt x="372" y="232"/>
                  </a:lnTo>
                  <a:lnTo>
                    <a:pt x="374" y="232"/>
                  </a:lnTo>
                  <a:lnTo>
                    <a:pt x="374" y="230"/>
                  </a:lnTo>
                  <a:lnTo>
                    <a:pt x="375" y="225"/>
                  </a:lnTo>
                  <a:lnTo>
                    <a:pt x="375" y="219"/>
                  </a:lnTo>
                  <a:lnTo>
                    <a:pt x="376" y="215"/>
                  </a:lnTo>
                  <a:lnTo>
                    <a:pt x="376" y="215"/>
                  </a:lnTo>
                  <a:lnTo>
                    <a:pt x="378" y="211"/>
                  </a:lnTo>
                  <a:lnTo>
                    <a:pt x="378" y="207"/>
                  </a:lnTo>
                  <a:lnTo>
                    <a:pt x="379" y="201"/>
                  </a:lnTo>
                  <a:lnTo>
                    <a:pt x="379" y="200"/>
                  </a:lnTo>
                  <a:lnTo>
                    <a:pt x="379" y="200"/>
                  </a:lnTo>
                  <a:lnTo>
                    <a:pt x="386" y="201"/>
                  </a:lnTo>
                  <a:lnTo>
                    <a:pt x="390" y="201"/>
                  </a:lnTo>
                  <a:lnTo>
                    <a:pt x="392" y="201"/>
                  </a:lnTo>
                  <a:lnTo>
                    <a:pt x="392" y="200"/>
                  </a:lnTo>
                  <a:lnTo>
                    <a:pt x="392" y="200"/>
                  </a:lnTo>
                  <a:lnTo>
                    <a:pt x="393" y="197"/>
                  </a:lnTo>
                  <a:lnTo>
                    <a:pt x="394" y="191"/>
                  </a:lnTo>
                  <a:lnTo>
                    <a:pt x="397" y="186"/>
                  </a:lnTo>
                  <a:lnTo>
                    <a:pt x="397" y="182"/>
                  </a:lnTo>
                  <a:lnTo>
                    <a:pt x="397" y="182"/>
                  </a:lnTo>
                  <a:lnTo>
                    <a:pt x="397" y="176"/>
                  </a:lnTo>
                  <a:lnTo>
                    <a:pt x="399" y="172"/>
                  </a:lnTo>
                  <a:lnTo>
                    <a:pt x="401" y="168"/>
                  </a:lnTo>
                  <a:lnTo>
                    <a:pt x="401" y="162"/>
                  </a:lnTo>
                  <a:lnTo>
                    <a:pt x="401" y="162"/>
                  </a:lnTo>
                  <a:lnTo>
                    <a:pt x="403" y="158"/>
                  </a:lnTo>
                  <a:lnTo>
                    <a:pt x="406" y="155"/>
                  </a:lnTo>
                  <a:lnTo>
                    <a:pt x="412" y="150"/>
                  </a:lnTo>
                  <a:lnTo>
                    <a:pt x="412" y="150"/>
                  </a:lnTo>
                  <a:lnTo>
                    <a:pt x="419" y="144"/>
                  </a:lnTo>
                  <a:lnTo>
                    <a:pt x="424" y="143"/>
                  </a:lnTo>
                  <a:lnTo>
                    <a:pt x="425" y="143"/>
                  </a:lnTo>
                  <a:lnTo>
                    <a:pt x="425" y="144"/>
                  </a:lnTo>
                  <a:lnTo>
                    <a:pt x="425" y="144"/>
                  </a:lnTo>
                  <a:lnTo>
                    <a:pt x="428" y="146"/>
                  </a:lnTo>
                  <a:lnTo>
                    <a:pt x="431" y="147"/>
                  </a:lnTo>
                  <a:lnTo>
                    <a:pt x="433" y="147"/>
                  </a:lnTo>
                  <a:lnTo>
                    <a:pt x="433" y="146"/>
                  </a:lnTo>
                  <a:lnTo>
                    <a:pt x="432" y="144"/>
                  </a:lnTo>
                  <a:lnTo>
                    <a:pt x="432" y="144"/>
                  </a:lnTo>
                  <a:lnTo>
                    <a:pt x="431" y="140"/>
                  </a:lnTo>
                  <a:lnTo>
                    <a:pt x="429" y="137"/>
                  </a:lnTo>
                  <a:lnTo>
                    <a:pt x="429" y="134"/>
                  </a:lnTo>
                  <a:lnTo>
                    <a:pt x="431" y="133"/>
                  </a:lnTo>
                  <a:lnTo>
                    <a:pt x="431" y="133"/>
                  </a:lnTo>
                  <a:lnTo>
                    <a:pt x="432" y="132"/>
                  </a:lnTo>
                  <a:lnTo>
                    <a:pt x="433" y="129"/>
                  </a:lnTo>
                  <a:lnTo>
                    <a:pt x="435" y="126"/>
                  </a:lnTo>
                  <a:lnTo>
                    <a:pt x="435" y="126"/>
                  </a:lnTo>
                  <a:lnTo>
                    <a:pt x="431" y="125"/>
                  </a:lnTo>
                  <a:lnTo>
                    <a:pt x="428" y="123"/>
                  </a:lnTo>
                  <a:lnTo>
                    <a:pt x="425" y="121"/>
                  </a:lnTo>
                  <a:lnTo>
                    <a:pt x="425" y="121"/>
                  </a:lnTo>
                  <a:lnTo>
                    <a:pt x="422" y="116"/>
                  </a:lnTo>
                  <a:lnTo>
                    <a:pt x="419" y="114"/>
                  </a:lnTo>
                  <a:lnTo>
                    <a:pt x="419" y="111"/>
                  </a:lnTo>
                  <a:lnTo>
                    <a:pt x="419" y="111"/>
                  </a:lnTo>
                  <a:lnTo>
                    <a:pt x="418" y="109"/>
                  </a:lnTo>
                  <a:lnTo>
                    <a:pt x="417" y="109"/>
                  </a:lnTo>
                  <a:lnTo>
                    <a:pt x="411" y="112"/>
                  </a:lnTo>
                  <a:lnTo>
                    <a:pt x="411" y="112"/>
                  </a:lnTo>
                  <a:lnTo>
                    <a:pt x="408" y="112"/>
                  </a:lnTo>
                  <a:lnTo>
                    <a:pt x="403" y="112"/>
                  </a:lnTo>
                  <a:lnTo>
                    <a:pt x="399" y="111"/>
                  </a:lnTo>
                  <a:lnTo>
                    <a:pt x="393" y="112"/>
                  </a:lnTo>
                  <a:lnTo>
                    <a:pt x="393" y="112"/>
                  </a:lnTo>
                  <a:lnTo>
                    <a:pt x="388" y="116"/>
                  </a:lnTo>
                  <a:lnTo>
                    <a:pt x="385" y="119"/>
                  </a:lnTo>
                  <a:lnTo>
                    <a:pt x="382" y="121"/>
                  </a:lnTo>
                  <a:lnTo>
                    <a:pt x="379" y="121"/>
                  </a:lnTo>
                  <a:lnTo>
                    <a:pt x="379" y="121"/>
                  </a:lnTo>
                  <a:lnTo>
                    <a:pt x="376" y="122"/>
                  </a:lnTo>
                  <a:lnTo>
                    <a:pt x="375" y="123"/>
                  </a:lnTo>
                  <a:lnTo>
                    <a:pt x="372" y="128"/>
                  </a:lnTo>
                  <a:lnTo>
                    <a:pt x="372" y="128"/>
                  </a:lnTo>
                  <a:lnTo>
                    <a:pt x="368" y="132"/>
                  </a:lnTo>
                  <a:lnTo>
                    <a:pt x="365" y="134"/>
                  </a:lnTo>
                  <a:lnTo>
                    <a:pt x="365" y="134"/>
                  </a:lnTo>
                  <a:lnTo>
                    <a:pt x="361" y="136"/>
                  </a:lnTo>
                  <a:lnTo>
                    <a:pt x="357" y="137"/>
                  </a:lnTo>
                  <a:lnTo>
                    <a:pt x="357" y="137"/>
                  </a:lnTo>
                  <a:lnTo>
                    <a:pt x="360" y="143"/>
                  </a:lnTo>
                  <a:lnTo>
                    <a:pt x="360" y="147"/>
                  </a:lnTo>
                  <a:lnTo>
                    <a:pt x="360" y="151"/>
                  </a:lnTo>
                  <a:lnTo>
                    <a:pt x="360" y="151"/>
                  </a:lnTo>
                  <a:lnTo>
                    <a:pt x="357" y="153"/>
                  </a:lnTo>
                  <a:lnTo>
                    <a:pt x="353" y="153"/>
                  </a:lnTo>
                  <a:lnTo>
                    <a:pt x="349" y="153"/>
                  </a:lnTo>
                  <a:lnTo>
                    <a:pt x="343" y="153"/>
                  </a:lnTo>
                  <a:lnTo>
                    <a:pt x="343" y="153"/>
                  </a:lnTo>
                  <a:lnTo>
                    <a:pt x="339" y="153"/>
                  </a:lnTo>
                  <a:lnTo>
                    <a:pt x="336" y="153"/>
                  </a:lnTo>
                  <a:lnTo>
                    <a:pt x="332" y="151"/>
                  </a:lnTo>
                  <a:lnTo>
                    <a:pt x="329" y="151"/>
                  </a:lnTo>
                  <a:lnTo>
                    <a:pt x="329" y="151"/>
                  </a:lnTo>
                  <a:lnTo>
                    <a:pt x="325" y="151"/>
                  </a:lnTo>
                  <a:lnTo>
                    <a:pt x="322" y="151"/>
                  </a:lnTo>
                  <a:lnTo>
                    <a:pt x="321" y="150"/>
                  </a:lnTo>
                  <a:lnTo>
                    <a:pt x="318" y="150"/>
                  </a:lnTo>
                  <a:lnTo>
                    <a:pt x="318" y="150"/>
                  </a:lnTo>
                  <a:lnTo>
                    <a:pt x="317" y="148"/>
                  </a:lnTo>
                  <a:lnTo>
                    <a:pt x="314" y="146"/>
                  </a:lnTo>
                  <a:lnTo>
                    <a:pt x="314" y="143"/>
                  </a:lnTo>
                  <a:lnTo>
                    <a:pt x="314" y="139"/>
                  </a:lnTo>
                  <a:lnTo>
                    <a:pt x="314" y="139"/>
                  </a:lnTo>
                  <a:lnTo>
                    <a:pt x="314" y="134"/>
                  </a:lnTo>
                  <a:lnTo>
                    <a:pt x="313" y="132"/>
                  </a:lnTo>
                  <a:lnTo>
                    <a:pt x="310" y="129"/>
                  </a:lnTo>
                  <a:lnTo>
                    <a:pt x="308" y="130"/>
                  </a:lnTo>
                  <a:lnTo>
                    <a:pt x="308" y="130"/>
                  </a:lnTo>
                  <a:lnTo>
                    <a:pt x="307" y="133"/>
                  </a:lnTo>
                  <a:lnTo>
                    <a:pt x="304" y="133"/>
                  </a:lnTo>
                  <a:lnTo>
                    <a:pt x="303" y="134"/>
                  </a:lnTo>
                  <a:lnTo>
                    <a:pt x="303" y="137"/>
                  </a:lnTo>
                  <a:lnTo>
                    <a:pt x="303" y="137"/>
                  </a:lnTo>
                  <a:lnTo>
                    <a:pt x="303" y="147"/>
                  </a:lnTo>
                  <a:lnTo>
                    <a:pt x="303" y="151"/>
                  </a:lnTo>
                  <a:lnTo>
                    <a:pt x="301" y="154"/>
                  </a:lnTo>
                  <a:lnTo>
                    <a:pt x="301" y="154"/>
                  </a:lnTo>
                  <a:lnTo>
                    <a:pt x="296" y="157"/>
                  </a:lnTo>
                  <a:lnTo>
                    <a:pt x="288" y="158"/>
                  </a:lnTo>
                  <a:lnTo>
                    <a:pt x="279" y="158"/>
                  </a:lnTo>
                  <a:lnTo>
                    <a:pt x="275" y="157"/>
                  </a:lnTo>
                  <a:lnTo>
                    <a:pt x="275" y="157"/>
                  </a:lnTo>
                  <a:lnTo>
                    <a:pt x="270" y="154"/>
                  </a:lnTo>
                  <a:lnTo>
                    <a:pt x="263" y="153"/>
                  </a:lnTo>
                  <a:lnTo>
                    <a:pt x="257" y="151"/>
                  </a:lnTo>
                  <a:lnTo>
                    <a:pt x="254" y="148"/>
                  </a:lnTo>
                  <a:lnTo>
                    <a:pt x="254" y="148"/>
                  </a:lnTo>
                  <a:lnTo>
                    <a:pt x="250" y="143"/>
                  </a:lnTo>
                  <a:lnTo>
                    <a:pt x="249" y="140"/>
                  </a:lnTo>
                  <a:lnTo>
                    <a:pt x="246" y="140"/>
                  </a:lnTo>
                  <a:lnTo>
                    <a:pt x="246" y="140"/>
                  </a:lnTo>
                  <a:lnTo>
                    <a:pt x="238" y="141"/>
                  </a:lnTo>
                  <a:lnTo>
                    <a:pt x="233" y="143"/>
                  </a:lnTo>
                  <a:lnTo>
                    <a:pt x="231" y="143"/>
                  </a:lnTo>
                  <a:lnTo>
                    <a:pt x="231" y="143"/>
                  </a:lnTo>
                  <a:lnTo>
                    <a:pt x="225" y="139"/>
                  </a:lnTo>
                  <a:lnTo>
                    <a:pt x="221" y="136"/>
                  </a:lnTo>
                  <a:lnTo>
                    <a:pt x="218" y="134"/>
                  </a:lnTo>
                  <a:lnTo>
                    <a:pt x="218" y="134"/>
                  </a:lnTo>
                  <a:lnTo>
                    <a:pt x="210" y="133"/>
                  </a:lnTo>
                  <a:lnTo>
                    <a:pt x="207" y="130"/>
                  </a:lnTo>
                  <a:lnTo>
                    <a:pt x="206" y="129"/>
                  </a:lnTo>
                  <a:lnTo>
                    <a:pt x="206" y="129"/>
                  </a:lnTo>
                  <a:lnTo>
                    <a:pt x="204" y="128"/>
                  </a:lnTo>
                  <a:lnTo>
                    <a:pt x="200" y="126"/>
                  </a:lnTo>
                  <a:lnTo>
                    <a:pt x="196" y="125"/>
                  </a:lnTo>
                  <a:lnTo>
                    <a:pt x="193" y="122"/>
                  </a:lnTo>
                  <a:lnTo>
                    <a:pt x="193" y="122"/>
                  </a:lnTo>
                  <a:lnTo>
                    <a:pt x="192" y="121"/>
                  </a:lnTo>
                  <a:lnTo>
                    <a:pt x="189" y="119"/>
                  </a:lnTo>
                  <a:lnTo>
                    <a:pt x="186" y="118"/>
                  </a:lnTo>
                  <a:lnTo>
                    <a:pt x="185" y="116"/>
                  </a:lnTo>
                  <a:lnTo>
                    <a:pt x="185" y="116"/>
                  </a:lnTo>
                  <a:lnTo>
                    <a:pt x="186" y="111"/>
                  </a:lnTo>
                  <a:lnTo>
                    <a:pt x="188" y="104"/>
                  </a:lnTo>
                  <a:lnTo>
                    <a:pt x="188" y="104"/>
                  </a:lnTo>
                  <a:lnTo>
                    <a:pt x="189" y="101"/>
                  </a:lnTo>
                  <a:lnTo>
                    <a:pt x="192" y="100"/>
                  </a:lnTo>
                  <a:lnTo>
                    <a:pt x="195" y="97"/>
                  </a:lnTo>
                  <a:lnTo>
                    <a:pt x="196" y="94"/>
                  </a:lnTo>
                  <a:lnTo>
                    <a:pt x="196" y="94"/>
                  </a:lnTo>
                  <a:lnTo>
                    <a:pt x="195" y="93"/>
                  </a:lnTo>
                  <a:lnTo>
                    <a:pt x="192" y="90"/>
                  </a:lnTo>
                  <a:lnTo>
                    <a:pt x="189" y="87"/>
                  </a:lnTo>
                  <a:lnTo>
                    <a:pt x="189" y="87"/>
                  </a:lnTo>
                  <a:lnTo>
                    <a:pt x="186" y="84"/>
                  </a:lnTo>
                  <a:lnTo>
                    <a:pt x="183" y="82"/>
                  </a:lnTo>
                  <a:lnTo>
                    <a:pt x="179" y="80"/>
                  </a:lnTo>
                  <a:lnTo>
                    <a:pt x="179" y="80"/>
                  </a:lnTo>
                  <a:lnTo>
                    <a:pt x="176" y="79"/>
                  </a:lnTo>
                  <a:lnTo>
                    <a:pt x="172" y="75"/>
                  </a:lnTo>
                  <a:lnTo>
                    <a:pt x="170" y="72"/>
                  </a:lnTo>
                  <a:lnTo>
                    <a:pt x="167" y="71"/>
                  </a:lnTo>
                  <a:lnTo>
                    <a:pt x="167" y="71"/>
                  </a:lnTo>
                  <a:lnTo>
                    <a:pt x="164" y="69"/>
                  </a:lnTo>
                  <a:lnTo>
                    <a:pt x="163" y="65"/>
                  </a:lnTo>
                  <a:lnTo>
                    <a:pt x="163" y="61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0" y="55"/>
                  </a:lnTo>
                  <a:lnTo>
                    <a:pt x="160" y="53"/>
                  </a:lnTo>
                  <a:lnTo>
                    <a:pt x="161" y="51"/>
                  </a:lnTo>
                  <a:lnTo>
                    <a:pt x="164" y="51"/>
                  </a:lnTo>
                  <a:lnTo>
                    <a:pt x="164" y="51"/>
                  </a:lnTo>
                  <a:lnTo>
                    <a:pt x="168" y="53"/>
                  </a:lnTo>
                  <a:lnTo>
                    <a:pt x="172" y="53"/>
                  </a:lnTo>
                  <a:lnTo>
                    <a:pt x="174" y="50"/>
                  </a:lnTo>
                  <a:lnTo>
                    <a:pt x="175" y="48"/>
                  </a:lnTo>
                  <a:lnTo>
                    <a:pt x="174" y="46"/>
                  </a:lnTo>
                  <a:lnTo>
                    <a:pt x="174" y="46"/>
                  </a:lnTo>
                  <a:lnTo>
                    <a:pt x="168" y="39"/>
                  </a:lnTo>
                  <a:lnTo>
                    <a:pt x="165" y="35"/>
                  </a:lnTo>
                  <a:lnTo>
                    <a:pt x="165" y="32"/>
                  </a:lnTo>
                  <a:lnTo>
                    <a:pt x="165" y="32"/>
                  </a:lnTo>
                  <a:lnTo>
                    <a:pt x="167" y="25"/>
                  </a:lnTo>
                  <a:lnTo>
                    <a:pt x="167" y="21"/>
                  </a:lnTo>
                  <a:lnTo>
                    <a:pt x="165" y="19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58" y="12"/>
                  </a:lnTo>
                  <a:lnTo>
                    <a:pt x="157" y="10"/>
                  </a:lnTo>
                  <a:lnTo>
                    <a:pt x="156" y="7"/>
                  </a:lnTo>
                  <a:lnTo>
                    <a:pt x="156" y="7"/>
                  </a:lnTo>
                  <a:lnTo>
                    <a:pt x="154" y="4"/>
                  </a:lnTo>
                  <a:lnTo>
                    <a:pt x="151" y="1"/>
                  </a:lnTo>
                  <a:lnTo>
                    <a:pt x="149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0" y="5"/>
                  </a:lnTo>
                  <a:lnTo>
                    <a:pt x="139" y="10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29" y="14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0" y="18"/>
                  </a:lnTo>
                  <a:lnTo>
                    <a:pt x="117" y="18"/>
                  </a:lnTo>
                  <a:lnTo>
                    <a:pt x="110" y="16"/>
                  </a:lnTo>
                  <a:lnTo>
                    <a:pt x="104" y="14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3" y="14"/>
                  </a:lnTo>
                  <a:lnTo>
                    <a:pt x="90" y="16"/>
                  </a:lnTo>
                  <a:lnTo>
                    <a:pt x="89" y="19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92" y="25"/>
                  </a:lnTo>
                  <a:lnTo>
                    <a:pt x="92" y="30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5" y="44"/>
                  </a:lnTo>
                  <a:lnTo>
                    <a:pt x="97" y="50"/>
                  </a:lnTo>
                  <a:lnTo>
                    <a:pt x="100" y="51"/>
                  </a:lnTo>
                  <a:lnTo>
                    <a:pt x="102" y="51"/>
                  </a:lnTo>
                  <a:lnTo>
                    <a:pt x="102" y="51"/>
                  </a:lnTo>
                  <a:lnTo>
                    <a:pt x="106" y="51"/>
                  </a:lnTo>
                  <a:lnTo>
                    <a:pt x="108" y="54"/>
                  </a:lnTo>
                  <a:lnTo>
                    <a:pt x="111" y="57"/>
                  </a:lnTo>
                  <a:lnTo>
                    <a:pt x="110" y="58"/>
                  </a:lnTo>
                  <a:lnTo>
                    <a:pt x="108" y="58"/>
                  </a:lnTo>
                  <a:lnTo>
                    <a:pt x="108" y="58"/>
                  </a:lnTo>
                  <a:lnTo>
                    <a:pt x="106" y="60"/>
                  </a:lnTo>
                  <a:lnTo>
                    <a:pt x="103" y="62"/>
                  </a:lnTo>
                  <a:lnTo>
                    <a:pt x="102" y="66"/>
                  </a:lnTo>
                  <a:lnTo>
                    <a:pt x="102" y="71"/>
                  </a:lnTo>
                  <a:lnTo>
                    <a:pt x="102" y="71"/>
                  </a:lnTo>
                  <a:lnTo>
                    <a:pt x="100" y="78"/>
                  </a:lnTo>
                  <a:lnTo>
                    <a:pt x="100" y="80"/>
                  </a:lnTo>
                  <a:lnTo>
                    <a:pt x="97" y="82"/>
                  </a:lnTo>
                  <a:lnTo>
                    <a:pt x="97" y="82"/>
                  </a:lnTo>
                  <a:lnTo>
                    <a:pt x="95" y="82"/>
                  </a:lnTo>
                  <a:lnTo>
                    <a:pt x="93" y="83"/>
                  </a:lnTo>
                  <a:lnTo>
                    <a:pt x="90" y="86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93"/>
                  </a:lnTo>
                  <a:lnTo>
                    <a:pt x="89" y="94"/>
                  </a:lnTo>
                  <a:lnTo>
                    <a:pt x="86" y="96"/>
                  </a:lnTo>
                  <a:lnTo>
                    <a:pt x="83" y="97"/>
                  </a:lnTo>
                  <a:lnTo>
                    <a:pt x="81" y="98"/>
                  </a:lnTo>
                  <a:lnTo>
                    <a:pt x="81" y="98"/>
                  </a:lnTo>
                  <a:lnTo>
                    <a:pt x="78" y="107"/>
                  </a:lnTo>
                  <a:lnTo>
                    <a:pt x="75" y="115"/>
                  </a:lnTo>
                  <a:lnTo>
                    <a:pt x="75" y="115"/>
                  </a:lnTo>
                  <a:lnTo>
                    <a:pt x="68" y="116"/>
                  </a:lnTo>
                  <a:lnTo>
                    <a:pt x="64" y="119"/>
                  </a:lnTo>
                  <a:lnTo>
                    <a:pt x="63" y="121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6"/>
                  </a:lnTo>
                  <a:lnTo>
                    <a:pt x="58" y="130"/>
                  </a:lnTo>
                  <a:lnTo>
                    <a:pt x="56" y="133"/>
                  </a:lnTo>
                  <a:lnTo>
                    <a:pt x="53" y="134"/>
                  </a:lnTo>
                  <a:lnTo>
                    <a:pt x="53" y="134"/>
                  </a:lnTo>
                  <a:lnTo>
                    <a:pt x="47" y="133"/>
                  </a:lnTo>
                  <a:lnTo>
                    <a:pt x="45" y="133"/>
                  </a:lnTo>
                  <a:lnTo>
                    <a:pt x="43" y="134"/>
                  </a:lnTo>
                  <a:lnTo>
                    <a:pt x="43" y="134"/>
                  </a:lnTo>
                  <a:lnTo>
                    <a:pt x="42" y="136"/>
                  </a:lnTo>
                  <a:lnTo>
                    <a:pt x="40" y="136"/>
                  </a:lnTo>
                  <a:lnTo>
                    <a:pt x="36" y="134"/>
                  </a:lnTo>
                  <a:lnTo>
                    <a:pt x="33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24" y="140"/>
                  </a:lnTo>
                  <a:lnTo>
                    <a:pt x="21" y="144"/>
                  </a:lnTo>
                  <a:lnTo>
                    <a:pt x="20" y="148"/>
                  </a:lnTo>
                  <a:lnTo>
                    <a:pt x="20" y="148"/>
                  </a:lnTo>
                  <a:lnTo>
                    <a:pt x="20" y="150"/>
                  </a:lnTo>
                  <a:lnTo>
                    <a:pt x="21" y="151"/>
                  </a:lnTo>
                  <a:lnTo>
                    <a:pt x="24" y="154"/>
                  </a:lnTo>
                  <a:lnTo>
                    <a:pt x="28" y="155"/>
                  </a:lnTo>
                  <a:lnTo>
                    <a:pt x="29" y="158"/>
                  </a:lnTo>
                  <a:lnTo>
                    <a:pt x="29" y="159"/>
                  </a:lnTo>
                  <a:lnTo>
                    <a:pt x="29" y="159"/>
                  </a:lnTo>
                  <a:lnTo>
                    <a:pt x="29" y="164"/>
                  </a:lnTo>
                  <a:lnTo>
                    <a:pt x="31" y="169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40" y="183"/>
                  </a:lnTo>
                  <a:lnTo>
                    <a:pt x="42" y="186"/>
                  </a:lnTo>
                  <a:lnTo>
                    <a:pt x="42" y="190"/>
                  </a:lnTo>
                  <a:lnTo>
                    <a:pt x="42" y="190"/>
                  </a:lnTo>
                  <a:lnTo>
                    <a:pt x="39" y="191"/>
                  </a:lnTo>
                  <a:lnTo>
                    <a:pt x="36" y="193"/>
                  </a:lnTo>
                  <a:lnTo>
                    <a:pt x="29" y="193"/>
                  </a:lnTo>
                  <a:lnTo>
                    <a:pt x="29" y="193"/>
                  </a:lnTo>
                  <a:lnTo>
                    <a:pt x="27" y="193"/>
                  </a:lnTo>
                  <a:lnTo>
                    <a:pt x="24" y="193"/>
                  </a:lnTo>
                  <a:lnTo>
                    <a:pt x="21" y="194"/>
                  </a:lnTo>
                  <a:lnTo>
                    <a:pt x="15" y="194"/>
                  </a:lnTo>
                  <a:lnTo>
                    <a:pt x="15" y="194"/>
                  </a:lnTo>
                  <a:lnTo>
                    <a:pt x="8" y="194"/>
                  </a:lnTo>
                  <a:lnTo>
                    <a:pt x="6" y="196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0" y="204"/>
                  </a:lnTo>
                  <a:lnTo>
                    <a:pt x="6" y="211"/>
                  </a:lnTo>
                  <a:lnTo>
                    <a:pt x="10" y="215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7" y="219"/>
                  </a:lnTo>
                  <a:lnTo>
                    <a:pt x="21" y="219"/>
                  </a:lnTo>
                  <a:lnTo>
                    <a:pt x="27" y="218"/>
                  </a:lnTo>
                  <a:lnTo>
                    <a:pt x="29" y="216"/>
                  </a:lnTo>
                  <a:lnTo>
                    <a:pt x="31" y="216"/>
                  </a:lnTo>
                  <a:lnTo>
                    <a:pt x="31" y="219"/>
                  </a:lnTo>
                  <a:lnTo>
                    <a:pt x="31" y="219"/>
                  </a:lnTo>
                  <a:lnTo>
                    <a:pt x="31" y="221"/>
                  </a:lnTo>
                  <a:lnTo>
                    <a:pt x="28" y="222"/>
                  </a:lnTo>
                  <a:lnTo>
                    <a:pt x="21" y="225"/>
                  </a:lnTo>
                  <a:lnTo>
                    <a:pt x="13" y="225"/>
                  </a:lnTo>
                  <a:lnTo>
                    <a:pt x="10" y="226"/>
                  </a:lnTo>
                  <a:lnTo>
                    <a:pt x="10" y="226"/>
                  </a:lnTo>
                  <a:lnTo>
                    <a:pt x="13" y="232"/>
                  </a:lnTo>
                  <a:lnTo>
                    <a:pt x="22" y="241"/>
                  </a:lnTo>
                  <a:lnTo>
                    <a:pt x="32" y="250"/>
                  </a:lnTo>
                  <a:lnTo>
                    <a:pt x="38" y="252"/>
                  </a:lnTo>
                  <a:lnTo>
                    <a:pt x="43" y="254"/>
                  </a:lnTo>
                  <a:lnTo>
                    <a:pt x="43" y="254"/>
                  </a:lnTo>
                  <a:lnTo>
                    <a:pt x="47" y="252"/>
                  </a:lnTo>
                  <a:lnTo>
                    <a:pt x="50" y="250"/>
                  </a:lnTo>
                  <a:lnTo>
                    <a:pt x="57" y="246"/>
                  </a:lnTo>
                  <a:lnTo>
                    <a:pt x="60" y="240"/>
                  </a:lnTo>
                  <a:lnTo>
                    <a:pt x="60" y="239"/>
                  </a:lnTo>
                  <a:lnTo>
                    <a:pt x="60" y="237"/>
                  </a:lnTo>
                  <a:lnTo>
                    <a:pt x="60" y="237"/>
                  </a:lnTo>
                  <a:lnTo>
                    <a:pt x="58" y="234"/>
                  </a:lnTo>
                  <a:lnTo>
                    <a:pt x="60" y="232"/>
                  </a:lnTo>
                  <a:lnTo>
                    <a:pt x="61" y="229"/>
                  </a:lnTo>
                  <a:lnTo>
                    <a:pt x="64" y="229"/>
                  </a:lnTo>
                  <a:lnTo>
                    <a:pt x="64" y="229"/>
                  </a:lnTo>
                  <a:lnTo>
                    <a:pt x="65" y="232"/>
                  </a:lnTo>
                  <a:lnTo>
                    <a:pt x="65" y="237"/>
                  </a:lnTo>
                  <a:lnTo>
                    <a:pt x="67" y="241"/>
                  </a:lnTo>
                  <a:lnTo>
                    <a:pt x="68" y="246"/>
                  </a:lnTo>
                  <a:lnTo>
                    <a:pt x="68" y="246"/>
                  </a:lnTo>
                  <a:lnTo>
                    <a:pt x="70" y="248"/>
                  </a:lnTo>
                  <a:lnTo>
                    <a:pt x="70" y="251"/>
                  </a:lnTo>
                  <a:lnTo>
                    <a:pt x="68" y="259"/>
                  </a:lnTo>
                  <a:lnTo>
                    <a:pt x="68" y="259"/>
                  </a:lnTo>
                  <a:lnTo>
                    <a:pt x="67" y="265"/>
                  </a:lnTo>
                  <a:lnTo>
                    <a:pt x="68" y="272"/>
                  </a:lnTo>
                  <a:lnTo>
                    <a:pt x="71" y="286"/>
                  </a:lnTo>
                  <a:lnTo>
                    <a:pt x="71" y="286"/>
                  </a:lnTo>
                  <a:lnTo>
                    <a:pt x="74" y="298"/>
                  </a:lnTo>
                  <a:lnTo>
                    <a:pt x="78" y="314"/>
                  </a:lnTo>
                  <a:lnTo>
                    <a:pt x="78" y="314"/>
                  </a:lnTo>
                  <a:lnTo>
                    <a:pt x="81" y="323"/>
                  </a:lnTo>
                  <a:lnTo>
                    <a:pt x="83" y="334"/>
                  </a:lnTo>
                  <a:lnTo>
                    <a:pt x="88" y="345"/>
                  </a:lnTo>
                  <a:lnTo>
                    <a:pt x="93" y="357"/>
                  </a:lnTo>
                  <a:lnTo>
                    <a:pt x="93" y="357"/>
                  </a:lnTo>
                  <a:lnTo>
                    <a:pt x="97" y="366"/>
                  </a:lnTo>
                  <a:lnTo>
                    <a:pt x="102" y="379"/>
                  </a:lnTo>
                  <a:lnTo>
                    <a:pt x="104" y="390"/>
                  </a:lnTo>
                  <a:lnTo>
                    <a:pt x="108" y="397"/>
                  </a:lnTo>
                  <a:lnTo>
                    <a:pt x="108" y="397"/>
                  </a:lnTo>
                  <a:lnTo>
                    <a:pt x="117" y="411"/>
                  </a:lnTo>
                  <a:lnTo>
                    <a:pt x="121" y="420"/>
                  </a:lnTo>
                  <a:lnTo>
                    <a:pt x="122" y="429"/>
                  </a:lnTo>
                  <a:lnTo>
                    <a:pt x="122" y="429"/>
                  </a:lnTo>
                  <a:lnTo>
                    <a:pt x="124" y="433"/>
                  </a:lnTo>
                  <a:lnTo>
                    <a:pt x="125" y="437"/>
                  </a:lnTo>
                  <a:lnTo>
                    <a:pt x="129" y="445"/>
                  </a:lnTo>
                  <a:lnTo>
                    <a:pt x="133" y="452"/>
                  </a:lnTo>
                  <a:lnTo>
                    <a:pt x="138" y="457"/>
                  </a:lnTo>
                  <a:lnTo>
                    <a:pt x="138" y="457"/>
                  </a:lnTo>
                  <a:lnTo>
                    <a:pt x="142" y="458"/>
                  </a:lnTo>
                  <a:lnTo>
                    <a:pt x="146" y="455"/>
                  </a:lnTo>
                  <a:lnTo>
                    <a:pt x="150" y="452"/>
                  </a:lnTo>
                  <a:lnTo>
                    <a:pt x="153" y="447"/>
                  </a:lnTo>
                  <a:lnTo>
                    <a:pt x="153" y="447"/>
                  </a:lnTo>
                  <a:lnTo>
                    <a:pt x="156" y="443"/>
                  </a:lnTo>
                  <a:lnTo>
                    <a:pt x="161" y="440"/>
                  </a:lnTo>
                  <a:lnTo>
                    <a:pt x="165" y="437"/>
                  </a:lnTo>
                  <a:lnTo>
                    <a:pt x="167" y="434"/>
                  </a:lnTo>
                  <a:lnTo>
                    <a:pt x="167" y="433"/>
                  </a:lnTo>
                  <a:lnTo>
                    <a:pt x="167" y="433"/>
                  </a:lnTo>
                  <a:lnTo>
                    <a:pt x="170" y="426"/>
                  </a:lnTo>
                  <a:lnTo>
                    <a:pt x="171" y="423"/>
                  </a:lnTo>
                  <a:lnTo>
                    <a:pt x="174" y="422"/>
                  </a:lnTo>
                  <a:lnTo>
                    <a:pt x="174" y="422"/>
                  </a:lnTo>
                  <a:lnTo>
                    <a:pt x="175" y="420"/>
                  </a:lnTo>
                  <a:lnTo>
                    <a:pt x="176" y="419"/>
                  </a:lnTo>
                  <a:lnTo>
                    <a:pt x="178" y="411"/>
                  </a:lnTo>
                  <a:lnTo>
                    <a:pt x="178" y="411"/>
                  </a:lnTo>
                  <a:lnTo>
                    <a:pt x="178" y="401"/>
                  </a:lnTo>
                  <a:lnTo>
                    <a:pt x="179" y="395"/>
                  </a:lnTo>
                  <a:lnTo>
                    <a:pt x="182" y="391"/>
                  </a:lnTo>
                  <a:lnTo>
                    <a:pt x="182" y="391"/>
                  </a:lnTo>
                  <a:lnTo>
                    <a:pt x="185" y="386"/>
                  </a:lnTo>
                  <a:lnTo>
                    <a:pt x="186" y="379"/>
                  </a:lnTo>
                  <a:lnTo>
                    <a:pt x="186" y="372"/>
                  </a:lnTo>
                  <a:lnTo>
                    <a:pt x="185" y="366"/>
                  </a:lnTo>
                  <a:lnTo>
                    <a:pt x="185" y="366"/>
                  </a:lnTo>
                  <a:lnTo>
                    <a:pt x="183" y="361"/>
                  </a:lnTo>
                  <a:lnTo>
                    <a:pt x="183" y="355"/>
                  </a:lnTo>
                  <a:lnTo>
                    <a:pt x="186" y="345"/>
                  </a:lnTo>
                  <a:lnTo>
                    <a:pt x="186" y="345"/>
                  </a:lnTo>
                  <a:lnTo>
                    <a:pt x="188" y="337"/>
                  </a:lnTo>
                  <a:lnTo>
                    <a:pt x="189" y="334"/>
                  </a:lnTo>
                  <a:lnTo>
                    <a:pt x="192" y="333"/>
                  </a:lnTo>
                  <a:lnTo>
                    <a:pt x="192" y="333"/>
                  </a:lnTo>
                  <a:lnTo>
                    <a:pt x="195" y="332"/>
                  </a:lnTo>
                  <a:lnTo>
                    <a:pt x="199" y="330"/>
                  </a:lnTo>
                  <a:lnTo>
                    <a:pt x="203" y="326"/>
                  </a:lnTo>
                  <a:lnTo>
                    <a:pt x="207" y="322"/>
                  </a:lnTo>
                  <a:lnTo>
                    <a:pt x="207" y="322"/>
                  </a:lnTo>
                  <a:lnTo>
                    <a:pt x="211" y="318"/>
                  </a:lnTo>
                  <a:lnTo>
                    <a:pt x="218" y="312"/>
                  </a:lnTo>
                  <a:lnTo>
                    <a:pt x="231" y="304"/>
                  </a:lnTo>
                  <a:lnTo>
                    <a:pt x="231" y="304"/>
                  </a:lnTo>
                  <a:lnTo>
                    <a:pt x="243" y="291"/>
                  </a:lnTo>
                  <a:lnTo>
                    <a:pt x="250" y="284"/>
                  </a:lnTo>
                  <a:lnTo>
                    <a:pt x="256" y="277"/>
                  </a:lnTo>
                  <a:lnTo>
                    <a:pt x="256" y="277"/>
                  </a:lnTo>
                  <a:lnTo>
                    <a:pt x="261" y="273"/>
                  </a:lnTo>
                  <a:lnTo>
                    <a:pt x="267" y="269"/>
                  </a:lnTo>
                  <a:lnTo>
                    <a:pt x="274" y="266"/>
                  </a:lnTo>
                  <a:lnTo>
                    <a:pt x="279" y="262"/>
                  </a:lnTo>
                  <a:lnTo>
                    <a:pt x="279" y="262"/>
                  </a:lnTo>
                  <a:lnTo>
                    <a:pt x="283" y="258"/>
                  </a:lnTo>
                  <a:lnTo>
                    <a:pt x="283" y="254"/>
                  </a:lnTo>
                  <a:lnTo>
                    <a:pt x="285" y="246"/>
                  </a:lnTo>
                  <a:lnTo>
                    <a:pt x="285" y="246"/>
                  </a:lnTo>
                  <a:lnTo>
                    <a:pt x="286" y="243"/>
                  </a:lnTo>
                  <a:lnTo>
                    <a:pt x="289" y="241"/>
                  </a:lnTo>
                  <a:lnTo>
                    <a:pt x="296" y="239"/>
                  </a:lnTo>
                  <a:lnTo>
                    <a:pt x="306" y="236"/>
                  </a:lnTo>
                  <a:lnTo>
                    <a:pt x="313" y="236"/>
                  </a:lnTo>
                  <a:lnTo>
                    <a:pt x="313" y="236"/>
                  </a:lnTo>
                  <a:lnTo>
                    <a:pt x="317" y="236"/>
                  </a:lnTo>
                  <a:lnTo>
                    <a:pt x="317" y="236"/>
                  </a:lnTo>
                  <a:lnTo>
                    <a:pt x="315" y="227"/>
                  </a:lnTo>
                  <a:lnTo>
                    <a:pt x="314" y="219"/>
                  </a:lnTo>
                  <a:lnTo>
                    <a:pt x="311" y="207"/>
                  </a:lnTo>
                  <a:lnTo>
                    <a:pt x="311" y="207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4" name="Freeform 51">
              <a:extLst>
                <a:ext uri="{FF2B5EF4-FFF2-40B4-BE49-F238E27FC236}">
                  <a16:creationId xmlns:a16="http://schemas.microsoft.com/office/drawing/2014/main" id="{40AD7C99-BBD7-4D17-B9DA-6C4EF48FB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7513" y="2554288"/>
              <a:ext cx="779463" cy="333375"/>
            </a:xfrm>
            <a:custGeom>
              <a:avLst/>
              <a:gdLst>
                <a:gd name="T0" fmla="*/ 456 w 491"/>
                <a:gd name="T1" fmla="*/ 90 h 210"/>
                <a:gd name="T2" fmla="*/ 441 w 491"/>
                <a:gd name="T3" fmla="*/ 88 h 210"/>
                <a:gd name="T4" fmla="*/ 425 w 491"/>
                <a:gd name="T5" fmla="*/ 88 h 210"/>
                <a:gd name="T6" fmla="*/ 441 w 491"/>
                <a:gd name="T7" fmla="*/ 46 h 210"/>
                <a:gd name="T8" fmla="*/ 417 w 491"/>
                <a:gd name="T9" fmla="*/ 45 h 210"/>
                <a:gd name="T10" fmla="*/ 396 w 491"/>
                <a:gd name="T11" fmla="*/ 42 h 210"/>
                <a:gd name="T12" fmla="*/ 382 w 491"/>
                <a:gd name="T13" fmla="*/ 52 h 210"/>
                <a:gd name="T14" fmla="*/ 360 w 491"/>
                <a:gd name="T15" fmla="*/ 57 h 210"/>
                <a:gd name="T16" fmla="*/ 334 w 491"/>
                <a:gd name="T17" fmla="*/ 60 h 210"/>
                <a:gd name="T18" fmla="*/ 311 w 491"/>
                <a:gd name="T19" fmla="*/ 57 h 210"/>
                <a:gd name="T20" fmla="*/ 302 w 491"/>
                <a:gd name="T21" fmla="*/ 47 h 210"/>
                <a:gd name="T22" fmla="*/ 289 w 491"/>
                <a:gd name="T23" fmla="*/ 40 h 210"/>
                <a:gd name="T24" fmla="*/ 274 w 491"/>
                <a:gd name="T25" fmla="*/ 38 h 210"/>
                <a:gd name="T26" fmla="*/ 248 w 491"/>
                <a:gd name="T27" fmla="*/ 36 h 210"/>
                <a:gd name="T28" fmla="*/ 230 w 491"/>
                <a:gd name="T29" fmla="*/ 39 h 210"/>
                <a:gd name="T30" fmla="*/ 213 w 491"/>
                <a:gd name="T31" fmla="*/ 31 h 210"/>
                <a:gd name="T32" fmla="*/ 211 w 491"/>
                <a:gd name="T33" fmla="*/ 17 h 210"/>
                <a:gd name="T34" fmla="*/ 185 w 491"/>
                <a:gd name="T35" fmla="*/ 7 h 210"/>
                <a:gd name="T36" fmla="*/ 163 w 491"/>
                <a:gd name="T37" fmla="*/ 0 h 210"/>
                <a:gd name="T38" fmla="*/ 153 w 491"/>
                <a:gd name="T39" fmla="*/ 8 h 210"/>
                <a:gd name="T40" fmla="*/ 143 w 491"/>
                <a:gd name="T41" fmla="*/ 17 h 210"/>
                <a:gd name="T42" fmla="*/ 149 w 491"/>
                <a:gd name="T43" fmla="*/ 33 h 210"/>
                <a:gd name="T44" fmla="*/ 138 w 491"/>
                <a:gd name="T45" fmla="*/ 46 h 210"/>
                <a:gd name="T46" fmla="*/ 124 w 491"/>
                <a:gd name="T47" fmla="*/ 45 h 210"/>
                <a:gd name="T48" fmla="*/ 105 w 491"/>
                <a:gd name="T49" fmla="*/ 43 h 210"/>
                <a:gd name="T50" fmla="*/ 93 w 491"/>
                <a:gd name="T51" fmla="*/ 32 h 210"/>
                <a:gd name="T52" fmla="*/ 62 w 491"/>
                <a:gd name="T53" fmla="*/ 28 h 210"/>
                <a:gd name="T54" fmla="*/ 50 w 491"/>
                <a:gd name="T55" fmla="*/ 35 h 210"/>
                <a:gd name="T56" fmla="*/ 37 w 491"/>
                <a:gd name="T57" fmla="*/ 43 h 210"/>
                <a:gd name="T58" fmla="*/ 21 w 491"/>
                <a:gd name="T59" fmla="*/ 53 h 210"/>
                <a:gd name="T60" fmla="*/ 3 w 491"/>
                <a:gd name="T61" fmla="*/ 58 h 210"/>
                <a:gd name="T62" fmla="*/ 2 w 491"/>
                <a:gd name="T63" fmla="*/ 68 h 210"/>
                <a:gd name="T64" fmla="*/ 25 w 491"/>
                <a:gd name="T65" fmla="*/ 83 h 210"/>
                <a:gd name="T66" fmla="*/ 39 w 491"/>
                <a:gd name="T67" fmla="*/ 95 h 210"/>
                <a:gd name="T68" fmla="*/ 48 w 491"/>
                <a:gd name="T69" fmla="*/ 113 h 210"/>
                <a:gd name="T70" fmla="*/ 43 w 491"/>
                <a:gd name="T71" fmla="*/ 135 h 210"/>
                <a:gd name="T72" fmla="*/ 78 w 491"/>
                <a:gd name="T73" fmla="*/ 143 h 210"/>
                <a:gd name="T74" fmla="*/ 89 w 491"/>
                <a:gd name="T75" fmla="*/ 150 h 210"/>
                <a:gd name="T76" fmla="*/ 103 w 491"/>
                <a:gd name="T77" fmla="*/ 158 h 210"/>
                <a:gd name="T78" fmla="*/ 117 w 491"/>
                <a:gd name="T79" fmla="*/ 181 h 210"/>
                <a:gd name="T80" fmla="*/ 128 w 491"/>
                <a:gd name="T81" fmla="*/ 189 h 210"/>
                <a:gd name="T82" fmla="*/ 192 w 491"/>
                <a:gd name="T83" fmla="*/ 192 h 210"/>
                <a:gd name="T84" fmla="*/ 220 w 491"/>
                <a:gd name="T85" fmla="*/ 199 h 210"/>
                <a:gd name="T86" fmla="*/ 241 w 491"/>
                <a:gd name="T87" fmla="*/ 204 h 210"/>
                <a:gd name="T88" fmla="*/ 257 w 491"/>
                <a:gd name="T89" fmla="*/ 210 h 210"/>
                <a:gd name="T90" fmla="*/ 289 w 491"/>
                <a:gd name="T91" fmla="*/ 193 h 210"/>
                <a:gd name="T92" fmla="*/ 336 w 491"/>
                <a:gd name="T93" fmla="*/ 189 h 210"/>
                <a:gd name="T94" fmla="*/ 361 w 491"/>
                <a:gd name="T95" fmla="*/ 171 h 210"/>
                <a:gd name="T96" fmla="*/ 357 w 491"/>
                <a:gd name="T97" fmla="*/ 151 h 210"/>
                <a:gd name="T98" fmla="*/ 373 w 491"/>
                <a:gd name="T99" fmla="*/ 146 h 210"/>
                <a:gd name="T100" fmla="*/ 399 w 491"/>
                <a:gd name="T101" fmla="*/ 143 h 210"/>
                <a:gd name="T102" fmla="*/ 429 w 491"/>
                <a:gd name="T103" fmla="*/ 132 h 210"/>
                <a:gd name="T104" fmla="*/ 450 w 491"/>
                <a:gd name="T105" fmla="*/ 115 h 210"/>
                <a:gd name="T106" fmla="*/ 475 w 491"/>
                <a:gd name="T107" fmla="*/ 111 h 210"/>
                <a:gd name="T108" fmla="*/ 491 w 491"/>
                <a:gd name="T109" fmla="*/ 110 h 210"/>
                <a:gd name="T110" fmla="*/ 471 w 491"/>
                <a:gd name="T111" fmla="*/ 88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91" h="210">
                  <a:moveTo>
                    <a:pt x="471" y="88"/>
                  </a:moveTo>
                  <a:lnTo>
                    <a:pt x="471" y="88"/>
                  </a:lnTo>
                  <a:lnTo>
                    <a:pt x="467" y="85"/>
                  </a:lnTo>
                  <a:lnTo>
                    <a:pt x="463" y="85"/>
                  </a:lnTo>
                  <a:lnTo>
                    <a:pt x="459" y="86"/>
                  </a:lnTo>
                  <a:lnTo>
                    <a:pt x="456" y="90"/>
                  </a:lnTo>
                  <a:lnTo>
                    <a:pt x="456" y="90"/>
                  </a:lnTo>
                  <a:lnTo>
                    <a:pt x="454" y="92"/>
                  </a:lnTo>
                  <a:lnTo>
                    <a:pt x="454" y="92"/>
                  </a:lnTo>
                  <a:lnTo>
                    <a:pt x="450" y="90"/>
                  </a:lnTo>
                  <a:lnTo>
                    <a:pt x="446" y="89"/>
                  </a:lnTo>
                  <a:lnTo>
                    <a:pt x="441" y="88"/>
                  </a:lnTo>
                  <a:lnTo>
                    <a:pt x="441" y="88"/>
                  </a:lnTo>
                  <a:lnTo>
                    <a:pt x="435" y="89"/>
                  </a:lnTo>
                  <a:lnTo>
                    <a:pt x="431" y="90"/>
                  </a:lnTo>
                  <a:lnTo>
                    <a:pt x="428" y="90"/>
                  </a:lnTo>
                  <a:lnTo>
                    <a:pt x="425" y="88"/>
                  </a:lnTo>
                  <a:lnTo>
                    <a:pt x="425" y="88"/>
                  </a:lnTo>
                  <a:lnTo>
                    <a:pt x="422" y="83"/>
                  </a:lnTo>
                  <a:lnTo>
                    <a:pt x="424" y="81"/>
                  </a:lnTo>
                  <a:lnTo>
                    <a:pt x="427" y="79"/>
                  </a:lnTo>
                  <a:lnTo>
                    <a:pt x="428" y="71"/>
                  </a:lnTo>
                  <a:lnTo>
                    <a:pt x="441" y="46"/>
                  </a:lnTo>
                  <a:lnTo>
                    <a:pt x="441" y="46"/>
                  </a:lnTo>
                  <a:lnTo>
                    <a:pt x="434" y="45"/>
                  </a:lnTo>
                  <a:lnTo>
                    <a:pt x="429" y="45"/>
                  </a:lnTo>
                  <a:lnTo>
                    <a:pt x="429" y="45"/>
                  </a:lnTo>
                  <a:lnTo>
                    <a:pt x="425" y="46"/>
                  </a:lnTo>
                  <a:lnTo>
                    <a:pt x="421" y="45"/>
                  </a:lnTo>
                  <a:lnTo>
                    <a:pt x="417" y="45"/>
                  </a:lnTo>
                  <a:lnTo>
                    <a:pt x="416" y="42"/>
                  </a:lnTo>
                  <a:lnTo>
                    <a:pt x="416" y="42"/>
                  </a:lnTo>
                  <a:lnTo>
                    <a:pt x="413" y="40"/>
                  </a:lnTo>
                  <a:lnTo>
                    <a:pt x="407" y="39"/>
                  </a:lnTo>
                  <a:lnTo>
                    <a:pt x="400" y="39"/>
                  </a:lnTo>
                  <a:lnTo>
                    <a:pt x="396" y="42"/>
                  </a:lnTo>
                  <a:lnTo>
                    <a:pt x="396" y="42"/>
                  </a:lnTo>
                  <a:lnTo>
                    <a:pt x="389" y="45"/>
                  </a:lnTo>
                  <a:lnTo>
                    <a:pt x="385" y="47"/>
                  </a:lnTo>
                  <a:lnTo>
                    <a:pt x="384" y="50"/>
                  </a:lnTo>
                  <a:lnTo>
                    <a:pt x="384" y="50"/>
                  </a:lnTo>
                  <a:lnTo>
                    <a:pt x="382" y="52"/>
                  </a:lnTo>
                  <a:lnTo>
                    <a:pt x="378" y="52"/>
                  </a:lnTo>
                  <a:lnTo>
                    <a:pt x="374" y="53"/>
                  </a:lnTo>
                  <a:lnTo>
                    <a:pt x="371" y="54"/>
                  </a:lnTo>
                  <a:lnTo>
                    <a:pt x="371" y="54"/>
                  </a:lnTo>
                  <a:lnTo>
                    <a:pt x="367" y="56"/>
                  </a:lnTo>
                  <a:lnTo>
                    <a:pt x="360" y="57"/>
                  </a:lnTo>
                  <a:lnTo>
                    <a:pt x="353" y="58"/>
                  </a:lnTo>
                  <a:lnTo>
                    <a:pt x="350" y="60"/>
                  </a:lnTo>
                  <a:lnTo>
                    <a:pt x="350" y="60"/>
                  </a:lnTo>
                  <a:lnTo>
                    <a:pt x="348" y="60"/>
                  </a:lnTo>
                  <a:lnTo>
                    <a:pt x="341" y="61"/>
                  </a:lnTo>
                  <a:lnTo>
                    <a:pt x="334" y="60"/>
                  </a:lnTo>
                  <a:lnTo>
                    <a:pt x="329" y="60"/>
                  </a:lnTo>
                  <a:lnTo>
                    <a:pt x="329" y="60"/>
                  </a:lnTo>
                  <a:lnTo>
                    <a:pt x="325" y="58"/>
                  </a:lnTo>
                  <a:lnTo>
                    <a:pt x="320" y="58"/>
                  </a:lnTo>
                  <a:lnTo>
                    <a:pt x="313" y="57"/>
                  </a:lnTo>
                  <a:lnTo>
                    <a:pt x="311" y="57"/>
                  </a:lnTo>
                  <a:lnTo>
                    <a:pt x="310" y="56"/>
                  </a:lnTo>
                  <a:lnTo>
                    <a:pt x="310" y="56"/>
                  </a:lnTo>
                  <a:lnTo>
                    <a:pt x="307" y="53"/>
                  </a:lnTo>
                  <a:lnTo>
                    <a:pt x="304" y="52"/>
                  </a:lnTo>
                  <a:lnTo>
                    <a:pt x="303" y="49"/>
                  </a:lnTo>
                  <a:lnTo>
                    <a:pt x="302" y="47"/>
                  </a:lnTo>
                  <a:lnTo>
                    <a:pt x="302" y="47"/>
                  </a:lnTo>
                  <a:lnTo>
                    <a:pt x="302" y="46"/>
                  </a:lnTo>
                  <a:lnTo>
                    <a:pt x="300" y="45"/>
                  </a:lnTo>
                  <a:lnTo>
                    <a:pt x="296" y="43"/>
                  </a:lnTo>
                  <a:lnTo>
                    <a:pt x="291" y="42"/>
                  </a:lnTo>
                  <a:lnTo>
                    <a:pt x="289" y="40"/>
                  </a:lnTo>
                  <a:lnTo>
                    <a:pt x="289" y="40"/>
                  </a:lnTo>
                  <a:lnTo>
                    <a:pt x="286" y="39"/>
                  </a:lnTo>
                  <a:lnTo>
                    <a:pt x="282" y="38"/>
                  </a:lnTo>
                  <a:lnTo>
                    <a:pt x="277" y="38"/>
                  </a:lnTo>
                  <a:lnTo>
                    <a:pt x="277" y="38"/>
                  </a:lnTo>
                  <a:lnTo>
                    <a:pt x="274" y="38"/>
                  </a:lnTo>
                  <a:lnTo>
                    <a:pt x="270" y="36"/>
                  </a:lnTo>
                  <a:lnTo>
                    <a:pt x="263" y="35"/>
                  </a:lnTo>
                  <a:lnTo>
                    <a:pt x="263" y="35"/>
                  </a:lnTo>
                  <a:lnTo>
                    <a:pt x="254" y="35"/>
                  </a:lnTo>
                  <a:lnTo>
                    <a:pt x="248" y="36"/>
                  </a:lnTo>
                  <a:lnTo>
                    <a:pt x="248" y="36"/>
                  </a:lnTo>
                  <a:lnTo>
                    <a:pt x="245" y="36"/>
                  </a:lnTo>
                  <a:lnTo>
                    <a:pt x="242" y="39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4" y="40"/>
                  </a:lnTo>
                  <a:lnTo>
                    <a:pt x="230" y="39"/>
                  </a:lnTo>
                  <a:lnTo>
                    <a:pt x="225" y="38"/>
                  </a:lnTo>
                  <a:lnTo>
                    <a:pt x="223" y="38"/>
                  </a:lnTo>
                  <a:lnTo>
                    <a:pt x="223" y="38"/>
                  </a:lnTo>
                  <a:lnTo>
                    <a:pt x="221" y="38"/>
                  </a:lnTo>
                  <a:lnTo>
                    <a:pt x="218" y="35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1" y="27"/>
                  </a:lnTo>
                  <a:lnTo>
                    <a:pt x="211" y="24"/>
                  </a:lnTo>
                  <a:lnTo>
                    <a:pt x="211" y="20"/>
                  </a:lnTo>
                  <a:lnTo>
                    <a:pt x="211" y="17"/>
                  </a:lnTo>
                  <a:lnTo>
                    <a:pt x="211" y="17"/>
                  </a:lnTo>
                  <a:lnTo>
                    <a:pt x="209" y="15"/>
                  </a:lnTo>
                  <a:lnTo>
                    <a:pt x="205" y="14"/>
                  </a:lnTo>
                  <a:lnTo>
                    <a:pt x="196" y="13"/>
                  </a:lnTo>
                  <a:lnTo>
                    <a:pt x="196" y="13"/>
                  </a:lnTo>
                  <a:lnTo>
                    <a:pt x="191" y="8"/>
                  </a:lnTo>
                  <a:lnTo>
                    <a:pt x="185" y="7"/>
                  </a:lnTo>
                  <a:lnTo>
                    <a:pt x="185" y="7"/>
                  </a:lnTo>
                  <a:lnTo>
                    <a:pt x="180" y="7"/>
                  </a:lnTo>
                  <a:lnTo>
                    <a:pt x="175" y="6"/>
                  </a:lnTo>
                  <a:lnTo>
                    <a:pt x="175" y="6"/>
                  </a:lnTo>
                  <a:lnTo>
                    <a:pt x="170" y="3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60" y="2"/>
                  </a:lnTo>
                  <a:lnTo>
                    <a:pt x="157" y="6"/>
                  </a:lnTo>
                  <a:lnTo>
                    <a:pt x="157" y="6"/>
                  </a:lnTo>
                  <a:lnTo>
                    <a:pt x="153" y="8"/>
                  </a:lnTo>
                  <a:lnTo>
                    <a:pt x="150" y="8"/>
                  </a:lnTo>
                  <a:lnTo>
                    <a:pt x="149" y="11"/>
                  </a:lnTo>
                  <a:lnTo>
                    <a:pt x="149" y="11"/>
                  </a:lnTo>
                  <a:lnTo>
                    <a:pt x="148" y="13"/>
                  </a:lnTo>
                  <a:lnTo>
                    <a:pt x="145" y="15"/>
                  </a:lnTo>
                  <a:lnTo>
                    <a:pt x="143" y="17"/>
                  </a:lnTo>
                  <a:lnTo>
                    <a:pt x="143" y="20"/>
                  </a:lnTo>
                  <a:lnTo>
                    <a:pt x="143" y="20"/>
                  </a:lnTo>
                  <a:lnTo>
                    <a:pt x="145" y="27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49" y="33"/>
                  </a:lnTo>
                  <a:lnTo>
                    <a:pt x="149" y="36"/>
                  </a:lnTo>
                  <a:lnTo>
                    <a:pt x="148" y="42"/>
                  </a:lnTo>
                  <a:lnTo>
                    <a:pt x="148" y="42"/>
                  </a:lnTo>
                  <a:lnTo>
                    <a:pt x="146" y="43"/>
                  </a:lnTo>
                  <a:lnTo>
                    <a:pt x="142" y="45"/>
                  </a:lnTo>
                  <a:lnTo>
                    <a:pt x="138" y="46"/>
                  </a:lnTo>
                  <a:lnTo>
                    <a:pt x="135" y="47"/>
                  </a:lnTo>
                  <a:lnTo>
                    <a:pt x="135" y="47"/>
                  </a:lnTo>
                  <a:lnTo>
                    <a:pt x="134" y="49"/>
                  </a:lnTo>
                  <a:lnTo>
                    <a:pt x="131" y="49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0" y="43"/>
                  </a:lnTo>
                  <a:lnTo>
                    <a:pt x="117" y="43"/>
                  </a:lnTo>
                  <a:lnTo>
                    <a:pt x="111" y="46"/>
                  </a:lnTo>
                  <a:lnTo>
                    <a:pt x="111" y="46"/>
                  </a:lnTo>
                  <a:lnTo>
                    <a:pt x="109" y="46"/>
                  </a:lnTo>
                  <a:lnTo>
                    <a:pt x="105" y="43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98" y="39"/>
                  </a:lnTo>
                  <a:lnTo>
                    <a:pt x="96" y="35"/>
                  </a:lnTo>
                  <a:lnTo>
                    <a:pt x="95" y="32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82" y="31"/>
                  </a:lnTo>
                  <a:lnTo>
                    <a:pt x="71" y="28"/>
                  </a:lnTo>
                  <a:lnTo>
                    <a:pt x="71" y="28"/>
                  </a:lnTo>
                  <a:lnTo>
                    <a:pt x="66" y="28"/>
                  </a:lnTo>
                  <a:lnTo>
                    <a:pt x="62" y="28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59" y="31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50" y="35"/>
                  </a:lnTo>
                  <a:lnTo>
                    <a:pt x="50" y="35"/>
                  </a:lnTo>
                  <a:lnTo>
                    <a:pt x="48" y="36"/>
                  </a:lnTo>
                  <a:lnTo>
                    <a:pt x="45" y="38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7" y="43"/>
                  </a:lnTo>
                  <a:lnTo>
                    <a:pt x="34" y="45"/>
                  </a:lnTo>
                  <a:lnTo>
                    <a:pt x="30" y="46"/>
                  </a:lnTo>
                  <a:lnTo>
                    <a:pt x="28" y="49"/>
                  </a:lnTo>
                  <a:lnTo>
                    <a:pt x="28" y="49"/>
                  </a:lnTo>
                  <a:lnTo>
                    <a:pt x="25" y="50"/>
                  </a:lnTo>
                  <a:lnTo>
                    <a:pt x="21" y="53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7" y="56"/>
                  </a:lnTo>
                  <a:lnTo>
                    <a:pt x="5" y="57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2" y="68"/>
                  </a:lnTo>
                  <a:lnTo>
                    <a:pt x="5" y="71"/>
                  </a:lnTo>
                  <a:lnTo>
                    <a:pt x="12" y="77"/>
                  </a:lnTo>
                  <a:lnTo>
                    <a:pt x="12" y="77"/>
                  </a:lnTo>
                  <a:lnTo>
                    <a:pt x="18" y="81"/>
                  </a:lnTo>
                  <a:lnTo>
                    <a:pt x="21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30" y="85"/>
                  </a:lnTo>
                  <a:lnTo>
                    <a:pt x="34" y="88"/>
                  </a:lnTo>
                  <a:lnTo>
                    <a:pt x="38" y="90"/>
                  </a:lnTo>
                  <a:lnTo>
                    <a:pt x="39" y="95"/>
                  </a:lnTo>
                  <a:lnTo>
                    <a:pt x="39" y="95"/>
                  </a:lnTo>
                  <a:lnTo>
                    <a:pt x="41" y="97"/>
                  </a:lnTo>
                  <a:lnTo>
                    <a:pt x="42" y="102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9" y="108"/>
                  </a:lnTo>
                  <a:lnTo>
                    <a:pt x="48" y="113"/>
                  </a:lnTo>
                  <a:lnTo>
                    <a:pt x="46" y="122"/>
                  </a:lnTo>
                  <a:lnTo>
                    <a:pt x="46" y="122"/>
                  </a:lnTo>
                  <a:lnTo>
                    <a:pt x="45" y="125"/>
                  </a:lnTo>
                  <a:lnTo>
                    <a:pt x="43" y="128"/>
                  </a:lnTo>
                  <a:lnTo>
                    <a:pt x="42" y="131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5" y="138"/>
                  </a:lnTo>
                  <a:lnTo>
                    <a:pt x="49" y="139"/>
                  </a:lnTo>
                  <a:lnTo>
                    <a:pt x="59" y="142"/>
                  </a:lnTo>
                  <a:lnTo>
                    <a:pt x="70" y="143"/>
                  </a:lnTo>
                  <a:lnTo>
                    <a:pt x="78" y="143"/>
                  </a:lnTo>
                  <a:lnTo>
                    <a:pt x="78" y="143"/>
                  </a:lnTo>
                  <a:lnTo>
                    <a:pt x="82" y="145"/>
                  </a:lnTo>
                  <a:lnTo>
                    <a:pt x="87" y="147"/>
                  </a:lnTo>
                  <a:lnTo>
                    <a:pt x="88" y="150"/>
                  </a:lnTo>
                  <a:lnTo>
                    <a:pt x="89" y="150"/>
                  </a:lnTo>
                  <a:lnTo>
                    <a:pt x="89" y="150"/>
                  </a:lnTo>
                  <a:lnTo>
                    <a:pt x="92" y="151"/>
                  </a:lnTo>
                  <a:lnTo>
                    <a:pt x="95" y="154"/>
                  </a:lnTo>
                  <a:lnTo>
                    <a:pt x="96" y="156"/>
                  </a:lnTo>
                  <a:lnTo>
                    <a:pt x="100" y="157"/>
                  </a:lnTo>
                  <a:lnTo>
                    <a:pt x="100" y="157"/>
                  </a:lnTo>
                  <a:lnTo>
                    <a:pt x="103" y="158"/>
                  </a:lnTo>
                  <a:lnTo>
                    <a:pt x="107" y="161"/>
                  </a:lnTo>
                  <a:lnTo>
                    <a:pt x="110" y="165"/>
                  </a:lnTo>
                  <a:lnTo>
                    <a:pt x="111" y="171"/>
                  </a:lnTo>
                  <a:lnTo>
                    <a:pt x="111" y="171"/>
                  </a:lnTo>
                  <a:lnTo>
                    <a:pt x="114" y="176"/>
                  </a:lnTo>
                  <a:lnTo>
                    <a:pt x="117" y="181"/>
                  </a:lnTo>
                  <a:lnTo>
                    <a:pt x="120" y="183"/>
                  </a:lnTo>
                  <a:lnTo>
                    <a:pt x="121" y="188"/>
                  </a:lnTo>
                  <a:lnTo>
                    <a:pt x="121" y="188"/>
                  </a:lnTo>
                  <a:lnTo>
                    <a:pt x="123" y="188"/>
                  </a:lnTo>
                  <a:lnTo>
                    <a:pt x="124" y="189"/>
                  </a:lnTo>
                  <a:lnTo>
                    <a:pt x="128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60" y="189"/>
                  </a:lnTo>
                  <a:lnTo>
                    <a:pt x="178" y="190"/>
                  </a:lnTo>
                  <a:lnTo>
                    <a:pt x="178" y="190"/>
                  </a:lnTo>
                  <a:lnTo>
                    <a:pt x="192" y="192"/>
                  </a:lnTo>
                  <a:lnTo>
                    <a:pt x="200" y="193"/>
                  </a:lnTo>
                  <a:lnTo>
                    <a:pt x="207" y="196"/>
                  </a:lnTo>
                  <a:lnTo>
                    <a:pt x="207" y="196"/>
                  </a:lnTo>
                  <a:lnTo>
                    <a:pt x="213" y="199"/>
                  </a:lnTo>
                  <a:lnTo>
                    <a:pt x="217" y="199"/>
                  </a:lnTo>
                  <a:lnTo>
                    <a:pt x="220" y="199"/>
                  </a:lnTo>
                  <a:lnTo>
                    <a:pt x="224" y="200"/>
                  </a:lnTo>
                  <a:lnTo>
                    <a:pt x="224" y="200"/>
                  </a:lnTo>
                  <a:lnTo>
                    <a:pt x="231" y="204"/>
                  </a:lnTo>
                  <a:lnTo>
                    <a:pt x="235" y="204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45" y="204"/>
                  </a:lnTo>
                  <a:lnTo>
                    <a:pt x="248" y="207"/>
                  </a:lnTo>
                  <a:lnTo>
                    <a:pt x="249" y="208"/>
                  </a:lnTo>
                  <a:lnTo>
                    <a:pt x="252" y="210"/>
                  </a:lnTo>
                  <a:lnTo>
                    <a:pt x="252" y="210"/>
                  </a:lnTo>
                  <a:lnTo>
                    <a:pt x="257" y="210"/>
                  </a:lnTo>
                  <a:lnTo>
                    <a:pt x="263" y="206"/>
                  </a:lnTo>
                  <a:lnTo>
                    <a:pt x="270" y="201"/>
                  </a:lnTo>
                  <a:lnTo>
                    <a:pt x="279" y="196"/>
                  </a:lnTo>
                  <a:lnTo>
                    <a:pt x="279" y="196"/>
                  </a:lnTo>
                  <a:lnTo>
                    <a:pt x="285" y="195"/>
                  </a:lnTo>
                  <a:lnTo>
                    <a:pt x="289" y="193"/>
                  </a:lnTo>
                  <a:lnTo>
                    <a:pt x="299" y="193"/>
                  </a:lnTo>
                  <a:lnTo>
                    <a:pt x="314" y="195"/>
                  </a:lnTo>
                  <a:lnTo>
                    <a:pt x="314" y="195"/>
                  </a:lnTo>
                  <a:lnTo>
                    <a:pt x="321" y="195"/>
                  </a:lnTo>
                  <a:lnTo>
                    <a:pt x="328" y="193"/>
                  </a:lnTo>
                  <a:lnTo>
                    <a:pt x="336" y="189"/>
                  </a:lnTo>
                  <a:lnTo>
                    <a:pt x="343" y="183"/>
                  </a:lnTo>
                  <a:lnTo>
                    <a:pt x="343" y="183"/>
                  </a:lnTo>
                  <a:lnTo>
                    <a:pt x="349" y="178"/>
                  </a:lnTo>
                  <a:lnTo>
                    <a:pt x="354" y="175"/>
                  </a:lnTo>
                  <a:lnTo>
                    <a:pt x="360" y="172"/>
                  </a:lnTo>
                  <a:lnTo>
                    <a:pt x="361" y="171"/>
                  </a:lnTo>
                  <a:lnTo>
                    <a:pt x="361" y="168"/>
                  </a:lnTo>
                  <a:lnTo>
                    <a:pt x="361" y="168"/>
                  </a:lnTo>
                  <a:lnTo>
                    <a:pt x="361" y="163"/>
                  </a:lnTo>
                  <a:lnTo>
                    <a:pt x="359" y="158"/>
                  </a:lnTo>
                  <a:lnTo>
                    <a:pt x="357" y="154"/>
                  </a:lnTo>
                  <a:lnTo>
                    <a:pt x="357" y="151"/>
                  </a:lnTo>
                  <a:lnTo>
                    <a:pt x="359" y="150"/>
                  </a:lnTo>
                  <a:lnTo>
                    <a:pt x="359" y="150"/>
                  </a:lnTo>
                  <a:lnTo>
                    <a:pt x="361" y="146"/>
                  </a:lnTo>
                  <a:lnTo>
                    <a:pt x="366" y="145"/>
                  </a:lnTo>
                  <a:lnTo>
                    <a:pt x="370" y="145"/>
                  </a:lnTo>
                  <a:lnTo>
                    <a:pt x="373" y="146"/>
                  </a:lnTo>
                  <a:lnTo>
                    <a:pt x="373" y="146"/>
                  </a:lnTo>
                  <a:lnTo>
                    <a:pt x="378" y="147"/>
                  </a:lnTo>
                  <a:lnTo>
                    <a:pt x="384" y="149"/>
                  </a:lnTo>
                  <a:lnTo>
                    <a:pt x="391" y="147"/>
                  </a:lnTo>
                  <a:lnTo>
                    <a:pt x="399" y="143"/>
                  </a:lnTo>
                  <a:lnTo>
                    <a:pt x="399" y="143"/>
                  </a:lnTo>
                  <a:lnTo>
                    <a:pt x="404" y="139"/>
                  </a:lnTo>
                  <a:lnTo>
                    <a:pt x="410" y="138"/>
                  </a:lnTo>
                  <a:lnTo>
                    <a:pt x="421" y="136"/>
                  </a:lnTo>
                  <a:lnTo>
                    <a:pt x="421" y="136"/>
                  </a:lnTo>
                  <a:lnTo>
                    <a:pt x="427" y="135"/>
                  </a:lnTo>
                  <a:lnTo>
                    <a:pt x="429" y="132"/>
                  </a:lnTo>
                  <a:lnTo>
                    <a:pt x="432" y="128"/>
                  </a:lnTo>
                  <a:lnTo>
                    <a:pt x="435" y="124"/>
                  </a:lnTo>
                  <a:lnTo>
                    <a:pt x="435" y="124"/>
                  </a:lnTo>
                  <a:lnTo>
                    <a:pt x="441" y="120"/>
                  </a:lnTo>
                  <a:lnTo>
                    <a:pt x="445" y="117"/>
                  </a:lnTo>
                  <a:lnTo>
                    <a:pt x="450" y="115"/>
                  </a:lnTo>
                  <a:lnTo>
                    <a:pt x="454" y="115"/>
                  </a:lnTo>
                  <a:lnTo>
                    <a:pt x="454" y="115"/>
                  </a:lnTo>
                  <a:lnTo>
                    <a:pt x="460" y="114"/>
                  </a:lnTo>
                  <a:lnTo>
                    <a:pt x="466" y="113"/>
                  </a:lnTo>
                  <a:lnTo>
                    <a:pt x="470" y="111"/>
                  </a:lnTo>
                  <a:lnTo>
                    <a:pt x="475" y="111"/>
                  </a:lnTo>
                  <a:lnTo>
                    <a:pt x="475" y="111"/>
                  </a:lnTo>
                  <a:lnTo>
                    <a:pt x="479" y="113"/>
                  </a:lnTo>
                  <a:lnTo>
                    <a:pt x="485" y="113"/>
                  </a:lnTo>
                  <a:lnTo>
                    <a:pt x="489" y="113"/>
                  </a:lnTo>
                  <a:lnTo>
                    <a:pt x="491" y="111"/>
                  </a:lnTo>
                  <a:lnTo>
                    <a:pt x="491" y="110"/>
                  </a:lnTo>
                  <a:lnTo>
                    <a:pt x="491" y="110"/>
                  </a:lnTo>
                  <a:lnTo>
                    <a:pt x="491" y="107"/>
                  </a:lnTo>
                  <a:lnTo>
                    <a:pt x="489" y="104"/>
                  </a:lnTo>
                  <a:lnTo>
                    <a:pt x="484" y="99"/>
                  </a:lnTo>
                  <a:lnTo>
                    <a:pt x="477" y="93"/>
                  </a:lnTo>
                  <a:lnTo>
                    <a:pt x="471" y="88"/>
                  </a:lnTo>
                  <a:lnTo>
                    <a:pt x="471" y="88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5" name="Freeform 55">
              <a:extLst>
                <a:ext uri="{FF2B5EF4-FFF2-40B4-BE49-F238E27FC236}">
                  <a16:creationId xmlns:a16="http://schemas.microsoft.com/office/drawing/2014/main" id="{2CC2D5F6-89BE-48D0-A8AE-EBE162A04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6663" y="2836863"/>
              <a:ext cx="271463" cy="114300"/>
            </a:xfrm>
            <a:custGeom>
              <a:avLst/>
              <a:gdLst>
                <a:gd name="T0" fmla="*/ 154 w 171"/>
                <a:gd name="T1" fmla="*/ 10 h 72"/>
                <a:gd name="T2" fmla="*/ 143 w 171"/>
                <a:gd name="T3" fmla="*/ 10 h 72"/>
                <a:gd name="T4" fmla="*/ 111 w 171"/>
                <a:gd name="T5" fmla="*/ 5 h 72"/>
                <a:gd name="T6" fmla="*/ 98 w 171"/>
                <a:gd name="T7" fmla="*/ 7 h 72"/>
                <a:gd name="T8" fmla="*/ 82 w 171"/>
                <a:gd name="T9" fmla="*/ 1 h 72"/>
                <a:gd name="T10" fmla="*/ 68 w 171"/>
                <a:gd name="T11" fmla="*/ 3 h 72"/>
                <a:gd name="T12" fmla="*/ 66 w 171"/>
                <a:gd name="T13" fmla="*/ 7 h 72"/>
                <a:gd name="T14" fmla="*/ 58 w 171"/>
                <a:gd name="T15" fmla="*/ 12 h 72"/>
                <a:gd name="T16" fmla="*/ 46 w 171"/>
                <a:gd name="T17" fmla="*/ 7 h 72"/>
                <a:gd name="T18" fmla="*/ 32 w 171"/>
                <a:gd name="T19" fmla="*/ 8 h 72"/>
                <a:gd name="T20" fmla="*/ 29 w 171"/>
                <a:gd name="T21" fmla="*/ 14 h 72"/>
                <a:gd name="T22" fmla="*/ 21 w 171"/>
                <a:gd name="T23" fmla="*/ 21 h 72"/>
                <a:gd name="T24" fmla="*/ 16 w 171"/>
                <a:gd name="T25" fmla="*/ 29 h 72"/>
                <a:gd name="T26" fmla="*/ 22 w 171"/>
                <a:gd name="T27" fmla="*/ 35 h 72"/>
                <a:gd name="T28" fmla="*/ 32 w 171"/>
                <a:gd name="T29" fmla="*/ 36 h 72"/>
                <a:gd name="T30" fmla="*/ 36 w 171"/>
                <a:gd name="T31" fmla="*/ 33 h 72"/>
                <a:gd name="T32" fmla="*/ 50 w 171"/>
                <a:gd name="T33" fmla="*/ 39 h 72"/>
                <a:gd name="T34" fmla="*/ 58 w 171"/>
                <a:gd name="T35" fmla="*/ 47 h 72"/>
                <a:gd name="T36" fmla="*/ 51 w 171"/>
                <a:gd name="T37" fmla="*/ 50 h 72"/>
                <a:gd name="T38" fmla="*/ 48 w 171"/>
                <a:gd name="T39" fmla="*/ 54 h 72"/>
                <a:gd name="T40" fmla="*/ 37 w 171"/>
                <a:gd name="T41" fmla="*/ 54 h 72"/>
                <a:gd name="T42" fmla="*/ 30 w 171"/>
                <a:gd name="T43" fmla="*/ 55 h 72"/>
                <a:gd name="T44" fmla="*/ 11 w 171"/>
                <a:gd name="T45" fmla="*/ 57 h 72"/>
                <a:gd name="T46" fmla="*/ 1 w 171"/>
                <a:gd name="T47" fmla="*/ 64 h 72"/>
                <a:gd name="T48" fmla="*/ 1 w 171"/>
                <a:gd name="T49" fmla="*/ 68 h 72"/>
                <a:gd name="T50" fmla="*/ 16 w 171"/>
                <a:gd name="T51" fmla="*/ 66 h 72"/>
                <a:gd name="T52" fmla="*/ 22 w 171"/>
                <a:gd name="T53" fmla="*/ 68 h 72"/>
                <a:gd name="T54" fmla="*/ 30 w 171"/>
                <a:gd name="T55" fmla="*/ 68 h 72"/>
                <a:gd name="T56" fmla="*/ 37 w 171"/>
                <a:gd name="T57" fmla="*/ 69 h 72"/>
                <a:gd name="T58" fmla="*/ 43 w 171"/>
                <a:gd name="T59" fmla="*/ 72 h 72"/>
                <a:gd name="T60" fmla="*/ 50 w 171"/>
                <a:gd name="T61" fmla="*/ 72 h 72"/>
                <a:gd name="T62" fmla="*/ 71 w 171"/>
                <a:gd name="T63" fmla="*/ 71 h 72"/>
                <a:gd name="T64" fmla="*/ 73 w 171"/>
                <a:gd name="T65" fmla="*/ 62 h 72"/>
                <a:gd name="T66" fmla="*/ 75 w 171"/>
                <a:gd name="T67" fmla="*/ 60 h 72"/>
                <a:gd name="T68" fmla="*/ 82 w 171"/>
                <a:gd name="T69" fmla="*/ 57 h 72"/>
                <a:gd name="T70" fmla="*/ 89 w 171"/>
                <a:gd name="T71" fmla="*/ 53 h 72"/>
                <a:gd name="T72" fmla="*/ 96 w 171"/>
                <a:gd name="T73" fmla="*/ 50 h 72"/>
                <a:gd name="T74" fmla="*/ 103 w 171"/>
                <a:gd name="T75" fmla="*/ 53 h 72"/>
                <a:gd name="T76" fmla="*/ 108 w 171"/>
                <a:gd name="T77" fmla="*/ 53 h 72"/>
                <a:gd name="T78" fmla="*/ 116 w 171"/>
                <a:gd name="T79" fmla="*/ 47 h 72"/>
                <a:gd name="T80" fmla="*/ 123 w 171"/>
                <a:gd name="T81" fmla="*/ 41 h 72"/>
                <a:gd name="T82" fmla="*/ 136 w 171"/>
                <a:gd name="T83" fmla="*/ 43 h 72"/>
                <a:gd name="T84" fmla="*/ 144 w 171"/>
                <a:gd name="T85" fmla="*/ 36 h 72"/>
                <a:gd name="T86" fmla="*/ 148 w 171"/>
                <a:gd name="T87" fmla="*/ 32 h 72"/>
                <a:gd name="T88" fmla="*/ 164 w 171"/>
                <a:gd name="T89" fmla="*/ 25 h 72"/>
                <a:gd name="T90" fmla="*/ 171 w 171"/>
                <a:gd name="T91" fmla="*/ 21 h 72"/>
                <a:gd name="T92" fmla="*/ 168 w 171"/>
                <a:gd name="T93" fmla="*/ 17 h 72"/>
                <a:gd name="T94" fmla="*/ 158 w 171"/>
                <a:gd name="T95" fmla="*/ 1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71" h="72">
                  <a:moveTo>
                    <a:pt x="158" y="14"/>
                  </a:moveTo>
                  <a:lnTo>
                    <a:pt x="158" y="14"/>
                  </a:lnTo>
                  <a:lnTo>
                    <a:pt x="154" y="10"/>
                  </a:lnTo>
                  <a:lnTo>
                    <a:pt x="151" y="10"/>
                  </a:lnTo>
                  <a:lnTo>
                    <a:pt x="147" y="10"/>
                  </a:lnTo>
                  <a:lnTo>
                    <a:pt x="143" y="10"/>
                  </a:lnTo>
                  <a:lnTo>
                    <a:pt x="143" y="10"/>
                  </a:lnTo>
                  <a:lnTo>
                    <a:pt x="122" y="7"/>
                  </a:lnTo>
                  <a:lnTo>
                    <a:pt x="111" y="5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98" y="7"/>
                  </a:lnTo>
                  <a:lnTo>
                    <a:pt x="91" y="5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78" y="0"/>
                  </a:lnTo>
                  <a:lnTo>
                    <a:pt x="73" y="1"/>
                  </a:lnTo>
                  <a:lnTo>
                    <a:pt x="68" y="3"/>
                  </a:lnTo>
                  <a:lnTo>
                    <a:pt x="66" y="5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5" y="11"/>
                  </a:lnTo>
                  <a:lnTo>
                    <a:pt x="62" y="12"/>
                  </a:lnTo>
                  <a:lnTo>
                    <a:pt x="58" y="12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46" y="7"/>
                  </a:lnTo>
                  <a:lnTo>
                    <a:pt x="39" y="7"/>
                  </a:lnTo>
                  <a:lnTo>
                    <a:pt x="33" y="7"/>
                  </a:lnTo>
                  <a:lnTo>
                    <a:pt x="32" y="8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9" y="14"/>
                  </a:lnTo>
                  <a:lnTo>
                    <a:pt x="26" y="17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19" y="23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9" y="32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5" y="36"/>
                  </a:lnTo>
                  <a:lnTo>
                    <a:pt x="29" y="37"/>
                  </a:lnTo>
                  <a:lnTo>
                    <a:pt x="32" y="36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6" y="33"/>
                  </a:lnTo>
                  <a:lnTo>
                    <a:pt x="37" y="33"/>
                  </a:lnTo>
                  <a:lnTo>
                    <a:pt x="43" y="35"/>
                  </a:lnTo>
                  <a:lnTo>
                    <a:pt x="50" y="39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8" y="47"/>
                  </a:lnTo>
                  <a:lnTo>
                    <a:pt x="57" y="47"/>
                  </a:lnTo>
                  <a:lnTo>
                    <a:pt x="53" y="48"/>
                  </a:lnTo>
                  <a:lnTo>
                    <a:pt x="51" y="50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48" y="54"/>
                  </a:lnTo>
                  <a:lnTo>
                    <a:pt x="46" y="54"/>
                  </a:lnTo>
                  <a:lnTo>
                    <a:pt x="41" y="54"/>
                  </a:lnTo>
                  <a:lnTo>
                    <a:pt x="37" y="54"/>
                  </a:lnTo>
                  <a:lnTo>
                    <a:pt x="35" y="54"/>
                  </a:lnTo>
                  <a:lnTo>
                    <a:pt x="35" y="54"/>
                  </a:lnTo>
                  <a:lnTo>
                    <a:pt x="30" y="55"/>
                  </a:lnTo>
                  <a:lnTo>
                    <a:pt x="23" y="57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8" y="58"/>
                  </a:lnTo>
                  <a:lnTo>
                    <a:pt x="4" y="61"/>
                  </a:lnTo>
                  <a:lnTo>
                    <a:pt x="1" y="64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1" y="68"/>
                  </a:lnTo>
                  <a:lnTo>
                    <a:pt x="4" y="68"/>
                  </a:lnTo>
                  <a:lnTo>
                    <a:pt x="10" y="68"/>
                  </a:lnTo>
                  <a:lnTo>
                    <a:pt x="16" y="66"/>
                  </a:lnTo>
                  <a:lnTo>
                    <a:pt x="21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5" y="69"/>
                  </a:lnTo>
                  <a:lnTo>
                    <a:pt x="26" y="69"/>
                  </a:lnTo>
                  <a:lnTo>
                    <a:pt x="30" y="68"/>
                  </a:lnTo>
                  <a:lnTo>
                    <a:pt x="35" y="68"/>
                  </a:lnTo>
                  <a:lnTo>
                    <a:pt x="36" y="68"/>
                  </a:lnTo>
                  <a:lnTo>
                    <a:pt x="37" y="69"/>
                  </a:lnTo>
                  <a:lnTo>
                    <a:pt x="37" y="69"/>
                  </a:lnTo>
                  <a:lnTo>
                    <a:pt x="40" y="71"/>
                  </a:lnTo>
                  <a:lnTo>
                    <a:pt x="43" y="72"/>
                  </a:lnTo>
                  <a:lnTo>
                    <a:pt x="47" y="71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4" y="72"/>
                  </a:lnTo>
                  <a:lnTo>
                    <a:pt x="61" y="72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2" y="66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73" y="61"/>
                  </a:lnTo>
                  <a:lnTo>
                    <a:pt x="75" y="60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2" y="57"/>
                  </a:lnTo>
                  <a:lnTo>
                    <a:pt x="85" y="55"/>
                  </a:lnTo>
                  <a:lnTo>
                    <a:pt x="86" y="54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93" y="51"/>
                  </a:lnTo>
                  <a:lnTo>
                    <a:pt x="96" y="50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103" y="53"/>
                  </a:lnTo>
                  <a:lnTo>
                    <a:pt x="105" y="54"/>
                  </a:lnTo>
                  <a:lnTo>
                    <a:pt x="108" y="53"/>
                  </a:lnTo>
                  <a:lnTo>
                    <a:pt x="108" y="53"/>
                  </a:lnTo>
                  <a:lnTo>
                    <a:pt x="112" y="51"/>
                  </a:lnTo>
                  <a:lnTo>
                    <a:pt x="114" y="50"/>
                  </a:lnTo>
                  <a:lnTo>
                    <a:pt x="116" y="47"/>
                  </a:lnTo>
                  <a:lnTo>
                    <a:pt x="116" y="47"/>
                  </a:lnTo>
                  <a:lnTo>
                    <a:pt x="121" y="43"/>
                  </a:lnTo>
                  <a:lnTo>
                    <a:pt x="123" y="41"/>
                  </a:lnTo>
                  <a:lnTo>
                    <a:pt x="132" y="43"/>
                  </a:lnTo>
                  <a:lnTo>
                    <a:pt x="132" y="43"/>
                  </a:lnTo>
                  <a:lnTo>
                    <a:pt x="136" y="43"/>
                  </a:lnTo>
                  <a:lnTo>
                    <a:pt x="139" y="40"/>
                  </a:lnTo>
                  <a:lnTo>
                    <a:pt x="141" y="39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6" y="33"/>
                  </a:lnTo>
                  <a:lnTo>
                    <a:pt x="148" y="32"/>
                  </a:lnTo>
                  <a:lnTo>
                    <a:pt x="155" y="29"/>
                  </a:lnTo>
                  <a:lnTo>
                    <a:pt x="155" y="29"/>
                  </a:lnTo>
                  <a:lnTo>
                    <a:pt x="164" y="25"/>
                  </a:lnTo>
                  <a:lnTo>
                    <a:pt x="169" y="22"/>
                  </a:lnTo>
                  <a:lnTo>
                    <a:pt x="169" y="22"/>
                  </a:lnTo>
                  <a:lnTo>
                    <a:pt x="171" y="21"/>
                  </a:lnTo>
                  <a:lnTo>
                    <a:pt x="171" y="18"/>
                  </a:lnTo>
                  <a:lnTo>
                    <a:pt x="171" y="18"/>
                  </a:lnTo>
                  <a:lnTo>
                    <a:pt x="168" y="17"/>
                  </a:lnTo>
                  <a:lnTo>
                    <a:pt x="164" y="17"/>
                  </a:lnTo>
                  <a:lnTo>
                    <a:pt x="161" y="15"/>
                  </a:lnTo>
                  <a:lnTo>
                    <a:pt x="158" y="14"/>
                  </a:lnTo>
                  <a:lnTo>
                    <a:pt x="158" y="14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6" name="Freeform 58">
              <a:extLst>
                <a:ext uri="{FF2B5EF4-FFF2-40B4-BE49-F238E27FC236}">
                  <a16:creationId xmlns:a16="http://schemas.microsoft.com/office/drawing/2014/main" id="{C1C2AC72-2E44-407D-A075-2E7E2E94A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2563" y="3052763"/>
              <a:ext cx="57150" cy="52388"/>
            </a:xfrm>
            <a:custGeom>
              <a:avLst/>
              <a:gdLst>
                <a:gd name="T0" fmla="*/ 18 w 36"/>
                <a:gd name="T1" fmla="*/ 0 h 33"/>
                <a:gd name="T2" fmla="*/ 18 w 36"/>
                <a:gd name="T3" fmla="*/ 0 h 33"/>
                <a:gd name="T4" fmla="*/ 12 w 36"/>
                <a:gd name="T5" fmla="*/ 0 h 33"/>
                <a:gd name="T6" fmla="*/ 7 w 36"/>
                <a:gd name="T7" fmla="*/ 3 h 33"/>
                <a:gd name="T8" fmla="*/ 3 w 36"/>
                <a:gd name="T9" fmla="*/ 5 h 33"/>
                <a:gd name="T10" fmla="*/ 0 w 36"/>
                <a:gd name="T11" fmla="*/ 10 h 33"/>
                <a:gd name="T12" fmla="*/ 0 w 36"/>
                <a:gd name="T13" fmla="*/ 10 h 33"/>
                <a:gd name="T14" fmla="*/ 3 w 36"/>
                <a:gd name="T15" fmla="*/ 14 h 33"/>
                <a:gd name="T16" fmla="*/ 3 w 36"/>
                <a:gd name="T17" fmla="*/ 14 h 33"/>
                <a:gd name="T18" fmla="*/ 4 w 36"/>
                <a:gd name="T19" fmla="*/ 17 h 33"/>
                <a:gd name="T20" fmla="*/ 5 w 36"/>
                <a:gd name="T21" fmla="*/ 19 h 33"/>
                <a:gd name="T22" fmla="*/ 11 w 36"/>
                <a:gd name="T23" fmla="*/ 25 h 33"/>
                <a:gd name="T24" fmla="*/ 11 w 36"/>
                <a:gd name="T25" fmla="*/ 25 h 33"/>
                <a:gd name="T26" fmla="*/ 12 w 36"/>
                <a:gd name="T27" fmla="*/ 26 h 33"/>
                <a:gd name="T28" fmla="*/ 14 w 36"/>
                <a:gd name="T29" fmla="*/ 28 h 33"/>
                <a:gd name="T30" fmla="*/ 12 w 36"/>
                <a:gd name="T31" fmla="*/ 33 h 33"/>
                <a:gd name="T32" fmla="*/ 12 w 36"/>
                <a:gd name="T33" fmla="*/ 33 h 33"/>
                <a:gd name="T34" fmla="*/ 19 w 36"/>
                <a:gd name="T35" fmla="*/ 33 h 33"/>
                <a:gd name="T36" fmla="*/ 19 w 36"/>
                <a:gd name="T37" fmla="*/ 33 h 33"/>
                <a:gd name="T38" fmla="*/ 23 w 36"/>
                <a:gd name="T39" fmla="*/ 30 h 33"/>
                <a:gd name="T40" fmla="*/ 29 w 36"/>
                <a:gd name="T41" fmla="*/ 25 h 33"/>
                <a:gd name="T42" fmla="*/ 36 w 36"/>
                <a:gd name="T43" fmla="*/ 14 h 33"/>
                <a:gd name="T44" fmla="*/ 36 w 36"/>
                <a:gd name="T45" fmla="*/ 14 h 33"/>
                <a:gd name="T46" fmla="*/ 35 w 36"/>
                <a:gd name="T47" fmla="*/ 12 h 33"/>
                <a:gd name="T48" fmla="*/ 35 w 36"/>
                <a:gd name="T49" fmla="*/ 11 h 33"/>
                <a:gd name="T50" fmla="*/ 29 w 36"/>
                <a:gd name="T51" fmla="*/ 5 h 33"/>
                <a:gd name="T52" fmla="*/ 23 w 36"/>
                <a:gd name="T53" fmla="*/ 1 h 33"/>
                <a:gd name="T54" fmla="*/ 18 w 36"/>
                <a:gd name="T55" fmla="*/ 0 h 33"/>
                <a:gd name="T56" fmla="*/ 18 w 36"/>
                <a:gd name="T5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" h="33">
                  <a:moveTo>
                    <a:pt x="18" y="0"/>
                  </a:moveTo>
                  <a:lnTo>
                    <a:pt x="18" y="0"/>
                  </a:lnTo>
                  <a:lnTo>
                    <a:pt x="12" y="0"/>
                  </a:lnTo>
                  <a:lnTo>
                    <a:pt x="7" y="3"/>
                  </a:lnTo>
                  <a:lnTo>
                    <a:pt x="3" y="5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7"/>
                  </a:lnTo>
                  <a:lnTo>
                    <a:pt x="5" y="19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2" y="26"/>
                  </a:lnTo>
                  <a:lnTo>
                    <a:pt x="14" y="28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23" y="30"/>
                  </a:lnTo>
                  <a:lnTo>
                    <a:pt x="29" y="25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5" y="12"/>
                  </a:lnTo>
                  <a:lnTo>
                    <a:pt x="35" y="11"/>
                  </a:lnTo>
                  <a:lnTo>
                    <a:pt x="29" y="5"/>
                  </a:lnTo>
                  <a:lnTo>
                    <a:pt x="23" y="1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7" name="Freeform 59">
              <a:extLst>
                <a:ext uri="{FF2B5EF4-FFF2-40B4-BE49-F238E27FC236}">
                  <a16:creationId xmlns:a16="http://schemas.microsoft.com/office/drawing/2014/main" id="{43433178-8A9E-4175-8C11-14AD1FDE7F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4926" y="2844800"/>
              <a:ext cx="168275" cy="158750"/>
            </a:xfrm>
            <a:custGeom>
              <a:avLst/>
              <a:gdLst>
                <a:gd name="T0" fmla="*/ 102 w 106"/>
                <a:gd name="T1" fmla="*/ 5 h 100"/>
                <a:gd name="T2" fmla="*/ 95 w 106"/>
                <a:gd name="T3" fmla="*/ 3 h 100"/>
                <a:gd name="T4" fmla="*/ 90 w 106"/>
                <a:gd name="T5" fmla="*/ 0 h 100"/>
                <a:gd name="T6" fmla="*/ 88 w 106"/>
                <a:gd name="T7" fmla="*/ 0 h 100"/>
                <a:gd name="T8" fmla="*/ 84 w 106"/>
                <a:gd name="T9" fmla="*/ 6 h 100"/>
                <a:gd name="T10" fmla="*/ 81 w 106"/>
                <a:gd name="T11" fmla="*/ 12 h 100"/>
                <a:gd name="T12" fmla="*/ 80 w 106"/>
                <a:gd name="T13" fmla="*/ 12 h 100"/>
                <a:gd name="T14" fmla="*/ 76 w 106"/>
                <a:gd name="T15" fmla="*/ 16 h 100"/>
                <a:gd name="T16" fmla="*/ 69 w 106"/>
                <a:gd name="T17" fmla="*/ 20 h 100"/>
                <a:gd name="T18" fmla="*/ 62 w 106"/>
                <a:gd name="T19" fmla="*/ 21 h 100"/>
                <a:gd name="T20" fmla="*/ 63 w 106"/>
                <a:gd name="T21" fmla="*/ 27 h 100"/>
                <a:gd name="T22" fmla="*/ 63 w 106"/>
                <a:gd name="T23" fmla="*/ 28 h 100"/>
                <a:gd name="T24" fmla="*/ 54 w 106"/>
                <a:gd name="T25" fmla="*/ 30 h 100"/>
                <a:gd name="T26" fmla="*/ 50 w 106"/>
                <a:gd name="T27" fmla="*/ 28 h 100"/>
                <a:gd name="T28" fmla="*/ 45 w 106"/>
                <a:gd name="T29" fmla="*/ 25 h 100"/>
                <a:gd name="T30" fmla="*/ 43 w 106"/>
                <a:gd name="T31" fmla="*/ 25 h 100"/>
                <a:gd name="T32" fmla="*/ 37 w 106"/>
                <a:gd name="T33" fmla="*/ 30 h 100"/>
                <a:gd name="T34" fmla="*/ 33 w 106"/>
                <a:gd name="T35" fmla="*/ 36 h 100"/>
                <a:gd name="T36" fmla="*/ 19 w 106"/>
                <a:gd name="T37" fmla="*/ 45 h 100"/>
                <a:gd name="T38" fmla="*/ 4 w 106"/>
                <a:gd name="T39" fmla="*/ 52 h 100"/>
                <a:gd name="T40" fmla="*/ 0 w 106"/>
                <a:gd name="T41" fmla="*/ 59 h 100"/>
                <a:gd name="T42" fmla="*/ 5 w 106"/>
                <a:gd name="T43" fmla="*/ 60 h 100"/>
                <a:gd name="T44" fmla="*/ 13 w 106"/>
                <a:gd name="T45" fmla="*/ 66 h 100"/>
                <a:gd name="T46" fmla="*/ 18 w 106"/>
                <a:gd name="T47" fmla="*/ 68 h 100"/>
                <a:gd name="T48" fmla="*/ 18 w 106"/>
                <a:gd name="T49" fmla="*/ 73 h 100"/>
                <a:gd name="T50" fmla="*/ 8 w 106"/>
                <a:gd name="T51" fmla="*/ 85 h 100"/>
                <a:gd name="T52" fmla="*/ 6 w 106"/>
                <a:gd name="T53" fmla="*/ 88 h 100"/>
                <a:gd name="T54" fmla="*/ 9 w 106"/>
                <a:gd name="T55" fmla="*/ 92 h 100"/>
                <a:gd name="T56" fmla="*/ 11 w 106"/>
                <a:gd name="T57" fmla="*/ 95 h 100"/>
                <a:gd name="T58" fmla="*/ 13 w 106"/>
                <a:gd name="T59" fmla="*/ 99 h 100"/>
                <a:gd name="T60" fmla="*/ 19 w 106"/>
                <a:gd name="T61" fmla="*/ 99 h 100"/>
                <a:gd name="T62" fmla="*/ 20 w 106"/>
                <a:gd name="T63" fmla="*/ 96 h 100"/>
                <a:gd name="T64" fmla="*/ 30 w 106"/>
                <a:gd name="T65" fmla="*/ 96 h 100"/>
                <a:gd name="T66" fmla="*/ 33 w 106"/>
                <a:gd name="T67" fmla="*/ 96 h 100"/>
                <a:gd name="T68" fmla="*/ 34 w 106"/>
                <a:gd name="T69" fmla="*/ 98 h 100"/>
                <a:gd name="T70" fmla="*/ 44 w 106"/>
                <a:gd name="T71" fmla="*/ 91 h 100"/>
                <a:gd name="T72" fmla="*/ 50 w 106"/>
                <a:gd name="T73" fmla="*/ 89 h 100"/>
                <a:gd name="T74" fmla="*/ 58 w 106"/>
                <a:gd name="T75" fmla="*/ 88 h 100"/>
                <a:gd name="T76" fmla="*/ 66 w 106"/>
                <a:gd name="T77" fmla="*/ 85 h 100"/>
                <a:gd name="T78" fmla="*/ 58 w 106"/>
                <a:gd name="T79" fmla="*/ 77 h 100"/>
                <a:gd name="T80" fmla="*/ 52 w 106"/>
                <a:gd name="T81" fmla="*/ 73 h 100"/>
                <a:gd name="T82" fmla="*/ 50 w 106"/>
                <a:gd name="T83" fmla="*/ 68 h 100"/>
                <a:gd name="T84" fmla="*/ 52 w 106"/>
                <a:gd name="T85" fmla="*/ 60 h 100"/>
                <a:gd name="T86" fmla="*/ 56 w 106"/>
                <a:gd name="T87" fmla="*/ 59 h 100"/>
                <a:gd name="T88" fmla="*/ 70 w 106"/>
                <a:gd name="T89" fmla="*/ 50 h 100"/>
                <a:gd name="T90" fmla="*/ 84 w 106"/>
                <a:gd name="T91" fmla="*/ 42 h 100"/>
                <a:gd name="T92" fmla="*/ 87 w 106"/>
                <a:gd name="T93" fmla="*/ 34 h 100"/>
                <a:gd name="T94" fmla="*/ 90 w 106"/>
                <a:gd name="T95" fmla="*/ 23 h 100"/>
                <a:gd name="T96" fmla="*/ 95 w 106"/>
                <a:gd name="T97" fmla="*/ 14 h 100"/>
                <a:gd name="T98" fmla="*/ 106 w 106"/>
                <a:gd name="T99" fmla="*/ 6 h 100"/>
                <a:gd name="T100" fmla="*/ 102 w 106"/>
                <a:gd name="T101" fmla="*/ 5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06" h="100">
                  <a:moveTo>
                    <a:pt x="102" y="5"/>
                  </a:moveTo>
                  <a:lnTo>
                    <a:pt x="102" y="5"/>
                  </a:lnTo>
                  <a:lnTo>
                    <a:pt x="98" y="5"/>
                  </a:lnTo>
                  <a:lnTo>
                    <a:pt x="95" y="3"/>
                  </a:lnTo>
                  <a:lnTo>
                    <a:pt x="93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7" y="2"/>
                  </a:lnTo>
                  <a:lnTo>
                    <a:pt x="84" y="6"/>
                  </a:lnTo>
                  <a:lnTo>
                    <a:pt x="83" y="10"/>
                  </a:lnTo>
                  <a:lnTo>
                    <a:pt x="81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77" y="13"/>
                  </a:lnTo>
                  <a:lnTo>
                    <a:pt x="76" y="16"/>
                  </a:lnTo>
                  <a:lnTo>
                    <a:pt x="73" y="18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2" y="21"/>
                  </a:lnTo>
                  <a:lnTo>
                    <a:pt x="62" y="23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8"/>
                  </a:lnTo>
                  <a:lnTo>
                    <a:pt x="62" y="30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0" y="28"/>
                  </a:lnTo>
                  <a:lnTo>
                    <a:pt x="47" y="27"/>
                  </a:lnTo>
                  <a:lnTo>
                    <a:pt x="45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0" y="27"/>
                  </a:lnTo>
                  <a:lnTo>
                    <a:pt x="37" y="30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27" y="41"/>
                  </a:lnTo>
                  <a:lnTo>
                    <a:pt x="19" y="45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1" y="55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5" y="60"/>
                  </a:lnTo>
                  <a:lnTo>
                    <a:pt x="9" y="63"/>
                  </a:lnTo>
                  <a:lnTo>
                    <a:pt x="13" y="66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70"/>
                  </a:lnTo>
                  <a:lnTo>
                    <a:pt x="18" y="73"/>
                  </a:lnTo>
                  <a:lnTo>
                    <a:pt x="16" y="77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6" y="88"/>
                  </a:lnTo>
                  <a:lnTo>
                    <a:pt x="8" y="91"/>
                  </a:lnTo>
                  <a:lnTo>
                    <a:pt x="9" y="92"/>
                  </a:lnTo>
                  <a:lnTo>
                    <a:pt x="11" y="95"/>
                  </a:lnTo>
                  <a:lnTo>
                    <a:pt x="11" y="95"/>
                  </a:lnTo>
                  <a:lnTo>
                    <a:pt x="12" y="98"/>
                  </a:lnTo>
                  <a:lnTo>
                    <a:pt x="13" y="99"/>
                  </a:lnTo>
                  <a:lnTo>
                    <a:pt x="16" y="100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20" y="96"/>
                  </a:lnTo>
                  <a:lnTo>
                    <a:pt x="23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3" y="96"/>
                  </a:lnTo>
                  <a:lnTo>
                    <a:pt x="34" y="98"/>
                  </a:lnTo>
                  <a:lnTo>
                    <a:pt x="34" y="98"/>
                  </a:lnTo>
                  <a:lnTo>
                    <a:pt x="44" y="91"/>
                  </a:lnTo>
                  <a:lnTo>
                    <a:pt x="44" y="91"/>
                  </a:lnTo>
                  <a:lnTo>
                    <a:pt x="45" y="89"/>
                  </a:lnTo>
                  <a:lnTo>
                    <a:pt x="50" y="89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62" y="88"/>
                  </a:lnTo>
                  <a:lnTo>
                    <a:pt x="66" y="85"/>
                  </a:lnTo>
                  <a:lnTo>
                    <a:pt x="66" y="85"/>
                  </a:lnTo>
                  <a:lnTo>
                    <a:pt x="58" y="77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51" y="70"/>
                  </a:lnTo>
                  <a:lnTo>
                    <a:pt x="50" y="68"/>
                  </a:lnTo>
                  <a:lnTo>
                    <a:pt x="50" y="64"/>
                  </a:lnTo>
                  <a:lnTo>
                    <a:pt x="52" y="60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63" y="55"/>
                  </a:lnTo>
                  <a:lnTo>
                    <a:pt x="70" y="50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6" y="38"/>
                  </a:lnTo>
                  <a:lnTo>
                    <a:pt x="87" y="34"/>
                  </a:lnTo>
                  <a:lnTo>
                    <a:pt x="87" y="28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95" y="14"/>
                  </a:lnTo>
                  <a:lnTo>
                    <a:pt x="106" y="6"/>
                  </a:lnTo>
                  <a:lnTo>
                    <a:pt x="106" y="6"/>
                  </a:lnTo>
                  <a:lnTo>
                    <a:pt x="102" y="5"/>
                  </a:lnTo>
                  <a:lnTo>
                    <a:pt x="102" y="5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8" name="Freeform 60">
              <a:extLst>
                <a:ext uri="{FF2B5EF4-FFF2-40B4-BE49-F238E27FC236}">
                  <a16:creationId xmlns:a16="http://schemas.microsoft.com/office/drawing/2014/main" id="{03282486-CFA1-4B36-848F-B768BF2ADE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3363" y="3208338"/>
              <a:ext cx="187325" cy="106363"/>
            </a:xfrm>
            <a:custGeom>
              <a:avLst/>
              <a:gdLst>
                <a:gd name="T0" fmla="*/ 118 w 118"/>
                <a:gd name="T1" fmla="*/ 43 h 67"/>
                <a:gd name="T2" fmla="*/ 115 w 118"/>
                <a:gd name="T3" fmla="*/ 43 h 67"/>
                <a:gd name="T4" fmla="*/ 104 w 118"/>
                <a:gd name="T5" fmla="*/ 42 h 67"/>
                <a:gd name="T6" fmla="*/ 94 w 118"/>
                <a:gd name="T7" fmla="*/ 39 h 67"/>
                <a:gd name="T8" fmla="*/ 89 w 118"/>
                <a:gd name="T9" fmla="*/ 38 h 67"/>
                <a:gd name="T10" fmla="*/ 71 w 118"/>
                <a:gd name="T11" fmla="*/ 32 h 67"/>
                <a:gd name="T12" fmla="*/ 64 w 118"/>
                <a:gd name="T13" fmla="*/ 27 h 67"/>
                <a:gd name="T14" fmla="*/ 32 w 118"/>
                <a:gd name="T15" fmla="*/ 5 h 67"/>
                <a:gd name="T16" fmla="*/ 28 w 118"/>
                <a:gd name="T17" fmla="*/ 2 h 67"/>
                <a:gd name="T18" fmla="*/ 21 w 118"/>
                <a:gd name="T19" fmla="*/ 0 h 67"/>
                <a:gd name="T20" fmla="*/ 19 w 118"/>
                <a:gd name="T21" fmla="*/ 2 h 67"/>
                <a:gd name="T22" fmla="*/ 16 w 118"/>
                <a:gd name="T23" fmla="*/ 3 h 67"/>
                <a:gd name="T24" fmla="*/ 10 w 118"/>
                <a:gd name="T25" fmla="*/ 5 h 67"/>
                <a:gd name="T26" fmla="*/ 4 w 118"/>
                <a:gd name="T27" fmla="*/ 12 h 67"/>
                <a:gd name="T28" fmla="*/ 3 w 118"/>
                <a:gd name="T29" fmla="*/ 13 h 67"/>
                <a:gd name="T30" fmla="*/ 0 w 118"/>
                <a:gd name="T31" fmla="*/ 25 h 67"/>
                <a:gd name="T32" fmla="*/ 1 w 118"/>
                <a:gd name="T33" fmla="*/ 27 h 67"/>
                <a:gd name="T34" fmla="*/ 7 w 118"/>
                <a:gd name="T35" fmla="*/ 30 h 67"/>
                <a:gd name="T36" fmla="*/ 8 w 118"/>
                <a:gd name="T37" fmla="*/ 31 h 67"/>
                <a:gd name="T38" fmla="*/ 15 w 118"/>
                <a:gd name="T39" fmla="*/ 35 h 67"/>
                <a:gd name="T40" fmla="*/ 21 w 118"/>
                <a:gd name="T41" fmla="*/ 38 h 67"/>
                <a:gd name="T42" fmla="*/ 22 w 118"/>
                <a:gd name="T43" fmla="*/ 39 h 67"/>
                <a:gd name="T44" fmla="*/ 33 w 118"/>
                <a:gd name="T45" fmla="*/ 43 h 67"/>
                <a:gd name="T46" fmla="*/ 36 w 118"/>
                <a:gd name="T47" fmla="*/ 45 h 67"/>
                <a:gd name="T48" fmla="*/ 46 w 118"/>
                <a:gd name="T49" fmla="*/ 52 h 67"/>
                <a:gd name="T50" fmla="*/ 48 w 118"/>
                <a:gd name="T51" fmla="*/ 52 h 67"/>
                <a:gd name="T52" fmla="*/ 61 w 118"/>
                <a:gd name="T53" fmla="*/ 49 h 67"/>
                <a:gd name="T54" fmla="*/ 64 w 118"/>
                <a:gd name="T55" fmla="*/ 49 h 67"/>
                <a:gd name="T56" fmla="*/ 69 w 118"/>
                <a:gd name="T57" fmla="*/ 57 h 67"/>
                <a:gd name="T58" fmla="*/ 72 w 118"/>
                <a:gd name="T59" fmla="*/ 60 h 67"/>
                <a:gd name="T60" fmla="*/ 85 w 118"/>
                <a:gd name="T61" fmla="*/ 63 h 67"/>
                <a:gd name="T62" fmla="*/ 90 w 118"/>
                <a:gd name="T63" fmla="*/ 66 h 67"/>
                <a:gd name="T64" fmla="*/ 103 w 118"/>
                <a:gd name="T65" fmla="*/ 67 h 67"/>
                <a:gd name="T66" fmla="*/ 116 w 118"/>
                <a:gd name="T67" fmla="*/ 63 h 67"/>
                <a:gd name="T68" fmla="*/ 118 w 118"/>
                <a:gd name="T69" fmla="*/ 60 h 67"/>
                <a:gd name="T70" fmla="*/ 118 w 118"/>
                <a:gd name="T71" fmla="*/ 46 h 67"/>
                <a:gd name="T72" fmla="*/ 118 w 118"/>
                <a:gd name="T73" fmla="*/ 43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8" h="67">
                  <a:moveTo>
                    <a:pt x="118" y="43"/>
                  </a:moveTo>
                  <a:lnTo>
                    <a:pt x="118" y="43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08" y="43"/>
                  </a:lnTo>
                  <a:lnTo>
                    <a:pt x="104" y="42"/>
                  </a:lnTo>
                  <a:lnTo>
                    <a:pt x="98" y="39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89" y="38"/>
                  </a:lnTo>
                  <a:lnTo>
                    <a:pt x="80" y="35"/>
                  </a:lnTo>
                  <a:lnTo>
                    <a:pt x="71" y="32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47" y="16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28" y="2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6" y="3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5" y="9"/>
                  </a:lnTo>
                  <a:lnTo>
                    <a:pt x="4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1" y="20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4" y="28"/>
                  </a:lnTo>
                  <a:lnTo>
                    <a:pt x="7" y="30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1" y="34"/>
                  </a:lnTo>
                  <a:lnTo>
                    <a:pt x="15" y="35"/>
                  </a:lnTo>
                  <a:lnTo>
                    <a:pt x="19" y="37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2" y="39"/>
                  </a:lnTo>
                  <a:lnTo>
                    <a:pt x="25" y="42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6" y="45"/>
                  </a:lnTo>
                  <a:lnTo>
                    <a:pt x="40" y="48"/>
                  </a:lnTo>
                  <a:lnTo>
                    <a:pt x="46" y="52"/>
                  </a:lnTo>
                  <a:lnTo>
                    <a:pt x="46" y="52"/>
                  </a:lnTo>
                  <a:lnTo>
                    <a:pt x="48" y="52"/>
                  </a:lnTo>
                  <a:lnTo>
                    <a:pt x="53" y="50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4" y="49"/>
                  </a:lnTo>
                  <a:lnTo>
                    <a:pt x="65" y="52"/>
                  </a:lnTo>
                  <a:lnTo>
                    <a:pt x="69" y="57"/>
                  </a:lnTo>
                  <a:lnTo>
                    <a:pt x="69" y="57"/>
                  </a:lnTo>
                  <a:lnTo>
                    <a:pt x="72" y="60"/>
                  </a:lnTo>
                  <a:lnTo>
                    <a:pt x="78" y="62"/>
                  </a:lnTo>
                  <a:lnTo>
                    <a:pt x="85" y="63"/>
                  </a:lnTo>
                  <a:lnTo>
                    <a:pt x="90" y="66"/>
                  </a:lnTo>
                  <a:lnTo>
                    <a:pt x="90" y="66"/>
                  </a:lnTo>
                  <a:lnTo>
                    <a:pt x="94" y="67"/>
                  </a:lnTo>
                  <a:lnTo>
                    <a:pt x="103" y="67"/>
                  </a:lnTo>
                  <a:lnTo>
                    <a:pt x="111" y="66"/>
                  </a:lnTo>
                  <a:lnTo>
                    <a:pt x="116" y="63"/>
                  </a:lnTo>
                  <a:lnTo>
                    <a:pt x="116" y="63"/>
                  </a:lnTo>
                  <a:lnTo>
                    <a:pt x="118" y="60"/>
                  </a:lnTo>
                  <a:lnTo>
                    <a:pt x="118" y="56"/>
                  </a:lnTo>
                  <a:lnTo>
                    <a:pt x="118" y="46"/>
                  </a:lnTo>
                  <a:lnTo>
                    <a:pt x="118" y="46"/>
                  </a:lnTo>
                  <a:lnTo>
                    <a:pt x="118" y="43"/>
                  </a:lnTo>
                  <a:lnTo>
                    <a:pt x="118" y="43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9" name="Freeform 61">
              <a:extLst>
                <a:ext uri="{FF2B5EF4-FFF2-40B4-BE49-F238E27FC236}">
                  <a16:creationId xmlns:a16="http://schemas.microsoft.com/office/drawing/2014/main" id="{1B8E3193-7732-441F-A472-5612AD2C4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1176" y="3259138"/>
              <a:ext cx="211138" cy="465138"/>
            </a:xfrm>
            <a:custGeom>
              <a:avLst/>
              <a:gdLst>
                <a:gd name="T0" fmla="*/ 105 w 133"/>
                <a:gd name="T1" fmla="*/ 261 h 293"/>
                <a:gd name="T2" fmla="*/ 102 w 133"/>
                <a:gd name="T3" fmla="*/ 246 h 293"/>
                <a:gd name="T4" fmla="*/ 93 w 133"/>
                <a:gd name="T5" fmla="*/ 232 h 293"/>
                <a:gd name="T6" fmla="*/ 91 w 133"/>
                <a:gd name="T7" fmla="*/ 220 h 293"/>
                <a:gd name="T8" fmla="*/ 94 w 133"/>
                <a:gd name="T9" fmla="*/ 209 h 293"/>
                <a:gd name="T10" fmla="*/ 96 w 133"/>
                <a:gd name="T11" fmla="*/ 203 h 293"/>
                <a:gd name="T12" fmla="*/ 93 w 133"/>
                <a:gd name="T13" fmla="*/ 196 h 293"/>
                <a:gd name="T14" fmla="*/ 89 w 133"/>
                <a:gd name="T15" fmla="*/ 189 h 293"/>
                <a:gd name="T16" fmla="*/ 79 w 133"/>
                <a:gd name="T17" fmla="*/ 177 h 293"/>
                <a:gd name="T18" fmla="*/ 86 w 133"/>
                <a:gd name="T19" fmla="*/ 148 h 293"/>
                <a:gd name="T20" fmla="*/ 100 w 133"/>
                <a:gd name="T21" fmla="*/ 146 h 293"/>
                <a:gd name="T22" fmla="*/ 111 w 133"/>
                <a:gd name="T23" fmla="*/ 139 h 293"/>
                <a:gd name="T24" fmla="*/ 119 w 133"/>
                <a:gd name="T25" fmla="*/ 134 h 293"/>
                <a:gd name="T26" fmla="*/ 125 w 133"/>
                <a:gd name="T27" fmla="*/ 128 h 293"/>
                <a:gd name="T28" fmla="*/ 133 w 133"/>
                <a:gd name="T29" fmla="*/ 116 h 293"/>
                <a:gd name="T30" fmla="*/ 132 w 133"/>
                <a:gd name="T31" fmla="*/ 116 h 293"/>
                <a:gd name="T32" fmla="*/ 119 w 133"/>
                <a:gd name="T33" fmla="*/ 117 h 293"/>
                <a:gd name="T34" fmla="*/ 116 w 133"/>
                <a:gd name="T35" fmla="*/ 110 h 293"/>
                <a:gd name="T36" fmla="*/ 107 w 133"/>
                <a:gd name="T37" fmla="*/ 107 h 293"/>
                <a:gd name="T38" fmla="*/ 108 w 133"/>
                <a:gd name="T39" fmla="*/ 95 h 293"/>
                <a:gd name="T40" fmla="*/ 102 w 133"/>
                <a:gd name="T41" fmla="*/ 91 h 293"/>
                <a:gd name="T42" fmla="*/ 97 w 133"/>
                <a:gd name="T43" fmla="*/ 78 h 293"/>
                <a:gd name="T44" fmla="*/ 93 w 133"/>
                <a:gd name="T45" fmla="*/ 74 h 293"/>
                <a:gd name="T46" fmla="*/ 80 w 133"/>
                <a:gd name="T47" fmla="*/ 75 h 293"/>
                <a:gd name="T48" fmla="*/ 80 w 133"/>
                <a:gd name="T49" fmla="*/ 67 h 293"/>
                <a:gd name="T50" fmla="*/ 93 w 133"/>
                <a:gd name="T51" fmla="*/ 45 h 293"/>
                <a:gd name="T52" fmla="*/ 97 w 133"/>
                <a:gd name="T53" fmla="*/ 23 h 293"/>
                <a:gd name="T54" fmla="*/ 93 w 133"/>
                <a:gd name="T55" fmla="*/ 14 h 293"/>
                <a:gd name="T56" fmla="*/ 87 w 133"/>
                <a:gd name="T57" fmla="*/ 11 h 293"/>
                <a:gd name="T58" fmla="*/ 83 w 133"/>
                <a:gd name="T59" fmla="*/ 2 h 293"/>
                <a:gd name="T60" fmla="*/ 75 w 133"/>
                <a:gd name="T61" fmla="*/ 3 h 293"/>
                <a:gd name="T62" fmla="*/ 73 w 133"/>
                <a:gd name="T63" fmla="*/ 6 h 293"/>
                <a:gd name="T64" fmla="*/ 69 w 133"/>
                <a:gd name="T65" fmla="*/ 11 h 293"/>
                <a:gd name="T66" fmla="*/ 72 w 133"/>
                <a:gd name="T67" fmla="*/ 21 h 293"/>
                <a:gd name="T68" fmla="*/ 68 w 133"/>
                <a:gd name="T69" fmla="*/ 23 h 293"/>
                <a:gd name="T70" fmla="*/ 64 w 133"/>
                <a:gd name="T71" fmla="*/ 20 h 293"/>
                <a:gd name="T72" fmla="*/ 46 w 133"/>
                <a:gd name="T73" fmla="*/ 32 h 293"/>
                <a:gd name="T74" fmla="*/ 41 w 133"/>
                <a:gd name="T75" fmla="*/ 45 h 293"/>
                <a:gd name="T76" fmla="*/ 37 w 133"/>
                <a:gd name="T77" fmla="*/ 59 h 293"/>
                <a:gd name="T78" fmla="*/ 32 w 133"/>
                <a:gd name="T79" fmla="*/ 77 h 293"/>
                <a:gd name="T80" fmla="*/ 26 w 133"/>
                <a:gd name="T81" fmla="*/ 78 h 293"/>
                <a:gd name="T82" fmla="*/ 18 w 133"/>
                <a:gd name="T83" fmla="*/ 84 h 293"/>
                <a:gd name="T84" fmla="*/ 15 w 133"/>
                <a:gd name="T85" fmla="*/ 96 h 293"/>
                <a:gd name="T86" fmla="*/ 12 w 133"/>
                <a:gd name="T87" fmla="*/ 109 h 293"/>
                <a:gd name="T88" fmla="*/ 5 w 133"/>
                <a:gd name="T89" fmla="*/ 121 h 293"/>
                <a:gd name="T90" fmla="*/ 5 w 133"/>
                <a:gd name="T91" fmla="*/ 134 h 293"/>
                <a:gd name="T92" fmla="*/ 18 w 133"/>
                <a:gd name="T93" fmla="*/ 143 h 293"/>
                <a:gd name="T94" fmla="*/ 32 w 133"/>
                <a:gd name="T95" fmla="*/ 172 h 293"/>
                <a:gd name="T96" fmla="*/ 32 w 133"/>
                <a:gd name="T97" fmla="*/ 193 h 293"/>
                <a:gd name="T98" fmla="*/ 30 w 133"/>
                <a:gd name="T99" fmla="*/ 203 h 293"/>
                <a:gd name="T100" fmla="*/ 44 w 133"/>
                <a:gd name="T101" fmla="*/ 209 h 293"/>
                <a:gd name="T102" fmla="*/ 55 w 133"/>
                <a:gd name="T103" fmla="*/ 200 h 293"/>
                <a:gd name="T104" fmla="*/ 65 w 133"/>
                <a:gd name="T105" fmla="*/ 189 h 293"/>
                <a:gd name="T106" fmla="*/ 73 w 133"/>
                <a:gd name="T107" fmla="*/ 195 h 293"/>
                <a:gd name="T108" fmla="*/ 79 w 133"/>
                <a:gd name="T109" fmla="*/ 213 h 293"/>
                <a:gd name="T110" fmla="*/ 84 w 133"/>
                <a:gd name="T111" fmla="*/ 243 h 293"/>
                <a:gd name="T112" fmla="*/ 94 w 133"/>
                <a:gd name="T113" fmla="*/ 259 h 293"/>
                <a:gd name="T114" fmla="*/ 93 w 133"/>
                <a:gd name="T115" fmla="*/ 275 h 293"/>
                <a:gd name="T116" fmla="*/ 96 w 133"/>
                <a:gd name="T117" fmla="*/ 289 h 293"/>
                <a:gd name="T118" fmla="*/ 100 w 133"/>
                <a:gd name="T119" fmla="*/ 29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3" h="293">
                  <a:moveTo>
                    <a:pt x="108" y="268"/>
                  </a:moveTo>
                  <a:lnTo>
                    <a:pt x="108" y="268"/>
                  </a:lnTo>
                  <a:lnTo>
                    <a:pt x="107" y="264"/>
                  </a:lnTo>
                  <a:lnTo>
                    <a:pt x="105" y="261"/>
                  </a:lnTo>
                  <a:lnTo>
                    <a:pt x="104" y="259"/>
                  </a:lnTo>
                  <a:lnTo>
                    <a:pt x="102" y="256"/>
                  </a:lnTo>
                  <a:lnTo>
                    <a:pt x="102" y="256"/>
                  </a:lnTo>
                  <a:lnTo>
                    <a:pt x="102" y="246"/>
                  </a:lnTo>
                  <a:lnTo>
                    <a:pt x="100" y="242"/>
                  </a:lnTo>
                  <a:lnTo>
                    <a:pt x="97" y="236"/>
                  </a:lnTo>
                  <a:lnTo>
                    <a:pt x="97" y="236"/>
                  </a:lnTo>
                  <a:lnTo>
                    <a:pt x="93" y="232"/>
                  </a:lnTo>
                  <a:lnTo>
                    <a:pt x="90" y="228"/>
                  </a:lnTo>
                  <a:lnTo>
                    <a:pt x="90" y="224"/>
                  </a:lnTo>
                  <a:lnTo>
                    <a:pt x="91" y="220"/>
                  </a:lnTo>
                  <a:lnTo>
                    <a:pt x="91" y="220"/>
                  </a:lnTo>
                  <a:lnTo>
                    <a:pt x="93" y="217"/>
                  </a:lnTo>
                  <a:lnTo>
                    <a:pt x="93" y="213"/>
                  </a:lnTo>
                  <a:lnTo>
                    <a:pt x="93" y="210"/>
                  </a:lnTo>
                  <a:lnTo>
                    <a:pt x="94" y="209"/>
                  </a:lnTo>
                  <a:lnTo>
                    <a:pt x="94" y="209"/>
                  </a:lnTo>
                  <a:lnTo>
                    <a:pt x="96" y="209"/>
                  </a:lnTo>
                  <a:lnTo>
                    <a:pt x="96" y="206"/>
                  </a:lnTo>
                  <a:lnTo>
                    <a:pt x="96" y="203"/>
                  </a:lnTo>
                  <a:lnTo>
                    <a:pt x="94" y="202"/>
                  </a:lnTo>
                  <a:lnTo>
                    <a:pt x="94" y="202"/>
                  </a:lnTo>
                  <a:lnTo>
                    <a:pt x="93" y="199"/>
                  </a:lnTo>
                  <a:lnTo>
                    <a:pt x="93" y="196"/>
                  </a:lnTo>
                  <a:lnTo>
                    <a:pt x="93" y="193"/>
                  </a:lnTo>
                  <a:lnTo>
                    <a:pt x="91" y="191"/>
                  </a:lnTo>
                  <a:lnTo>
                    <a:pt x="91" y="191"/>
                  </a:lnTo>
                  <a:lnTo>
                    <a:pt x="89" y="189"/>
                  </a:lnTo>
                  <a:lnTo>
                    <a:pt x="84" y="185"/>
                  </a:lnTo>
                  <a:lnTo>
                    <a:pt x="80" y="181"/>
                  </a:lnTo>
                  <a:lnTo>
                    <a:pt x="79" y="177"/>
                  </a:lnTo>
                  <a:lnTo>
                    <a:pt x="79" y="177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4" y="149"/>
                  </a:lnTo>
                  <a:lnTo>
                    <a:pt x="86" y="148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97" y="148"/>
                  </a:lnTo>
                  <a:lnTo>
                    <a:pt x="100" y="146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7" y="141"/>
                  </a:lnTo>
                  <a:lnTo>
                    <a:pt x="111" y="139"/>
                  </a:lnTo>
                  <a:lnTo>
                    <a:pt x="115" y="138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9" y="134"/>
                  </a:lnTo>
                  <a:lnTo>
                    <a:pt x="122" y="132"/>
                  </a:lnTo>
                  <a:lnTo>
                    <a:pt x="125" y="131"/>
                  </a:lnTo>
                  <a:lnTo>
                    <a:pt x="125" y="128"/>
                  </a:lnTo>
                  <a:lnTo>
                    <a:pt x="125" y="128"/>
                  </a:lnTo>
                  <a:lnTo>
                    <a:pt x="126" y="125"/>
                  </a:lnTo>
                  <a:lnTo>
                    <a:pt x="129" y="121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2" y="116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2" y="118"/>
                  </a:lnTo>
                  <a:lnTo>
                    <a:pt x="119" y="117"/>
                  </a:lnTo>
                  <a:lnTo>
                    <a:pt x="116" y="116"/>
                  </a:lnTo>
                  <a:lnTo>
                    <a:pt x="116" y="111"/>
                  </a:lnTo>
                  <a:lnTo>
                    <a:pt x="116" y="111"/>
                  </a:lnTo>
                  <a:lnTo>
                    <a:pt x="116" y="110"/>
                  </a:lnTo>
                  <a:lnTo>
                    <a:pt x="114" y="109"/>
                  </a:lnTo>
                  <a:lnTo>
                    <a:pt x="108" y="107"/>
                  </a:lnTo>
                  <a:lnTo>
                    <a:pt x="108" y="107"/>
                  </a:lnTo>
                  <a:lnTo>
                    <a:pt x="107" y="107"/>
                  </a:lnTo>
                  <a:lnTo>
                    <a:pt x="107" y="104"/>
                  </a:lnTo>
                  <a:lnTo>
                    <a:pt x="108" y="98"/>
                  </a:lnTo>
                  <a:lnTo>
                    <a:pt x="108" y="98"/>
                  </a:lnTo>
                  <a:lnTo>
                    <a:pt x="108" y="95"/>
                  </a:lnTo>
                  <a:lnTo>
                    <a:pt x="108" y="92"/>
                  </a:lnTo>
                  <a:lnTo>
                    <a:pt x="105" y="91"/>
                  </a:lnTo>
                  <a:lnTo>
                    <a:pt x="102" y="91"/>
                  </a:lnTo>
                  <a:lnTo>
                    <a:pt x="102" y="91"/>
                  </a:lnTo>
                  <a:lnTo>
                    <a:pt x="100" y="89"/>
                  </a:lnTo>
                  <a:lnTo>
                    <a:pt x="97" y="85"/>
                  </a:lnTo>
                  <a:lnTo>
                    <a:pt x="97" y="81"/>
                  </a:lnTo>
                  <a:lnTo>
                    <a:pt x="97" y="78"/>
                  </a:lnTo>
                  <a:lnTo>
                    <a:pt x="97" y="78"/>
                  </a:lnTo>
                  <a:lnTo>
                    <a:pt x="97" y="77"/>
                  </a:lnTo>
                  <a:lnTo>
                    <a:pt x="97" y="75"/>
                  </a:lnTo>
                  <a:lnTo>
                    <a:pt x="93" y="74"/>
                  </a:lnTo>
                  <a:lnTo>
                    <a:pt x="87" y="74"/>
                  </a:lnTo>
                  <a:lnTo>
                    <a:pt x="83" y="75"/>
                  </a:lnTo>
                  <a:lnTo>
                    <a:pt x="83" y="75"/>
                  </a:lnTo>
                  <a:lnTo>
                    <a:pt x="80" y="75"/>
                  </a:lnTo>
                  <a:lnTo>
                    <a:pt x="80" y="73"/>
                  </a:lnTo>
                  <a:lnTo>
                    <a:pt x="80" y="70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3"/>
                  </a:lnTo>
                  <a:lnTo>
                    <a:pt x="84" y="57"/>
                  </a:lnTo>
                  <a:lnTo>
                    <a:pt x="89" y="50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7" y="41"/>
                  </a:lnTo>
                  <a:lnTo>
                    <a:pt x="97" y="34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18"/>
                  </a:lnTo>
                  <a:lnTo>
                    <a:pt x="96" y="16"/>
                  </a:lnTo>
                  <a:lnTo>
                    <a:pt x="93" y="14"/>
                  </a:lnTo>
                  <a:lnTo>
                    <a:pt x="91" y="14"/>
                  </a:lnTo>
                  <a:lnTo>
                    <a:pt x="91" y="14"/>
                  </a:lnTo>
                  <a:lnTo>
                    <a:pt x="89" y="14"/>
                  </a:lnTo>
                  <a:lnTo>
                    <a:pt x="87" y="11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6" y="3"/>
                  </a:lnTo>
                  <a:lnTo>
                    <a:pt x="83" y="2"/>
                  </a:lnTo>
                  <a:lnTo>
                    <a:pt x="80" y="0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3" y="6"/>
                  </a:lnTo>
                  <a:lnTo>
                    <a:pt x="72" y="9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69" y="11"/>
                  </a:lnTo>
                  <a:lnTo>
                    <a:pt x="69" y="14"/>
                  </a:lnTo>
                  <a:lnTo>
                    <a:pt x="71" y="17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3"/>
                  </a:lnTo>
                  <a:lnTo>
                    <a:pt x="73" y="24"/>
                  </a:lnTo>
                  <a:lnTo>
                    <a:pt x="71" y="24"/>
                  </a:lnTo>
                  <a:lnTo>
                    <a:pt x="68" y="23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65" y="20"/>
                  </a:lnTo>
                  <a:lnTo>
                    <a:pt x="64" y="20"/>
                  </a:lnTo>
                  <a:lnTo>
                    <a:pt x="59" y="21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46" y="32"/>
                  </a:lnTo>
                  <a:lnTo>
                    <a:pt x="43" y="35"/>
                  </a:lnTo>
                  <a:lnTo>
                    <a:pt x="41" y="39"/>
                  </a:lnTo>
                  <a:lnTo>
                    <a:pt x="41" y="39"/>
                  </a:lnTo>
                  <a:lnTo>
                    <a:pt x="41" y="45"/>
                  </a:lnTo>
                  <a:lnTo>
                    <a:pt x="39" y="49"/>
                  </a:lnTo>
                  <a:lnTo>
                    <a:pt x="37" y="53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63"/>
                  </a:lnTo>
                  <a:lnTo>
                    <a:pt x="34" y="68"/>
                  </a:lnTo>
                  <a:lnTo>
                    <a:pt x="33" y="74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8"/>
                  </a:lnTo>
                  <a:lnTo>
                    <a:pt x="30" y="78"/>
                  </a:lnTo>
                  <a:lnTo>
                    <a:pt x="26" y="78"/>
                  </a:lnTo>
                  <a:lnTo>
                    <a:pt x="19" y="77"/>
                  </a:lnTo>
                  <a:lnTo>
                    <a:pt x="19" y="77"/>
                  </a:lnTo>
                  <a:lnTo>
                    <a:pt x="19" y="78"/>
                  </a:lnTo>
                  <a:lnTo>
                    <a:pt x="18" y="84"/>
                  </a:lnTo>
                  <a:lnTo>
                    <a:pt x="18" y="88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5" y="96"/>
                  </a:lnTo>
                  <a:lnTo>
                    <a:pt x="15" y="102"/>
                  </a:lnTo>
                  <a:lnTo>
                    <a:pt x="14" y="107"/>
                  </a:lnTo>
                  <a:lnTo>
                    <a:pt x="14" y="109"/>
                  </a:lnTo>
                  <a:lnTo>
                    <a:pt x="12" y="109"/>
                  </a:lnTo>
                  <a:lnTo>
                    <a:pt x="12" y="109"/>
                  </a:lnTo>
                  <a:lnTo>
                    <a:pt x="9" y="110"/>
                  </a:lnTo>
                  <a:lnTo>
                    <a:pt x="7" y="114"/>
                  </a:lnTo>
                  <a:lnTo>
                    <a:pt x="5" y="121"/>
                  </a:lnTo>
                  <a:lnTo>
                    <a:pt x="5" y="121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5" y="134"/>
                  </a:lnTo>
                  <a:lnTo>
                    <a:pt x="9" y="138"/>
                  </a:lnTo>
                  <a:lnTo>
                    <a:pt x="15" y="141"/>
                  </a:lnTo>
                  <a:lnTo>
                    <a:pt x="15" y="141"/>
                  </a:lnTo>
                  <a:lnTo>
                    <a:pt x="18" y="143"/>
                  </a:lnTo>
                  <a:lnTo>
                    <a:pt x="21" y="146"/>
                  </a:lnTo>
                  <a:lnTo>
                    <a:pt x="26" y="154"/>
                  </a:lnTo>
                  <a:lnTo>
                    <a:pt x="29" y="164"/>
                  </a:lnTo>
                  <a:lnTo>
                    <a:pt x="32" y="172"/>
                  </a:lnTo>
                  <a:lnTo>
                    <a:pt x="32" y="172"/>
                  </a:lnTo>
                  <a:lnTo>
                    <a:pt x="33" y="179"/>
                  </a:lnTo>
                  <a:lnTo>
                    <a:pt x="33" y="186"/>
                  </a:lnTo>
                  <a:lnTo>
                    <a:pt x="32" y="193"/>
                  </a:lnTo>
                  <a:lnTo>
                    <a:pt x="30" y="197"/>
                  </a:lnTo>
                  <a:lnTo>
                    <a:pt x="30" y="197"/>
                  </a:lnTo>
                  <a:lnTo>
                    <a:pt x="29" y="200"/>
                  </a:lnTo>
                  <a:lnTo>
                    <a:pt x="30" y="203"/>
                  </a:lnTo>
                  <a:lnTo>
                    <a:pt x="36" y="206"/>
                  </a:lnTo>
                  <a:lnTo>
                    <a:pt x="36" y="206"/>
                  </a:lnTo>
                  <a:lnTo>
                    <a:pt x="40" y="207"/>
                  </a:lnTo>
                  <a:lnTo>
                    <a:pt x="44" y="209"/>
                  </a:lnTo>
                  <a:lnTo>
                    <a:pt x="48" y="207"/>
                  </a:lnTo>
                  <a:lnTo>
                    <a:pt x="51" y="204"/>
                  </a:lnTo>
                  <a:lnTo>
                    <a:pt x="51" y="204"/>
                  </a:lnTo>
                  <a:lnTo>
                    <a:pt x="55" y="200"/>
                  </a:lnTo>
                  <a:lnTo>
                    <a:pt x="59" y="196"/>
                  </a:lnTo>
                  <a:lnTo>
                    <a:pt x="62" y="193"/>
                  </a:lnTo>
                  <a:lnTo>
                    <a:pt x="65" y="189"/>
                  </a:lnTo>
                  <a:lnTo>
                    <a:pt x="65" y="189"/>
                  </a:lnTo>
                  <a:lnTo>
                    <a:pt x="65" y="186"/>
                  </a:lnTo>
                  <a:lnTo>
                    <a:pt x="66" y="186"/>
                  </a:lnTo>
                  <a:lnTo>
                    <a:pt x="68" y="188"/>
                  </a:lnTo>
                  <a:lnTo>
                    <a:pt x="73" y="195"/>
                  </a:lnTo>
                  <a:lnTo>
                    <a:pt x="73" y="195"/>
                  </a:lnTo>
                  <a:lnTo>
                    <a:pt x="75" y="197"/>
                  </a:lnTo>
                  <a:lnTo>
                    <a:pt x="77" y="202"/>
                  </a:lnTo>
                  <a:lnTo>
                    <a:pt x="79" y="213"/>
                  </a:lnTo>
                  <a:lnTo>
                    <a:pt x="79" y="213"/>
                  </a:lnTo>
                  <a:lnTo>
                    <a:pt x="82" y="229"/>
                  </a:lnTo>
                  <a:lnTo>
                    <a:pt x="83" y="239"/>
                  </a:lnTo>
                  <a:lnTo>
                    <a:pt x="84" y="243"/>
                  </a:lnTo>
                  <a:lnTo>
                    <a:pt x="87" y="246"/>
                  </a:lnTo>
                  <a:lnTo>
                    <a:pt x="87" y="246"/>
                  </a:lnTo>
                  <a:lnTo>
                    <a:pt x="91" y="252"/>
                  </a:lnTo>
                  <a:lnTo>
                    <a:pt x="94" y="259"/>
                  </a:lnTo>
                  <a:lnTo>
                    <a:pt x="94" y="265"/>
                  </a:lnTo>
                  <a:lnTo>
                    <a:pt x="93" y="271"/>
                  </a:lnTo>
                  <a:lnTo>
                    <a:pt x="93" y="271"/>
                  </a:lnTo>
                  <a:lnTo>
                    <a:pt x="93" y="275"/>
                  </a:lnTo>
                  <a:lnTo>
                    <a:pt x="94" y="279"/>
                  </a:lnTo>
                  <a:lnTo>
                    <a:pt x="96" y="285"/>
                  </a:lnTo>
                  <a:lnTo>
                    <a:pt x="96" y="289"/>
                  </a:lnTo>
                  <a:lnTo>
                    <a:pt x="96" y="289"/>
                  </a:lnTo>
                  <a:lnTo>
                    <a:pt x="94" y="293"/>
                  </a:lnTo>
                  <a:lnTo>
                    <a:pt x="94" y="293"/>
                  </a:lnTo>
                  <a:lnTo>
                    <a:pt x="97" y="293"/>
                  </a:lnTo>
                  <a:lnTo>
                    <a:pt x="100" y="290"/>
                  </a:lnTo>
                  <a:lnTo>
                    <a:pt x="104" y="281"/>
                  </a:lnTo>
                  <a:lnTo>
                    <a:pt x="108" y="268"/>
                  </a:lnTo>
                  <a:lnTo>
                    <a:pt x="108" y="268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0" name="Freeform 62">
              <a:extLst>
                <a:ext uri="{FF2B5EF4-FFF2-40B4-BE49-F238E27FC236}">
                  <a16:creationId xmlns:a16="http://schemas.microsoft.com/office/drawing/2014/main" id="{EED97711-A4D7-4F43-BFD0-EFE1CCE1A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8151" y="3267075"/>
              <a:ext cx="73025" cy="39688"/>
            </a:xfrm>
            <a:custGeom>
              <a:avLst/>
              <a:gdLst>
                <a:gd name="T0" fmla="*/ 46 w 46"/>
                <a:gd name="T1" fmla="*/ 8 h 25"/>
                <a:gd name="T2" fmla="*/ 46 w 46"/>
                <a:gd name="T3" fmla="*/ 8 h 25"/>
                <a:gd name="T4" fmla="*/ 40 w 46"/>
                <a:gd name="T5" fmla="*/ 4 h 25"/>
                <a:gd name="T6" fmla="*/ 36 w 46"/>
                <a:gd name="T7" fmla="*/ 4 h 25"/>
                <a:gd name="T8" fmla="*/ 32 w 46"/>
                <a:gd name="T9" fmla="*/ 4 h 25"/>
                <a:gd name="T10" fmla="*/ 28 w 46"/>
                <a:gd name="T11" fmla="*/ 4 h 25"/>
                <a:gd name="T12" fmla="*/ 28 w 46"/>
                <a:gd name="T13" fmla="*/ 4 h 25"/>
                <a:gd name="T14" fmla="*/ 19 w 46"/>
                <a:gd name="T15" fmla="*/ 0 h 25"/>
                <a:gd name="T16" fmla="*/ 18 w 46"/>
                <a:gd name="T17" fmla="*/ 0 h 25"/>
                <a:gd name="T18" fmla="*/ 15 w 46"/>
                <a:gd name="T19" fmla="*/ 1 h 25"/>
                <a:gd name="T20" fmla="*/ 15 w 46"/>
                <a:gd name="T21" fmla="*/ 1 h 25"/>
                <a:gd name="T22" fmla="*/ 10 w 46"/>
                <a:gd name="T23" fmla="*/ 4 h 25"/>
                <a:gd name="T24" fmla="*/ 7 w 46"/>
                <a:gd name="T25" fmla="*/ 6 h 25"/>
                <a:gd name="T26" fmla="*/ 4 w 46"/>
                <a:gd name="T27" fmla="*/ 11 h 25"/>
                <a:gd name="T28" fmla="*/ 4 w 46"/>
                <a:gd name="T29" fmla="*/ 11 h 25"/>
                <a:gd name="T30" fmla="*/ 0 w 46"/>
                <a:gd name="T31" fmla="*/ 18 h 25"/>
                <a:gd name="T32" fmla="*/ 0 w 46"/>
                <a:gd name="T33" fmla="*/ 18 h 25"/>
                <a:gd name="T34" fmla="*/ 3 w 46"/>
                <a:gd name="T35" fmla="*/ 20 h 25"/>
                <a:gd name="T36" fmla="*/ 4 w 46"/>
                <a:gd name="T37" fmla="*/ 22 h 25"/>
                <a:gd name="T38" fmla="*/ 4 w 46"/>
                <a:gd name="T39" fmla="*/ 22 h 25"/>
                <a:gd name="T40" fmla="*/ 7 w 46"/>
                <a:gd name="T41" fmla="*/ 22 h 25"/>
                <a:gd name="T42" fmla="*/ 8 w 46"/>
                <a:gd name="T43" fmla="*/ 23 h 25"/>
                <a:gd name="T44" fmla="*/ 11 w 46"/>
                <a:gd name="T45" fmla="*/ 23 h 25"/>
                <a:gd name="T46" fmla="*/ 15 w 46"/>
                <a:gd name="T47" fmla="*/ 23 h 25"/>
                <a:gd name="T48" fmla="*/ 15 w 46"/>
                <a:gd name="T49" fmla="*/ 23 h 25"/>
                <a:gd name="T50" fmla="*/ 18 w 46"/>
                <a:gd name="T51" fmla="*/ 23 h 25"/>
                <a:gd name="T52" fmla="*/ 22 w 46"/>
                <a:gd name="T53" fmla="*/ 25 h 25"/>
                <a:gd name="T54" fmla="*/ 25 w 46"/>
                <a:gd name="T55" fmla="*/ 25 h 25"/>
                <a:gd name="T56" fmla="*/ 29 w 46"/>
                <a:gd name="T57" fmla="*/ 25 h 25"/>
                <a:gd name="T58" fmla="*/ 29 w 46"/>
                <a:gd name="T59" fmla="*/ 25 h 25"/>
                <a:gd name="T60" fmla="*/ 35 w 46"/>
                <a:gd name="T61" fmla="*/ 25 h 25"/>
                <a:gd name="T62" fmla="*/ 39 w 46"/>
                <a:gd name="T63" fmla="*/ 25 h 25"/>
                <a:gd name="T64" fmla="*/ 43 w 46"/>
                <a:gd name="T65" fmla="*/ 25 h 25"/>
                <a:gd name="T66" fmla="*/ 46 w 46"/>
                <a:gd name="T67" fmla="*/ 23 h 25"/>
                <a:gd name="T68" fmla="*/ 46 w 46"/>
                <a:gd name="T69" fmla="*/ 23 h 25"/>
                <a:gd name="T70" fmla="*/ 46 w 46"/>
                <a:gd name="T71" fmla="*/ 19 h 25"/>
                <a:gd name="T72" fmla="*/ 46 w 46"/>
                <a:gd name="T73" fmla="*/ 15 h 25"/>
                <a:gd name="T74" fmla="*/ 43 w 46"/>
                <a:gd name="T75" fmla="*/ 9 h 25"/>
                <a:gd name="T76" fmla="*/ 43 w 46"/>
                <a:gd name="T77" fmla="*/ 9 h 25"/>
                <a:gd name="T78" fmla="*/ 46 w 46"/>
                <a:gd name="T79" fmla="*/ 8 h 25"/>
                <a:gd name="T80" fmla="*/ 46 w 46"/>
                <a:gd name="T81" fmla="*/ 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" h="25">
                  <a:moveTo>
                    <a:pt x="46" y="8"/>
                  </a:moveTo>
                  <a:lnTo>
                    <a:pt x="46" y="8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19" y="0"/>
                  </a:lnTo>
                  <a:lnTo>
                    <a:pt x="18" y="0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0" y="4"/>
                  </a:lnTo>
                  <a:lnTo>
                    <a:pt x="7" y="6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3" y="20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7" y="22"/>
                  </a:lnTo>
                  <a:lnTo>
                    <a:pt x="8" y="23"/>
                  </a:lnTo>
                  <a:lnTo>
                    <a:pt x="11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8" y="23"/>
                  </a:lnTo>
                  <a:lnTo>
                    <a:pt x="22" y="25"/>
                  </a:lnTo>
                  <a:lnTo>
                    <a:pt x="25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35" y="25"/>
                  </a:lnTo>
                  <a:lnTo>
                    <a:pt x="39" y="25"/>
                  </a:lnTo>
                  <a:lnTo>
                    <a:pt x="43" y="25"/>
                  </a:lnTo>
                  <a:lnTo>
                    <a:pt x="46" y="23"/>
                  </a:lnTo>
                  <a:lnTo>
                    <a:pt x="46" y="23"/>
                  </a:lnTo>
                  <a:lnTo>
                    <a:pt x="46" y="19"/>
                  </a:lnTo>
                  <a:lnTo>
                    <a:pt x="46" y="15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6" y="8"/>
                  </a:lnTo>
                  <a:lnTo>
                    <a:pt x="46" y="8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1" name="Freeform 63">
              <a:extLst>
                <a:ext uri="{FF2B5EF4-FFF2-40B4-BE49-F238E27FC236}">
                  <a16:creationId xmlns:a16="http://schemas.microsoft.com/office/drawing/2014/main" id="{BD2730DD-FC30-43CE-A6D5-F12C59609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0888" y="3398838"/>
              <a:ext cx="179388" cy="376238"/>
            </a:xfrm>
            <a:custGeom>
              <a:avLst/>
              <a:gdLst>
                <a:gd name="T0" fmla="*/ 75 w 113"/>
                <a:gd name="T1" fmla="*/ 22 h 237"/>
                <a:gd name="T2" fmla="*/ 71 w 113"/>
                <a:gd name="T3" fmla="*/ 11 h 237"/>
                <a:gd name="T4" fmla="*/ 60 w 113"/>
                <a:gd name="T5" fmla="*/ 5 h 237"/>
                <a:gd name="T6" fmla="*/ 50 w 113"/>
                <a:gd name="T7" fmla="*/ 0 h 237"/>
                <a:gd name="T8" fmla="*/ 40 w 113"/>
                <a:gd name="T9" fmla="*/ 8 h 237"/>
                <a:gd name="T10" fmla="*/ 29 w 113"/>
                <a:gd name="T11" fmla="*/ 10 h 237"/>
                <a:gd name="T12" fmla="*/ 18 w 113"/>
                <a:gd name="T13" fmla="*/ 8 h 237"/>
                <a:gd name="T14" fmla="*/ 14 w 113"/>
                <a:gd name="T15" fmla="*/ 11 h 237"/>
                <a:gd name="T16" fmla="*/ 6 w 113"/>
                <a:gd name="T17" fmla="*/ 10 h 237"/>
                <a:gd name="T18" fmla="*/ 0 w 113"/>
                <a:gd name="T19" fmla="*/ 14 h 237"/>
                <a:gd name="T20" fmla="*/ 7 w 113"/>
                <a:gd name="T21" fmla="*/ 25 h 237"/>
                <a:gd name="T22" fmla="*/ 13 w 113"/>
                <a:gd name="T23" fmla="*/ 35 h 237"/>
                <a:gd name="T24" fmla="*/ 26 w 113"/>
                <a:gd name="T25" fmla="*/ 41 h 237"/>
                <a:gd name="T26" fmla="*/ 35 w 113"/>
                <a:gd name="T27" fmla="*/ 40 h 237"/>
                <a:gd name="T28" fmla="*/ 40 w 113"/>
                <a:gd name="T29" fmla="*/ 51 h 237"/>
                <a:gd name="T30" fmla="*/ 42 w 113"/>
                <a:gd name="T31" fmla="*/ 58 h 237"/>
                <a:gd name="T32" fmla="*/ 31 w 113"/>
                <a:gd name="T33" fmla="*/ 62 h 237"/>
                <a:gd name="T34" fmla="*/ 32 w 113"/>
                <a:gd name="T35" fmla="*/ 66 h 237"/>
                <a:gd name="T36" fmla="*/ 47 w 113"/>
                <a:gd name="T37" fmla="*/ 78 h 237"/>
                <a:gd name="T38" fmla="*/ 54 w 113"/>
                <a:gd name="T39" fmla="*/ 91 h 237"/>
                <a:gd name="T40" fmla="*/ 65 w 113"/>
                <a:gd name="T41" fmla="*/ 104 h 237"/>
                <a:gd name="T42" fmla="*/ 74 w 113"/>
                <a:gd name="T43" fmla="*/ 116 h 237"/>
                <a:gd name="T44" fmla="*/ 83 w 113"/>
                <a:gd name="T45" fmla="*/ 128 h 237"/>
                <a:gd name="T46" fmla="*/ 83 w 113"/>
                <a:gd name="T47" fmla="*/ 148 h 237"/>
                <a:gd name="T48" fmla="*/ 90 w 113"/>
                <a:gd name="T49" fmla="*/ 165 h 237"/>
                <a:gd name="T50" fmla="*/ 82 w 113"/>
                <a:gd name="T51" fmla="*/ 176 h 237"/>
                <a:gd name="T52" fmla="*/ 74 w 113"/>
                <a:gd name="T53" fmla="*/ 187 h 237"/>
                <a:gd name="T54" fmla="*/ 64 w 113"/>
                <a:gd name="T55" fmla="*/ 189 h 237"/>
                <a:gd name="T56" fmla="*/ 60 w 113"/>
                <a:gd name="T57" fmla="*/ 193 h 237"/>
                <a:gd name="T58" fmla="*/ 64 w 113"/>
                <a:gd name="T59" fmla="*/ 202 h 237"/>
                <a:gd name="T60" fmla="*/ 49 w 113"/>
                <a:gd name="T61" fmla="*/ 202 h 237"/>
                <a:gd name="T62" fmla="*/ 44 w 113"/>
                <a:gd name="T63" fmla="*/ 205 h 237"/>
                <a:gd name="T64" fmla="*/ 39 w 113"/>
                <a:gd name="T65" fmla="*/ 214 h 237"/>
                <a:gd name="T66" fmla="*/ 44 w 113"/>
                <a:gd name="T67" fmla="*/ 218 h 237"/>
                <a:gd name="T68" fmla="*/ 39 w 113"/>
                <a:gd name="T69" fmla="*/ 229 h 237"/>
                <a:gd name="T70" fmla="*/ 47 w 113"/>
                <a:gd name="T71" fmla="*/ 236 h 237"/>
                <a:gd name="T72" fmla="*/ 61 w 113"/>
                <a:gd name="T73" fmla="*/ 225 h 237"/>
                <a:gd name="T74" fmla="*/ 64 w 113"/>
                <a:gd name="T75" fmla="*/ 219 h 237"/>
                <a:gd name="T76" fmla="*/ 68 w 113"/>
                <a:gd name="T77" fmla="*/ 211 h 237"/>
                <a:gd name="T78" fmla="*/ 78 w 113"/>
                <a:gd name="T79" fmla="*/ 209 h 237"/>
                <a:gd name="T80" fmla="*/ 100 w 113"/>
                <a:gd name="T81" fmla="*/ 198 h 237"/>
                <a:gd name="T82" fmla="*/ 110 w 113"/>
                <a:gd name="T83" fmla="*/ 186 h 237"/>
                <a:gd name="T84" fmla="*/ 111 w 113"/>
                <a:gd name="T85" fmla="*/ 155 h 237"/>
                <a:gd name="T86" fmla="*/ 103 w 113"/>
                <a:gd name="T87" fmla="*/ 128 h 237"/>
                <a:gd name="T88" fmla="*/ 93 w 113"/>
                <a:gd name="T89" fmla="*/ 116 h 237"/>
                <a:gd name="T90" fmla="*/ 68 w 113"/>
                <a:gd name="T91" fmla="*/ 96 h 237"/>
                <a:gd name="T92" fmla="*/ 61 w 113"/>
                <a:gd name="T93" fmla="*/ 83 h 237"/>
                <a:gd name="T94" fmla="*/ 57 w 113"/>
                <a:gd name="T95" fmla="*/ 68 h 237"/>
                <a:gd name="T96" fmla="*/ 64 w 113"/>
                <a:gd name="T97" fmla="*/ 55 h 237"/>
                <a:gd name="T98" fmla="*/ 68 w 113"/>
                <a:gd name="T99" fmla="*/ 48 h 237"/>
                <a:gd name="T100" fmla="*/ 75 w 113"/>
                <a:gd name="T101" fmla="*/ 40 h 237"/>
                <a:gd name="T102" fmla="*/ 86 w 113"/>
                <a:gd name="T103" fmla="*/ 32 h 237"/>
                <a:gd name="T104" fmla="*/ 85 w 113"/>
                <a:gd name="T105" fmla="*/ 28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3" h="237">
                  <a:moveTo>
                    <a:pt x="85" y="28"/>
                  </a:moveTo>
                  <a:lnTo>
                    <a:pt x="85" y="28"/>
                  </a:lnTo>
                  <a:lnTo>
                    <a:pt x="81" y="26"/>
                  </a:lnTo>
                  <a:lnTo>
                    <a:pt x="75" y="22"/>
                  </a:lnTo>
                  <a:lnTo>
                    <a:pt x="71" y="19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71" y="11"/>
                  </a:lnTo>
                  <a:lnTo>
                    <a:pt x="69" y="8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0" y="5"/>
                  </a:lnTo>
                  <a:lnTo>
                    <a:pt x="56" y="4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0" y="0"/>
                  </a:lnTo>
                  <a:lnTo>
                    <a:pt x="46" y="1"/>
                  </a:lnTo>
                  <a:lnTo>
                    <a:pt x="42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8" y="10"/>
                  </a:lnTo>
                  <a:lnTo>
                    <a:pt x="36" y="10"/>
                  </a:lnTo>
                  <a:lnTo>
                    <a:pt x="33" y="8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5" y="11"/>
                  </a:lnTo>
                  <a:lnTo>
                    <a:pt x="21" y="10"/>
                  </a:lnTo>
                  <a:lnTo>
                    <a:pt x="18" y="8"/>
                  </a:lnTo>
                  <a:lnTo>
                    <a:pt x="17" y="8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4" y="11"/>
                  </a:lnTo>
                  <a:lnTo>
                    <a:pt x="13" y="11"/>
                  </a:lnTo>
                  <a:lnTo>
                    <a:pt x="10" y="11"/>
                  </a:lnTo>
                  <a:lnTo>
                    <a:pt x="7" y="10"/>
                  </a:lnTo>
                  <a:lnTo>
                    <a:pt x="6" y="10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3" y="19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7" y="25"/>
                  </a:lnTo>
                  <a:lnTo>
                    <a:pt x="10" y="28"/>
                  </a:lnTo>
                  <a:lnTo>
                    <a:pt x="13" y="30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5" y="37"/>
                  </a:lnTo>
                  <a:lnTo>
                    <a:pt x="18" y="40"/>
                  </a:lnTo>
                  <a:lnTo>
                    <a:pt x="22" y="41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9" y="40"/>
                  </a:lnTo>
                  <a:lnTo>
                    <a:pt x="32" y="40"/>
                  </a:lnTo>
                  <a:lnTo>
                    <a:pt x="35" y="40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8"/>
                  </a:lnTo>
                  <a:lnTo>
                    <a:pt x="40" y="51"/>
                  </a:lnTo>
                  <a:lnTo>
                    <a:pt x="42" y="54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2" y="58"/>
                  </a:lnTo>
                  <a:lnTo>
                    <a:pt x="40" y="58"/>
                  </a:lnTo>
                  <a:lnTo>
                    <a:pt x="36" y="60"/>
                  </a:lnTo>
                  <a:lnTo>
                    <a:pt x="33" y="61"/>
                  </a:lnTo>
                  <a:lnTo>
                    <a:pt x="31" y="62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5"/>
                  </a:lnTo>
                  <a:lnTo>
                    <a:pt x="32" y="66"/>
                  </a:lnTo>
                  <a:lnTo>
                    <a:pt x="38" y="71"/>
                  </a:lnTo>
                  <a:lnTo>
                    <a:pt x="44" y="75"/>
                  </a:lnTo>
                  <a:lnTo>
                    <a:pt x="46" y="76"/>
                  </a:lnTo>
                  <a:lnTo>
                    <a:pt x="47" y="78"/>
                  </a:lnTo>
                  <a:lnTo>
                    <a:pt x="47" y="78"/>
                  </a:lnTo>
                  <a:lnTo>
                    <a:pt x="47" y="82"/>
                  </a:lnTo>
                  <a:lnTo>
                    <a:pt x="50" y="84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57" y="96"/>
                  </a:lnTo>
                  <a:lnTo>
                    <a:pt x="61" y="100"/>
                  </a:lnTo>
                  <a:lnTo>
                    <a:pt x="65" y="104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9" y="112"/>
                  </a:lnTo>
                  <a:lnTo>
                    <a:pt x="74" y="116"/>
                  </a:lnTo>
                  <a:lnTo>
                    <a:pt x="81" y="121"/>
                  </a:lnTo>
                  <a:lnTo>
                    <a:pt x="81" y="121"/>
                  </a:lnTo>
                  <a:lnTo>
                    <a:pt x="82" y="123"/>
                  </a:lnTo>
                  <a:lnTo>
                    <a:pt x="83" y="128"/>
                  </a:lnTo>
                  <a:lnTo>
                    <a:pt x="83" y="136"/>
                  </a:lnTo>
                  <a:lnTo>
                    <a:pt x="83" y="136"/>
                  </a:lnTo>
                  <a:lnTo>
                    <a:pt x="83" y="141"/>
                  </a:lnTo>
                  <a:lnTo>
                    <a:pt x="83" y="148"/>
                  </a:lnTo>
                  <a:lnTo>
                    <a:pt x="85" y="155"/>
                  </a:lnTo>
                  <a:lnTo>
                    <a:pt x="89" y="162"/>
                  </a:lnTo>
                  <a:lnTo>
                    <a:pt x="89" y="162"/>
                  </a:lnTo>
                  <a:lnTo>
                    <a:pt x="90" y="165"/>
                  </a:lnTo>
                  <a:lnTo>
                    <a:pt x="90" y="168"/>
                  </a:lnTo>
                  <a:lnTo>
                    <a:pt x="89" y="171"/>
                  </a:lnTo>
                  <a:lnTo>
                    <a:pt x="86" y="173"/>
                  </a:lnTo>
                  <a:lnTo>
                    <a:pt x="82" y="176"/>
                  </a:lnTo>
                  <a:lnTo>
                    <a:pt x="78" y="180"/>
                  </a:lnTo>
                  <a:lnTo>
                    <a:pt x="78" y="180"/>
                  </a:lnTo>
                  <a:lnTo>
                    <a:pt x="75" y="184"/>
                  </a:lnTo>
                  <a:lnTo>
                    <a:pt x="74" y="187"/>
                  </a:lnTo>
                  <a:lnTo>
                    <a:pt x="72" y="189"/>
                  </a:lnTo>
                  <a:lnTo>
                    <a:pt x="71" y="190"/>
                  </a:lnTo>
                  <a:lnTo>
                    <a:pt x="64" y="189"/>
                  </a:lnTo>
                  <a:lnTo>
                    <a:pt x="64" y="189"/>
                  </a:lnTo>
                  <a:lnTo>
                    <a:pt x="60" y="189"/>
                  </a:lnTo>
                  <a:lnTo>
                    <a:pt x="58" y="190"/>
                  </a:lnTo>
                  <a:lnTo>
                    <a:pt x="58" y="191"/>
                  </a:lnTo>
                  <a:lnTo>
                    <a:pt x="60" y="193"/>
                  </a:lnTo>
                  <a:lnTo>
                    <a:pt x="63" y="198"/>
                  </a:lnTo>
                  <a:lnTo>
                    <a:pt x="64" y="201"/>
                  </a:lnTo>
                  <a:lnTo>
                    <a:pt x="64" y="202"/>
                  </a:lnTo>
                  <a:lnTo>
                    <a:pt x="64" y="202"/>
                  </a:lnTo>
                  <a:lnTo>
                    <a:pt x="63" y="204"/>
                  </a:lnTo>
                  <a:lnTo>
                    <a:pt x="60" y="204"/>
                  </a:lnTo>
                  <a:lnTo>
                    <a:pt x="54" y="202"/>
                  </a:lnTo>
                  <a:lnTo>
                    <a:pt x="49" y="202"/>
                  </a:lnTo>
                  <a:lnTo>
                    <a:pt x="46" y="202"/>
                  </a:lnTo>
                  <a:lnTo>
                    <a:pt x="46" y="202"/>
                  </a:lnTo>
                  <a:lnTo>
                    <a:pt x="46" y="202"/>
                  </a:lnTo>
                  <a:lnTo>
                    <a:pt x="44" y="205"/>
                  </a:lnTo>
                  <a:lnTo>
                    <a:pt x="43" y="207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9" y="214"/>
                  </a:lnTo>
                  <a:lnTo>
                    <a:pt x="43" y="216"/>
                  </a:lnTo>
                  <a:lnTo>
                    <a:pt x="43" y="216"/>
                  </a:lnTo>
                  <a:lnTo>
                    <a:pt x="44" y="216"/>
                  </a:lnTo>
                  <a:lnTo>
                    <a:pt x="44" y="218"/>
                  </a:lnTo>
                  <a:lnTo>
                    <a:pt x="42" y="221"/>
                  </a:lnTo>
                  <a:lnTo>
                    <a:pt x="40" y="225"/>
                  </a:lnTo>
                  <a:lnTo>
                    <a:pt x="39" y="229"/>
                  </a:lnTo>
                  <a:lnTo>
                    <a:pt x="39" y="229"/>
                  </a:lnTo>
                  <a:lnTo>
                    <a:pt x="40" y="234"/>
                  </a:lnTo>
                  <a:lnTo>
                    <a:pt x="42" y="236"/>
                  </a:lnTo>
                  <a:lnTo>
                    <a:pt x="44" y="237"/>
                  </a:lnTo>
                  <a:lnTo>
                    <a:pt x="47" y="236"/>
                  </a:lnTo>
                  <a:lnTo>
                    <a:pt x="47" y="236"/>
                  </a:lnTo>
                  <a:lnTo>
                    <a:pt x="53" y="229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3" y="223"/>
                  </a:lnTo>
                  <a:lnTo>
                    <a:pt x="63" y="222"/>
                  </a:lnTo>
                  <a:lnTo>
                    <a:pt x="63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7" y="218"/>
                  </a:lnTo>
                  <a:lnTo>
                    <a:pt x="67" y="216"/>
                  </a:lnTo>
                  <a:lnTo>
                    <a:pt x="68" y="211"/>
                  </a:lnTo>
                  <a:lnTo>
                    <a:pt x="68" y="211"/>
                  </a:lnTo>
                  <a:lnTo>
                    <a:pt x="69" y="209"/>
                  </a:lnTo>
                  <a:lnTo>
                    <a:pt x="72" y="208"/>
                  </a:lnTo>
                  <a:lnTo>
                    <a:pt x="78" y="209"/>
                  </a:lnTo>
                  <a:lnTo>
                    <a:pt x="78" y="209"/>
                  </a:lnTo>
                  <a:lnTo>
                    <a:pt x="83" y="208"/>
                  </a:lnTo>
                  <a:lnTo>
                    <a:pt x="88" y="205"/>
                  </a:lnTo>
                  <a:lnTo>
                    <a:pt x="100" y="198"/>
                  </a:lnTo>
                  <a:lnTo>
                    <a:pt x="100" y="198"/>
                  </a:lnTo>
                  <a:lnTo>
                    <a:pt x="104" y="196"/>
                  </a:lnTo>
                  <a:lnTo>
                    <a:pt x="107" y="191"/>
                  </a:lnTo>
                  <a:lnTo>
                    <a:pt x="110" y="186"/>
                  </a:lnTo>
                  <a:lnTo>
                    <a:pt x="113" y="177"/>
                  </a:lnTo>
                  <a:lnTo>
                    <a:pt x="113" y="177"/>
                  </a:lnTo>
                  <a:lnTo>
                    <a:pt x="113" y="166"/>
                  </a:lnTo>
                  <a:lnTo>
                    <a:pt x="111" y="155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07" y="136"/>
                  </a:lnTo>
                  <a:lnTo>
                    <a:pt x="103" y="128"/>
                  </a:lnTo>
                  <a:lnTo>
                    <a:pt x="97" y="121"/>
                  </a:lnTo>
                  <a:lnTo>
                    <a:pt x="94" y="118"/>
                  </a:lnTo>
                  <a:lnTo>
                    <a:pt x="93" y="116"/>
                  </a:lnTo>
                  <a:lnTo>
                    <a:pt x="93" y="116"/>
                  </a:lnTo>
                  <a:lnTo>
                    <a:pt x="89" y="114"/>
                  </a:lnTo>
                  <a:lnTo>
                    <a:pt x="81" y="10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7" y="93"/>
                  </a:lnTo>
                  <a:lnTo>
                    <a:pt x="65" y="90"/>
                  </a:lnTo>
                  <a:lnTo>
                    <a:pt x="64" y="87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58" y="80"/>
                  </a:lnTo>
                  <a:lnTo>
                    <a:pt x="57" y="75"/>
                  </a:lnTo>
                  <a:lnTo>
                    <a:pt x="57" y="68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60" y="58"/>
                  </a:lnTo>
                  <a:lnTo>
                    <a:pt x="64" y="55"/>
                  </a:lnTo>
                  <a:lnTo>
                    <a:pt x="67" y="53"/>
                  </a:lnTo>
                  <a:lnTo>
                    <a:pt x="68" y="50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6"/>
                  </a:lnTo>
                  <a:lnTo>
                    <a:pt x="69" y="43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8" y="39"/>
                  </a:lnTo>
                  <a:lnTo>
                    <a:pt x="82" y="37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5" y="28"/>
                  </a:lnTo>
                  <a:lnTo>
                    <a:pt x="85" y="28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2" name="Freeform 64">
              <a:extLst>
                <a:ext uri="{FF2B5EF4-FFF2-40B4-BE49-F238E27FC236}">
                  <a16:creationId xmlns:a16="http://schemas.microsoft.com/office/drawing/2014/main" id="{6BDAEE67-04A1-4384-9F8F-DEC4BE29A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5651" y="3625850"/>
              <a:ext cx="138113" cy="107950"/>
            </a:xfrm>
            <a:custGeom>
              <a:avLst/>
              <a:gdLst>
                <a:gd name="T0" fmla="*/ 43 w 87"/>
                <a:gd name="T1" fmla="*/ 59 h 68"/>
                <a:gd name="T2" fmla="*/ 46 w 87"/>
                <a:gd name="T3" fmla="*/ 59 h 68"/>
                <a:gd name="T4" fmla="*/ 57 w 87"/>
                <a:gd name="T5" fmla="*/ 61 h 68"/>
                <a:gd name="T6" fmla="*/ 61 w 87"/>
                <a:gd name="T7" fmla="*/ 59 h 68"/>
                <a:gd name="T8" fmla="*/ 61 w 87"/>
                <a:gd name="T9" fmla="*/ 58 h 68"/>
                <a:gd name="T10" fmla="*/ 57 w 87"/>
                <a:gd name="T11" fmla="*/ 50 h 68"/>
                <a:gd name="T12" fmla="*/ 55 w 87"/>
                <a:gd name="T13" fmla="*/ 47 h 68"/>
                <a:gd name="T14" fmla="*/ 61 w 87"/>
                <a:gd name="T15" fmla="*/ 46 h 68"/>
                <a:gd name="T16" fmla="*/ 68 w 87"/>
                <a:gd name="T17" fmla="*/ 47 h 68"/>
                <a:gd name="T18" fmla="*/ 71 w 87"/>
                <a:gd name="T19" fmla="*/ 44 h 68"/>
                <a:gd name="T20" fmla="*/ 75 w 87"/>
                <a:gd name="T21" fmla="*/ 37 h 68"/>
                <a:gd name="T22" fmla="*/ 79 w 87"/>
                <a:gd name="T23" fmla="*/ 33 h 68"/>
                <a:gd name="T24" fmla="*/ 86 w 87"/>
                <a:gd name="T25" fmla="*/ 28 h 68"/>
                <a:gd name="T26" fmla="*/ 87 w 87"/>
                <a:gd name="T27" fmla="*/ 22 h 68"/>
                <a:gd name="T28" fmla="*/ 86 w 87"/>
                <a:gd name="T29" fmla="*/ 19 h 68"/>
                <a:gd name="T30" fmla="*/ 82 w 87"/>
                <a:gd name="T31" fmla="*/ 10 h 68"/>
                <a:gd name="T32" fmla="*/ 80 w 87"/>
                <a:gd name="T33" fmla="*/ 0 h 68"/>
                <a:gd name="T34" fmla="*/ 73 w 87"/>
                <a:gd name="T35" fmla="*/ 3 h 68"/>
                <a:gd name="T36" fmla="*/ 69 w 87"/>
                <a:gd name="T37" fmla="*/ 3 h 68"/>
                <a:gd name="T38" fmla="*/ 62 w 87"/>
                <a:gd name="T39" fmla="*/ 1 h 68"/>
                <a:gd name="T40" fmla="*/ 58 w 87"/>
                <a:gd name="T41" fmla="*/ 5 h 68"/>
                <a:gd name="T42" fmla="*/ 58 w 87"/>
                <a:gd name="T43" fmla="*/ 8 h 68"/>
                <a:gd name="T44" fmla="*/ 54 w 87"/>
                <a:gd name="T45" fmla="*/ 11 h 68"/>
                <a:gd name="T46" fmla="*/ 54 w 87"/>
                <a:gd name="T47" fmla="*/ 10 h 68"/>
                <a:gd name="T48" fmla="*/ 51 w 87"/>
                <a:gd name="T49" fmla="*/ 7 h 68"/>
                <a:gd name="T50" fmla="*/ 44 w 87"/>
                <a:gd name="T51" fmla="*/ 4 h 68"/>
                <a:gd name="T52" fmla="*/ 43 w 87"/>
                <a:gd name="T53" fmla="*/ 3 h 68"/>
                <a:gd name="T54" fmla="*/ 35 w 87"/>
                <a:gd name="T55" fmla="*/ 3 h 68"/>
                <a:gd name="T56" fmla="*/ 23 w 87"/>
                <a:gd name="T57" fmla="*/ 3 h 68"/>
                <a:gd name="T58" fmla="*/ 18 w 87"/>
                <a:gd name="T59" fmla="*/ 3 h 68"/>
                <a:gd name="T60" fmla="*/ 7 w 87"/>
                <a:gd name="T61" fmla="*/ 8 h 68"/>
                <a:gd name="T62" fmla="*/ 3 w 87"/>
                <a:gd name="T63" fmla="*/ 14 h 68"/>
                <a:gd name="T64" fmla="*/ 0 w 87"/>
                <a:gd name="T65" fmla="*/ 21 h 68"/>
                <a:gd name="T66" fmla="*/ 3 w 87"/>
                <a:gd name="T67" fmla="*/ 28 h 68"/>
                <a:gd name="T68" fmla="*/ 4 w 87"/>
                <a:gd name="T69" fmla="*/ 32 h 68"/>
                <a:gd name="T70" fmla="*/ 5 w 87"/>
                <a:gd name="T71" fmla="*/ 36 h 68"/>
                <a:gd name="T72" fmla="*/ 5 w 87"/>
                <a:gd name="T73" fmla="*/ 40 h 68"/>
                <a:gd name="T74" fmla="*/ 5 w 87"/>
                <a:gd name="T75" fmla="*/ 40 h 68"/>
                <a:gd name="T76" fmla="*/ 8 w 87"/>
                <a:gd name="T77" fmla="*/ 47 h 68"/>
                <a:gd name="T78" fmla="*/ 10 w 87"/>
                <a:gd name="T79" fmla="*/ 54 h 68"/>
                <a:gd name="T80" fmla="*/ 12 w 87"/>
                <a:gd name="T81" fmla="*/ 57 h 68"/>
                <a:gd name="T82" fmla="*/ 19 w 87"/>
                <a:gd name="T83" fmla="*/ 55 h 68"/>
                <a:gd name="T84" fmla="*/ 19 w 87"/>
                <a:gd name="T85" fmla="*/ 58 h 68"/>
                <a:gd name="T86" fmla="*/ 19 w 87"/>
                <a:gd name="T87" fmla="*/ 64 h 68"/>
                <a:gd name="T88" fmla="*/ 22 w 87"/>
                <a:gd name="T89" fmla="*/ 65 h 68"/>
                <a:gd name="T90" fmla="*/ 29 w 87"/>
                <a:gd name="T91" fmla="*/ 64 h 68"/>
                <a:gd name="T92" fmla="*/ 32 w 87"/>
                <a:gd name="T93" fmla="*/ 65 h 68"/>
                <a:gd name="T94" fmla="*/ 33 w 87"/>
                <a:gd name="T95" fmla="*/ 68 h 68"/>
                <a:gd name="T96" fmla="*/ 40 w 87"/>
                <a:gd name="T97" fmla="*/ 64 h 68"/>
                <a:gd name="T98" fmla="*/ 43 w 87"/>
                <a:gd name="T99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7" h="68">
                  <a:moveTo>
                    <a:pt x="43" y="59"/>
                  </a:moveTo>
                  <a:lnTo>
                    <a:pt x="43" y="59"/>
                  </a:lnTo>
                  <a:lnTo>
                    <a:pt x="43" y="59"/>
                  </a:lnTo>
                  <a:lnTo>
                    <a:pt x="46" y="59"/>
                  </a:lnTo>
                  <a:lnTo>
                    <a:pt x="51" y="59"/>
                  </a:lnTo>
                  <a:lnTo>
                    <a:pt x="57" y="61"/>
                  </a:lnTo>
                  <a:lnTo>
                    <a:pt x="60" y="61"/>
                  </a:lnTo>
                  <a:lnTo>
                    <a:pt x="61" y="59"/>
                  </a:lnTo>
                  <a:lnTo>
                    <a:pt x="61" y="59"/>
                  </a:lnTo>
                  <a:lnTo>
                    <a:pt x="61" y="58"/>
                  </a:lnTo>
                  <a:lnTo>
                    <a:pt x="60" y="55"/>
                  </a:lnTo>
                  <a:lnTo>
                    <a:pt x="57" y="50"/>
                  </a:lnTo>
                  <a:lnTo>
                    <a:pt x="55" y="48"/>
                  </a:lnTo>
                  <a:lnTo>
                    <a:pt x="55" y="47"/>
                  </a:lnTo>
                  <a:lnTo>
                    <a:pt x="57" y="46"/>
                  </a:lnTo>
                  <a:lnTo>
                    <a:pt x="61" y="46"/>
                  </a:lnTo>
                  <a:lnTo>
                    <a:pt x="61" y="46"/>
                  </a:lnTo>
                  <a:lnTo>
                    <a:pt x="68" y="47"/>
                  </a:lnTo>
                  <a:lnTo>
                    <a:pt x="69" y="46"/>
                  </a:lnTo>
                  <a:lnTo>
                    <a:pt x="71" y="44"/>
                  </a:lnTo>
                  <a:lnTo>
                    <a:pt x="72" y="41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9" y="33"/>
                  </a:lnTo>
                  <a:lnTo>
                    <a:pt x="83" y="30"/>
                  </a:lnTo>
                  <a:lnTo>
                    <a:pt x="86" y="28"/>
                  </a:lnTo>
                  <a:lnTo>
                    <a:pt x="87" y="25"/>
                  </a:lnTo>
                  <a:lnTo>
                    <a:pt x="87" y="22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3" y="15"/>
                  </a:lnTo>
                  <a:lnTo>
                    <a:pt x="82" y="1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8" y="1"/>
                  </a:lnTo>
                  <a:lnTo>
                    <a:pt x="73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6" y="1"/>
                  </a:lnTo>
                  <a:lnTo>
                    <a:pt x="62" y="1"/>
                  </a:lnTo>
                  <a:lnTo>
                    <a:pt x="60" y="3"/>
                  </a:lnTo>
                  <a:lnTo>
                    <a:pt x="58" y="5"/>
                  </a:lnTo>
                  <a:lnTo>
                    <a:pt x="58" y="5"/>
                  </a:lnTo>
                  <a:lnTo>
                    <a:pt x="58" y="8"/>
                  </a:lnTo>
                  <a:lnTo>
                    <a:pt x="55" y="11"/>
                  </a:lnTo>
                  <a:lnTo>
                    <a:pt x="54" y="11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3" y="8"/>
                  </a:lnTo>
                  <a:lnTo>
                    <a:pt x="51" y="7"/>
                  </a:lnTo>
                  <a:lnTo>
                    <a:pt x="48" y="5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3" y="3"/>
                  </a:lnTo>
                  <a:lnTo>
                    <a:pt x="41" y="1"/>
                  </a:lnTo>
                  <a:lnTo>
                    <a:pt x="35" y="3"/>
                  </a:lnTo>
                  <a:lnTo>
                    <a:pt x="29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18" y="3"/>
                  </a:lnTo>
                  <a:lnTo>
                    <a:pt x="12" y="4"/>
                  </a:lnTo>
                  <a:lnTo>
                    <a:pt x="7" y="8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1" y="23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4" y="32"/>
                  </a:lnTo>
                  <a:lnTo>
                    <a:pt x="4" y="34"/>
                  </a:lnTo>
                  <a:lnTo>
                    <a:pt x="5" y="36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8" y="43"/>
                  </a:lnTo>
                  <a:lnTo>
                    <a:pt x="8" y="47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1" y="57"/>
                  </a:lnTo>
                  <a:lnTo>
                    <a:pt x="12" y="57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7"/>
                  </a:lnTo>
                  <a:lnTo>
                    <a:pt x="19" y="58"/>
                  </a:lnTo>
                  <a:lnTo>
                    <a:pt x="18" y="61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22" y="65"/>
                  </a:lnTo>
                  <a:lnTo>
                    <a:pt x="26" y="64"/>
                  </a:lnTo>
                  <a:lnTo>
                    <a:pt x="29" y="64"/>
                  </a:lnTo>
                  <a:lnTo>
                    <a:pt x="30" y="64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40" y="64"/>
                  </a:lnTo>
                  <a:lnTo>
                    <a:pt x="41" y="62"/>
                  </a:lnTo>
                  <a:lnTo>
                    <a:pt x="43" y="59"/>
                  </a:lnTo>
                  <a:lnTo>
                    <a:pt x="43" y="59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3" name="Freeform 65">
              <a:extLst>
                <a:ext uri="{FF2B5EF4-FFF2-40B4-BE49-F238E27FC236}">
                  <a16:creationId xmlns:a16="http://schemas.microsoft.com/office/drawing/2014/main" id="{4C8CC081-EAC8-477B-8975-A49E9CE145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50088" y="3421063"/>
              <a:ext cx="182563" cy="222250"/>
            </a:xfrm>
            <a:custGeom>
              <a:avLst/>
              <a:gdLst>
                <a:gd name="T0" fmla="*/ 78 w 115"/>
                <a:gd name="T1" fmla="*/ 62 h 140"/>
                <a:gd name="T2" fmla="*/ 64 w 115"/>
                <a:gd name="T3" fmla="*/ 52 h 140"/>
                <a:gd name="T4" fmla="*/ 63 w 115"/>
                <a:gd name="T5" fmla="*/ 50 h 140"/>
                <a:gd name="T6" fmla="*/ 68 w 115"/>
                <a:gd name="T7" fmla="*/ 46 h 140"/>
                <a:gd name="T8" fmla="*/ 74 w 115"/>
                <a:gd name="T9" fmla="*/ 43 h 140"/>
                <a:gd name="T10" fmla="*/ 72 w 115"/>
                <a:gd name="T11" fmla="*/ 37 h 140"/>
                <a:gd name="T12" fmla="*/ 70 w 115"/>
                <a:gd name="T13" fmla="*/ 30 h 140"/>
                <a:gd name="T14" fmla="*/ 61 w 115"/>
                <a:gd name="T15" fmla="*/ 26 h 140"/>
                <a:gd name="T16" fmla="*/ 54 w 115"/>
                <a:gd name="T17" fmla="*/ 27 h 140"/>
                <a:gd name="T18" fmla="*/ 45 w 115"/>
                <a:gd name="T19" fmla="*/ 21 h 140"/>
                <a:gd name="T20" fmla="*/ 42 w 115"/>
                <a:gd name="T21" fmla="*/ 14 h 140"/>
                <a:gd name="T22" fmla="*/ 38 w 115"/>
                <a:gd name="T23" fmla="*/ 8 h 140"/>
                <a:gd name="T24" fmla="*/ 32 w 115"/>
                <a:gd name="T25" fmla="*/ 0 h 140"/>
                <a:gd name="T26" fmla="*/ 25 w 115"/>
                <a:gd name="T27" fmla="*/ 1 h 140"/>
                <a:gd name="T28" fmla="*/ 22 w 115"/>
                <a:gd name="T29" fmla="*/ 7 h 140"/>
                <a:gd name="T30" fmla="*/ 24 w 115"/>
                <a:gd name="T31" fmla="*/ 12 h 140"/>
                <a:gd name="T32" fmla="*/ 24 w 115"/>
                <a:gd name="T33" fmla="*/ 21 h 140"/>
                <a:gd name="T34" fmla="*/ 20 w 115"/>
                <a:gd name="T35" fmla="*/ 19 h 140"/>
                <a:gd name="T36" fmla="*/ 14 w 115"/>
                <a:gd name="T37" fmla="*/ 14 h 140"/>
                <a:gd name="T38" fmla="*/ 7 w 115"/>
                <a:gd name="T39" fmla="*/ 23 h 140"/>
                <a:gd name="T40" fmla="*/ 6 w 115"/>
                <a:gd name="T41" fmla="*/ 29 h 140"/>
                <a:gd name="T42" fmla="*/ 0 w 115"/>
                <a:gd name="T43" fmla="*/ 32 h 140"/>
                <a:gd name="T44" fmla="*/ 4 w 115"/>
                <a:gd name="T45" fmla="*/ 36 h 140"/>
                <a:gd name="T46" fmla="*/ 6 w 115"/>
                <a:gd name="T47" fmla="*/ 47 h 140"/>
                <a:gd name="T48" fmla="*/ 7 w 115"/>
                <a:gd name="T49" fmla="*/ 48 h 140"/>
                <a:gd name="T50" fmla="*/ 15 w 115"/>
                <a:gd name="T51" fmla="*/ 48 h 140"/>
                <a:gd name="T52" fmla="*/ 17 w 115"/>
                <a:gd name="T53" fmla="*/ 55 h 140"/>
                <a:gd name="T54" fmla="*/ 14 w 115"/>
                <a:gd name="T55" fmla="*/ 66 h 140"/>
                <a:gd name="T56" fmla="*/ 13 w 115"/>
                <a:gd name="T57" fmla="*/ 73 h 140"/>
                <a:gd name="T58" fmla="*/ 10 w 115"/>
                <a:gd name="T59" fmla="*/ 79 h 140"/>
                <a:gd name="T60" fmla="*/ 15 w 115"/>
                <a:gd name="T61" fmla="*/ 80 h 140"/>
                <a:gd name="T62" fmla="*/ 28 w 115"/>
                <a:gd name="T63" fmla="*/ 72 h 140"/>
                <a:gd name="T64" fmla="*/ 36 w 115"/>
                <a:gd name="T65" fmla="*/ 73 h 140"/>
                <a:gd name="T66" fmla="*/ 42 w 115"/>
                <a:gd name="T67" fmla="*/ 73 h 140"/>
                <a:gd name="T68" fmla="*/ 46 w 115"/>
                <a:gd name="T69" fmla="*/ 70 h 140"/>
                <a:gd name="T70" fmla="*/ 57 w 115"/>
                <a:gd name="T71" fmla="*/ 68 h 140"/>
                <a:gd name="T72" fmla="*/ 65 w 115"/>
                <a:gd name="T73" fmla="*/ 76 h 140"/>
                <a:gd name="T74" fmla="*/ 74 w 115"/>
                <a:gd name="T75" fmla="*/ 83 h 140"/>
                <a:gd name="T76" fmla="*/ 72 w 115"/>
                <a:gd name="T77" fmla="*/ 97 h 140"/>
                <a:gd name="T78" fmla="*/ 74 w 115"/>
                <a:gd name="T79" fmla="*/ 100 h 140"/>
                <a:gd name="T80" fmla="*/ 83 w 115"/>
                <a:gd name="T81" fmla="*/ 111 h 140"/>
                <a:gd name="T82" fmla="*/ 83 w 115"/>
                <a:gd name="T83" fmla="*/ 122 h 140"/>
                <a:gd name="T84" fmla="*/ 82 w 115"/>
                <a:gd name="T85" fmla="*/ 134 h 140"/>
                <a:gd name="T86" fmla="*/ 88 w 115"/>
                <a:gd name="T87" fmla="*/ 137 h 140"/>
                <a:gd name="T88" fmla="*/ 89 w 115"/>
                <a:gd name="T89" fmla="*/ 140 h 140"/>
                <a:gd name="T90" fmla="*/ 93 w 115"/>
                <a:gd name="T91" fmla="*/ 134 h 140"/>
                <a:gd name="T92" fmla="*/ 97 w 115"/>
                <a:gd name="T93" fmla="*/ 130 h 140"/>
                <a:gd name="T94" fmla="*/ 104 w 115"/>
                <a:gd name="T95" fmla="*/ 132 h 140"/>
                <a:gd name="T96" fmla="*/ 115 w 115"/>
                <a:gd name="T97" fmla="*/ 129 h 140"/>
                <a:gd name="T98" fmla="*/ 115 w 115"/>
                <a:gd name="T99" fmla="*/ 122 h 140"/>
                <a:gd name="T100" fmla="*/ 113 w 115"/>
                <a:gd name="T101" fmla="*/ 107 h 140"/>
                <a:gd name="T102" fmla="*/ 101 w 115"/>
                <a:gd name="T103" fmla="*/ 98 h 140"/>
                <a:gd name="T104" fmla="*/ 97 w 115"/>
                <a:gd name="T105" fmla="*/ 90 h 140"/>
                <a:gd name="T106" fmla="*/ 86 w 115"/>
                <a:gd name="T107" fmla="*/ 77 h 140"/>
                <a:gd name="T108" fmla="*/ 79 w 115"/>
                <a:gd name="T109" fmla="*/ 68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" h="140">
                  <a:moveTo>
                    <a:pt x="79" y="64"/>
                  </a:moveTo>
                  <a:lnTo>
                    <a:pt x="79" y="64"/>
                  </a:lnTo>
                  <a:lnTo>
                    <a:pt x="78" y="62"/>
                  </a:lnTo>
                  <a:lnTo>
                    <a:pt x="76" y="61"/>
                  </a:lnTo>
                  <a:lnTo>
                    <a:pt x="70" y="57"/>
                  </a:lnTo>
                  <a:lnTo>
                    <a:pt x="64" y="52"/>
                  </a:lnTo>
                  <a:lnTo>
                    <a:pt x="63" y="51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48"/>
                  </a:lnTo>
                  <a:lnTo>
                    <a:pt x="65" y="47"/>
                  </a:lnTo>
                  <a:lnTo>
                    <a:pt x="68" y="46"/>
                  </a:lnTo>
                  <a:lnTo>
                    <a:pt x="72" y="44"/>
                  </a:lnTo>
                  <a:lnTo>
                    <a:pt x="74" y="44"/>
                  </a:lnTo>
                  <a:lnTo>
                    <a:pt x="74" y="43"/>
                  </a:lnTo>
                  <a:lnTo>
                    <a:pt x="74" y="43"/>
                  </a:lnTo>
                  <a:lnTo>
                    <a:pt x="74" y="40"/>
                  </a:lnTo>
                  <a:lnTo>
                    <a:pt x="72" y="37"/>
                  </a:lnTo>
                  <a:lnTo>
                    <a:pt x="70" y="34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67" y="26"/>
                  </a:lnTo>
                  <a:lnTo>
                    <a:pt x="64" y="26"/>
                  </a:lnTo>
                  <a:lnTo>
                    <a:pt x="61" y="26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4" y="27"/>
                  </a:lnTo>
                  <a:lnTo>
                    <a:pt x="50" y="26"/>
                  </a:lnTo>
                  <a:lnTo>
                    <a:pt x="47" y="23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16"/>
                  </a:lnTo>
                  <a:lnTo>
                    <a:pt x="42" y="14"/>
                  </a:lnTo>
                  <a:lnTo>
                    <a:pt x="39" y="11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5" y="5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8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4" y="1"/>
                  </a:lnTo>
                  <a:lnTo>
                    <a:pt x="22" y="4"/>
                  </a:lnTo>
                  <a:lnTo>
                    <a:pt x="22" y="7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4" y="12"/>
                  </a:lnTo>
                  <a:lnTo>
                    <a:pt x="25" y="16"/>
                  </a:lnTo>
                  <a:lnTo>
                    <a:pt x="25" y="21"/>
                  </a:lnTo>
                  <a:lnTo>
                    <a:pt x="24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19"/>
                  </a:lnTo>
                  <a:lnTo>
                    <a:pt x="18" y="16"/>
                  </a:lnTo>
                  <a:lnTo>
                    <a:pt x="15" y="15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0" y="19"/>
                  </a:lnTo>
                  <a:lnTo>
                    <a:pt x="7" y="23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9"/>
                  </a:lnTo>
                  <a:lnTo>
                    <a:pt x="4" y="29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6"/>
                  </a:lnTo>
                  <a:lnTo>
                    <a:pt x="4" y="39"/>
                  </a:lnTo>
                  <a:lnTo>
                    <a:pt x="4" y="43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8"/>
                  </a:lnTo>
                  <a:lnTo>
                    <a:pt x="10" y="47"/>
                  </a:lnTo>
                  <a:lnTo>
                    <a:pt x="14" y="47"/>
                  </a:lnTo>
                  <a:lnTo>
                    <a:pt x="15" y="48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7" y="55"/>
                  </a:lnTo>
                  <a:lnTo>
                    <a:pt x="15" y="58"/>
                  </a:lnTo>
                  <a:lnTo>
                    <a:pt x="15" y="62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70"/>
                  </a:lnTo>
                  <a:lnTo>
                    <a:pt x="13" y="73"/>
                  </a:lnTo>
                  <a:lnTo>
                    <a:pt x="10" y="76"/>
                  </a:lnTo>
                  <a:lnTo>
                    <a:pt x="10" y="79"/>
                  </a:lnTo>
                  <a:lnTo>
                    <a:pt x="10" y="79"/>
                  </a:lnTo>
                  <a:lnTo>
                    <a:pt x="11" y="80"/>
                  </a:lnTo>
                  <a:lnTo>
                    <a:pt x="13" y="82"/>
                  </a:lnTo>
                  <a:lnTo>
                    <a:pt x="15" y="80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8" y="72"/>
                  </a:lnTo>
                  <a:lnTo>
                    <a:pt x="32" y="70"/>
                  </a:lnTo>
                  <a:lnTo>
                    <a:pt x="33" y="72"/>
                  </a:lnTo>
                  <a:lnTo>
                    <a:pt x="36" y="73"/>
                  </a:lnTo>
                  <a:lnTo>
                    <a:pt x="36" y="73"/>
                  </a:lnTo>
                  <a:lnTo>
                    <a:pt x="38" y="75"/>
                  </a:lnTo>
                  <a:lnTo>
                    <a:pt x="42" y="73"/>
                  </a:lnTo>
                  <a:lnTo>
                    <a:pt x="45" y="72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9" y="68"/>
                  </a:lnTo>
                  <a:lnTo>
                    <a:pt x="53" y="68"/>
                  </a:lnTo>
                  <a:lnTo>
                    <a:pt x="57" y="68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65" y="76"/>
                  </a:lnTo>
                  <a:lnTo>
                    <a:pt x="72" y="82"/>
                  </a:lnTo>
                  <a:lnTo>
                    <a:pt x="72" y="82"/>
                  </a:lnTo>
                  <a:lnTo>
                    <a:pt x="74" y="83"/>
                  </a:lnTo>
                  <a:lnTo>
                    <a:pt x="74" y="84"/>
                  </a:lnTo>
                  <a:lnTo>
                    <a:pt x="72" y="91"/>
                  </a:lnTo>
                  <a:lnTo>
                    <a:pt x="72" y="97"/>
                  </a:lnTo>
                  <a:lnTo>
                    <a:pt x="72" y="98"/>
                  </a:lnTo>
                  <a:lnTo>
                    <a:pt x="74" y="100"/>
                  </a:lnTo>
                  <a:lnTo>
                    <a:pt x="74" y="100"/>
                  </a:lnTo>
                  <a:lnTo>
                    <a:pt x="76" y="101"/>
                  </a:lnTo>
                  <a:lnTo>
                    <a:pt x="81" y="105"/>
                  </a:lnTo>
                  <a:lnTo>
                    <a:pt x="83" y="111"/>
                  </a:lnTo>
                  <a:lnTo>
                    <a:pt x="83" y="116"/>
                  </a:lnTo>
                  <a:lnTo>
                    <a:pt x="83" y="116"/>
                  </a:lnTo>
                  <a:lnTo>
                    <a:pt x="83" y="122"/>
                  </a:lnTo>
                  <a:lnTo>
                    <a:pt x="85" y="126"/>
                  </a:lnTo>
                  <a:lnTo>
                    <a:pt x="85" y="130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6" y="136"/>
                  </a:lnTo>
                  <a:lnTo>
                    <a:pt x="88" y="137"/>
                  </a:lnTo>
                  <a:lnTo>
                    <a:pt x="89" y="139"/>
                  </a:lnTo>
                  <a:lnTo>
                    <a:pt x="89" y="139"/>
                  </a:lnTo>
                  <a:lnTo>
                    <a:pt x="89" y="140"/>
                  </a:lnTo>
                  <a:lnTo>
                    <a:pt x="90" y="140"/>
                  </a:lnTo>
                  <a:lnTo>
                    <a:pt x="93" y="137"/>
                  </a:lnTo>
                  <a:lnTo>
                    <a:pt x="93" y="134"/>
                  </a:lnTo>
                  <a:lnTo>
                    <a:pt x="93" y="134"/>
                  </a:lnTo>
                  <a:lnTo>
                    <a:pt x="95" y="132"/>
                  </a:lnTo>
                  <a:lnTo>
                    <a:pt x="97" y="130"/>
                  </a:lnTo>
                  <a:lnTo>
                    <a:pt x="101" y="130"/>
                  </a:lnTo>
                  <a:lnTo>
                    <a:pt x="104" y="132"/>
                  </a:lnTo>
                  <a:lnTo>
                    <a:pt x="104" y="132"/>
                  </a:lnTo>
                  <a:lnTo>
                    <a:pt x="108" y="132"/>
                  </a:lnTo>
                  <a:lnTo>
                    <a:pt x="113" y="130"/>
                  </a:lnTo>
                  <a:lnTo>
                    <a:pt x="115" y="129"/>
                  </a:lnTo>
                  <a:lnTo>
                    <a:pt x="115" y="129"/>
                  </a:lnTo>
                  <a:lnTo>
                    <a:pt x="115" y="122"/>
                  </a:lnTo>
                  <a:lnTo>
                    <a:pt x="115" y="122"/>
                  </a:lnTo>
                  <a:lnTo>
                    <a:pt x="115" y="114"/>
                  </a:lnTo>
                  <a:lnTo>
                    <a:pt x="114" y="109"/>
                  </a:lnTo>
                  <a:lnTo>
                    <a:pt x="113" y="107"/>
                  </a:lnTo>
                  <a:lnTo>
                    <a:pt x="113" y="107"/>
                  </a:lnTo>
                  <a:lnTo>
                    <a:pt x="106" y="102"/>
                  </a:lnTo>
                  <a:lnTo>
                    <a:pt x="101" y="98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7" y="90"/>
                  </a:lnTo>
                  <a:lnTo>
                    <a:pt x="93" y="86"/>
                  </a:lnTo>
                  <a:lnTo>
                    <a:pt x="89" y="82"/>
                  </a:lnTo>
                  <a:lnTo>
                    <a:pt x="86" y="77"/>
                  </a:lnTo>
                  <a:lnTo>
                    <a:pt x="86" y="77"/>
                  </a:lnTo>
                  <a:lnTo>
                    <a:pt x="82" y="70"/>
                  </a:lnTo>
                  <a:lnTo>
                    <a:pt x="79" y="68"/>
                  </a:lnTo>
                  <a:lnTo>
                    <a:pt x="79" y="64"/>
                  </a:lnTo>
                  <a:lnTo>
                    <a:pt x="79" y="64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4" name="Freeform 66">
              <a:extLst>
                <a:ext uri="{FF2B5EF4-FFF2-40B4-BE49-F238E27FC236}">
                  <a16:creationId xmlns:a16="http://schemas.microsoft.com/office/drawing/2014/main" id="{82E4A2B7-14A7-4D7E-8829-4DA2008AA2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6588" y="3471863"/>
              <a:ext cx="198438" cy="374650"/>
            </a:xfrm>
            <a:custGeom>
              <a:avLst/>
              <a:gdLst>
                <a:gd name="T0" fmla="*/ 75 w 125"/>
                <a:gd name="T1" fmla="*/ 118 h 236"/>
                <a:gd name="T2" fmla="*/ 82 w 125"/>
                <a:gd name="T3" fmla="*/ 105 h 236"/>
                <a:gd name="T4" fmla="*/ 98 w 125"/>
                <a:gd name="T5" fmla="*/ 100 h 236"/>
                <a:gd name="T6" fmla="*/ 118 w 125"/>
                <a:gd name="T7" fmla="*/ 100 h 236"/>
                <a:gd name="T8" fmla="*/ 122 w 125"/>
                <a:gd name="T9" fmla="*/ 102 h 236"/>
                <a:gd name="T10" fmla="*/ 123 w 125"/>
                <a:gd name="T11" fmla="*/ 84 h 236"/>
                <a:gd name="T12" fmla="*/ 116 w 125"/>
                <a:gd name="T13" fmla="*/ 69 h 236"/>
                <a:gd name="T14" fmla="*/ 112 w 125"/>
                <a:gd name="T15" fmla="*/ 65 h 236"/>
                <a:gd name="T16" fmla="*/ 112 w 125"/>
                <a:gd name="T17" fmla="*/ 50 h 236"/>
                <a:gd name="T18" fmla="*/ 101 w 125"/>
                <a:gd name="T19" fmla="*/ 37 h 236"/>
                <a:gd name="T20" fmla="*/ 86 w 125"/>
                <a:gd name="T21" fmla="*/ 38 h 236"/>
                <a:gd name="T22" fmla="*/ 78 w 125"/>
                <a:gd name="T23" fmla="*/ 43 h 236"/>
                <a:gd name="T24" fmla="*/ 72 w 125"/>
                <a:gd name="T25" fmla="*/ 38 h 236"/>
                <a:gd name="T26" fmla="*/ 55 w 125"/>
                <a:gd name="T27" fmla="*/ 48 h 236"/>
                <a:gd name="T28" fmla="*/ 50 w 125"/>
                <a:gd name="T29" fmla="*/ 47 h 236"/>
                <a:gd name="T30" fmla="*/ 54 w 125"/>
                <a:gd name="T31" fmla="*/ 34 h 236"/>
                <a:gd name="T32" fmla="*/ 57 w 125"/>
                <a:gd name="T33" fmla="*/ 23 h 236"/>
                <a:gd name="T34" fmla="*/ 54 w 125"/>
                <a:gd name="T35" fmla="*/ 15 h 236"/>
                <a:gd name="T36" fmla="*/ 46 w 125"/>
                <a:gd name="T37" fmla="*/ 15 h 236"/>
                <a:gd name="T38" fmla="*/ 44 w 125"/>
                <a:gd name="T39" fmla="*/ 4 h 236"/>
                <a:gd name="T40" fmla="*/ 40 w 125"/>
                <a:gd name="T41" fmla="*/ 0 h 236"/>
                <a:gd name="T42" fmla="*/ 32 w 125"/>
                <a:gd name="T43" fmla="*/ 5 h 236"/>
                <a:gd name="T44" fmla="*/ 21 w 125"/>
                <a:gd name="T45" fmla="*/ 12 h 236"/>
                <a:gd name="T46" fmla="*/ 7 w 125"/>
                <a:gd name="T47" fmla="*/ 14 h 236"/>
                <a:gd name="T48" fmla="*/ 0 w 125"/>
                <a:gd name="T49" fmla="*/ 43 h 236"/>
                <a:gd name="T50" fmla="*/ 10 w 125"/>
                <a:gd name="T51" fmla="*/ 55 h 236"/>
                <a:gd name="T52" fmla="*/ 14 w 125"/>
                <a:gd name="T53" fmla="*/ 62 h 236"/>
                <a:gd name="T54" fmla="*/ 17 w 125"/>
                <a:gd name="T55" fmla="*/ 69 h 236"/>
                <a:gd name="T56" fmla="*/ 15 w 125"/>
                <a:gd name="T57" fmla="*/ 75 h 236"/>
                <a:gd name="T58" fmla="*/ 12 w 125"/>
                <a:gd name="T59" fmla="*/ 86 h 236"/>
                <a:gd name="T60" fmla="*/ 14 w 125"/>
                <a:gd name="T61" fmla="*/ 98 h 236"/>
                <a:gd name="T62" fmla="*/ 23 w 125"/>
                <a:gd name="T63" fmla="*/ 112 h 236"/>
                <a:gd name="T64" fmla="*/ 26 w 125"/>
                <a:gd name="T65" fmla="*/ 127 h 236"/>
                <a:gd name="T66" fmla="*/ 25 w 125"/>
                <a:gd name="T67" fmla="*/ 147 h 236"/>
                <a:gd name="T68" fmla="*/ 15 w 125"/>
                <a:gd name="T69" fmla="*/ 159 h 236"/>
                <a:gd name="T70" fmla="*/ 10 w 125"/>
                <a:gd name="T71" fmla="*/ 195 h 236"/>
                <a:gd name="T72" fmla="*/ 21 w 125"/>
                <a:gd name="T73" fmla="*/ 202 h 236"/>
                <a:gd name="T74" fmla="*/ 37 w 125"/>
                <a:gd name="T75" fmla="*/ 224 h 236"/>
                <a:gd name="T76" fmla="*/ 53 w 125"/>
                <a:gd name="T77" fmla="*/ 229 h 236"/>
                <a:gd name="T78" fmla="*/ 55 w 125"/>
                <a:gd name="T79" fmla="*/ 236 h 236"/>
                <a:gd name="T80" fmla="*/ 67 w 125"/>
                <a:gd name="T81" fmla="*/ 234 h 236"/>
                <a:gd name="T82" fmla="*/ 71 w 125"/>
                <a:gd name="T83" fmla="*/ 229 h 236"/>
                <a:gd name="T84" fmla="*/ 53 w 125"/>
                <a:gd name="T85" fmla="*/ 219 h 236"/>
                <a:gd name="T86" fmla="*/ 44 w 125"/>
                <a:gd name="T87" fmla="*/ 212 h 236"/>
                <a:gd name="T88" fmla="*/ 42 w 125"/>
                <a:gd name="T89" fmla="*/ 197 h 236"/>
                <a:gd name="T90" fmla="*/ 36 w 125"/>
                <a:gd name="T91" fmla="*/ 187 h 236"/>
                <a:gd name="T92" fmla="*/ 26 w 125"/>
                <a:gd name="T93" fmla="*/ 179 h 236"/>
                <a:gd name="T94" fmla="*/ 29 w 125"/>
                <a:gd name="T95" fmla="*/ 154 h 236"/>
                <a:gd name="T96" fmla="*/ 37 w 125"/>
                <a:gd name="T97" fmla="*/ 129 h 236"/>
                <a:gd name="T98" fmla="*/ 36 w 125"/>
                <a:gd name="T99" fmla="*/ 120 h 236"/>
                <a:gd name="T100" fmla="*/ 48 w 125"/>
                <a:gd name="T101" fmla="*/ 116 h 236"/>
                <a:gd name="T102" fmla="*/ 53 w 125"/>
                <a:gd name="T103" fmla="*/ 126 h 236"/>
                <a:gd name="T104" fmla="*/ 68 w 125"/>
                <a:gd name="T105" fmla="*/ 129 h 236"/>
                <a:gd name="T106" fmla="*/ 79 w 125"/>
                <a:gd name="T107" fmla="*/ 137 h 236"/>
                <a:gd name="T108" fmla="*/ 80 w 125"/>
                <a:gd name="T109" fmla="*/ 137 h 236"/>
                <a:gd name="T110" fmla="*/ 78 w 125"/>
                <a:gd name="T111" fmla="*/ 125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5" h="236">
                  <a:moveTo>
                    <a:pt x="78" y="125"/>
                  </a:moveTo>
                  <a:lnTo>
                    <a:pt x="78" y="125"/>
                  </a:lnTo>
                  <a:lnTo>
                    <a:pt x="76" y="120"/>
                  </a:lnTo>
                  <a:lnTo>
                    <a:pt x="75" y="118"/>
                  </a:lnTo>
                  <a:lnTo>
                    <a:pt x="75" y="115"/>
                  </a:lnTo>
                  <a:lnTo>
                    <a:pt x="78" y="111"/>
                  </a:lnTo>
                  <a:lnTo>
                    <a:pt x="78" y="111"/>
                  </a:lnTo>
                  <a:lnTo>
                    <a:pt x="82" y="105"/>
                  </a:lnTo>
                  <a:lnTo>
                    <a:pt x="87" y="101"/>
                  </a:lnTo>
                  <a:lnTo>
                    <a:pt x="93" y="100"/>
                  </a:lnTo>
                  <a:lnTo>
                    <a:pt x="98" y="100"/>
                  </a:lnTo>
                  <a:lnTo>
                    <a:pt x="98" y="100"/>
                  </a:lnTo>
                  <a:lnTo>
                    <a:pt x="104" y="100"/>
                  </a:lnTo>
                  <a:lnTo>
                    <a:pt x="110" y="100"/>
                  </a:lnTo>
                  <a:lnTo>
                    <a:pt x="116" y="98"/>
                  </a:lnTo>
                  <a:lnTo>
                    <a:pt x="118" y="100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5" y="98"/>
                  </a:lnTo>
                  <a:lnTo>
                    <a:pt x="125" y="94"/>
                  </a:lnTo>
                  <a:lnTo>
                    <a:pt x="123" y="90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23" y="79"/>
                  </a:lnTo>
                  <a:lnTo>
                    <a:pt x="121" y="73"/>
                  </a:lnTo>
                  <a:lnTo>
                    <a:pt x="116" y="69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2" y="66"/>
                  </a:lnTo>
                  <a:lnTo>
                    <a:pt x="112" y="65"/>
                  </a:lnTo>
                  <a:lnTo>
                    <a:pt x="112" y="59"/>
                  </a:lnTo>
                  <a:lnTo>
                    <a:pt x="114" y="52"/>
                  </a:lnTo>
                  <a:lnTo>
                    <a:pt x="114" y="51"/>
                  </a:lnTo>
                  <a:lnTo>
                    <a:pt x="112" y="50"/>
                  </a:lnTo>
                  <a:lnTo>
                    <a:pt x="112" y="50"/>
                  </a:lnTo>
                  <a:lnTo>
                    <a:pt x="105" y="44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97" y="36"/>
                  </a:lnTo>
                  <a:lnTo>
                    <a:pt x="93" y="36"/>
                  </a:lnTo>
                  <a:lnTo>
                    <a:pt x="89" y="36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85" y="40"/>
                  </a:lnTo>
                  <a:lnTo>
                    <a:pt x="82" y="41"/>
                  </a:lnTo>
                  <a:lnTo>
                    <a:pt x="78" y="43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3" y="40"/>
                  </a:lnTo>
                  <a:lnTo>
                    <a:pt x="72" y="38"/>
                  </a:lnTo>
                  <a:lnTo>
                    <a:pt x="68" y="40"/>
                  </a:lnTo>
                  <a:lnTo>
                    <a:pt x="65" y="41"/>
                  </a:lnTo>
                  <a:lnTo>
                    <a:pt x="65" y="41"/>
                  </a:lnTo>
                  <a:lnTo>
                    <a:pt x="55" y="48"/>
                  </a:lnTo>
                  <a:lnTo>
                    <a:pt x="53" y="50"/>
                  </a:lnTo>
                  <a:lnTo>
                    <a:pt x="51" y="48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44"/>
                  </a:lnTo>
                  <a:lnTo>
                    <a:pt x="53" y="41"/>
                  </a:lnTo>
                  <a:lnTo>
                    <a:pt x="54" y="38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5" y="26"/>
                  </a:lnTo>
                  <a:lnTo>
                    <a:pt x="57" y="23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16"/>
                  </a:lnTo>
                  <a:lnTo>
                    <a:pt x="54" y="15"/>
                  </a:lnTo>
                  <a:lnTo>
                    <a:pt x="50" y="15"/>
                  </a:lnTo>
                  <a:lnTo>
                    <a:pt x="47" y="16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4" y="11"/>
                  </a:lnTo>
                  <a:lnTo>
                    <a:pt x="44" y="7"/>
                  </a:lnTo>
                  <a:lnTo>
                    <a:pt x="44" y="4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36" y="4"/>
                  </a:lnTo>
                  <a:lnTo>
                    <a:pt x="32" y="5"/>
                  </a:lnTo>
                  <a:lnTo>
                    <a:pt x="28" y="7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1" y="12"/>
                  </a:lnTo>
                  <a:lnTo>
                    <a:pt x="18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7" y="14"/>
                  </a:lnTo>
                  <a:lnTo>
                    <a:pt x="5" y="15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47"/>
                  </a:lnTo>
                  <a:lnTo>
                    <a:pt x="5" y="51"/>
                  </a:lnTo>
                  <a:lnTo>
                    <a:pt x="10" y="55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4" y="59"/>
                  </a:lnTo>
                  <a:lnTo>
                    <a:pt x="14" y="62"/>
                  </a:lnTo>
                  <a:lnTo>
                    <a:pt x="14" y="65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7" y="69"/>
                  </a:lnTo>
                  <a:lnTo>
                    <a:pt x="17" y="72"/>
                  </a:lnTo>
                  <a:lnTo>
                    <a:pt x="17" y="75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14" y="76"/>
                  </a:lnTo>
                  <a:lnTo>
                    <a:pt x="14" y="79"/>
                  </a:lnTo>
                  <a:lnTo>
                    <a:pt x="14" y="83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1" y="90"/>
                  </a:lnTo>
                  <a:lnTo>
                    <a:pt x="11" y="94"/>
                  </a:lnTo>
                  <a:lnTo>
                    <a:pt x="14" y="98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21" y="108"/>
                  </a:lnTo>
                  <a:lnTo>
                    <a:pt x="23" y="112"/>
                  </a:lnTo>
                  <a:lnTo>
                    <a:pt x="23" y="122"/>
                  </a:lnTo>
                  <a:lnTo>
                    <a:pt x="23" y="122"/>
                  </a:lnTo>
                  <a:lnTo>
                    <a:pt x="25" y="125"/>
                  </a:lnTo>
                  <a:lnTo>
                    <a:pt x="26" y="127"/>
                  </a:lnTo>
                  <a:lnTo>
                    <a:pt x="28" y="130"/>
                  </a:lnTo>
                  <a:lnTo>
                    <a:pt x="29" y="134"/>
                  </a:lnTo>
                  <a:lnTo>
                    <a:pt x="29" y="134"/>
                  </a:lnTo>
                  <a:lnTo>
                    <a:pt x="25" y="147"/>
                  </a:lnTo>
                  <a:lnTo>
                    <a:pt x="21" y="156"/>
                  </a:lnTo>
                  <a:lnTo>
                    <a:pt x="18" y="159"/>
                  </a:lnTo>
                  <a:lnTo>
                    <a:pt x="15" y="159"/>
                  </a:lnTo>
                  <a:lnTo>
                    <a:pt x="15" y="159"/>
                  </a:lnTo>
                  <a:lnTo>
                    <a:pt x="11" y="183"/>
                  </a:lnTo>
                  <a:lnTo>
                    <a:pt x="11" y="183"/>
                  </a:lnTo>
                  <a:lnTo>
                    <a:pt x="10" y="193"/>
                  </a:lnTo>
                  <a:lnTo>
                    <a:pt x="10" y="195"/>
                  </a:lnTo>
                  <a:lnTo>
                    <a:pt x="12" y="197"/>
                  </a:lnTo>
                  <a:lnTo>
                    <a:pt x="12" y="197"/>
                  </a:lnTo>
                  <a:lnTo>
                    <a:pt x="15" y="198"/>
                  </a:lnTo>
                  <a:lnTo>
                    <a:pt x="21" y="202"/>
                  </a:lnTo>
                  <a:lnTo>
                    <a:pt x="33" y="216"/>
                  </a:lnTo>
                  <a:lnTo>
                    <a:pt x="33" y="216"/>
                  </a:lnTo>
                  <a:lnTo>
                    <a:pt x="37" y="224"/>
                  </a:lnTo>
                  <a:lnTo>
                    <a:pt x="37" y="224"/>
                  </a:lnTo>
                  <a:lnTo>
                    <a:pt x="46" y="224"/>
                  </a:lnTo>
                  <a:lnTo>
                    <a:pt x="46" y="224"/>
                  </a:lnTo>
                  <a:lnTo>
                    <a:pt x="50" y="226"/>
                  </a:lnTo>
                  <a:lnTo>
                    <a:pt x="53" y="229"/>
                  </a:lnTo>
                  <a:lnTo>
                    <a:pt x="54" y="231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5" y="236"/>
                  </a:lnTo>
                  <a:lnTo>
                    <a:pt x="60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4"/>
                  </a:lnTo>
                  <a:lnTo>
                    <a:pt x="68" y="233"/>
                  </a:lnTo>
                  <a:lnTo>
                    <a:pt x="68" y="231"/>
                  </a:lnTo>
                  <a:lnTo>
                    <a:pt x="71" y="229"/>
                  </a:lnTo>
                  <a:lnTo>
                    <a:pt x="71" y="229"/>
                  </a:lnTo>
                  <a:lnTo>
                    <a:pt x="68" y="226"/>
                  </a:lnTo>
                  <a:lnTo>
                    <a:pt x="64" y="223"/>
                  </a:lnTo>
                  <a:lnTo>
                    <a:pt x="58" y="220"/>
                  </a:lnTo>
                  <a:lnTo>
                    <a:pt x="53" y="219"/>
                  </a:lnTo>
                  <a:lnTo>
                    <a:pt x="53" y="219"/>
                  </a:lnTo>
                  <a:lnTo>
                    <a:pt x="50" y="218"/>
                  </a:lnTo>
                  <a:lnTo>
                    <a:pt x="48" y="216"/>
                  </a:lnTo>
                  <a:lnTo>
                    <a:pt x="44" y="212"/>
                  </a:lnTo>
                  <a:lnTo>
                    <a:pt x="43" y="206"/>
                  </a:lnTo>
                  <a:lnTo>
                    <a:pt x="43" y="201"/>
                  </a:lnTo>
                  <a:lnTo>
                    <a:pt x="43" y="201"/>
                  </a:lnTo>
                  <a:lnTo>
                    <a:pt x="42" y="197"/>
                  </a:lnTo>
                  <a:lnTo>
                    <a:pt x="40" y="194"/>
                  </a:lnTo>
                  <a:lnTo>
                    <a:pt x="37" y="190"/>
                  </a:lnTo>
                  <a:lnTo>
                    <a:pt x="36" y="187"/>
                  </a:lnTo>
                  <a:lnTo>
                    <a:pt x="36" y="187"/>
                  </a:lnTo>
                  <a:lnTo>
                    <a:pt x="36" y="184"/>
                  </a:lnTo>
                  <a:lnTo>
                    <a:pt x="33" y="181"/>
                  </a:lnTo>
                  <a:lnTo>
                    <a:pt x="26" y="179"/>
                  </a:lnTo>
                  <a:lnTo>
                    <a:pt x="26" y="179"/>
                  </a:lnTo>
                  <a:lnTo>
                    <a:pt x="25" y="177"/>
                  </a:lnTo>
                  <a:lnTo>
                    <a:pt x="25" y="175"/>
                  </a:lnTo>
                  <a:lnTo>
                    <a:pt x="25" y="168"/>
                  </a:lnTo>
                  <a:lnTo>
                    <a:pt x="29" y="154"/>
                  </a:lnTo>
                  <a:lnTo>
                    <a:pt x="29" y="154"/>
                  </a:lnTo>
                  <a:lnTo>
                    <a:pt x="30" y="147"/>
                  </a:lnTo>
                  <a:lnTo>
                    <a:pt x="35" y="138"/>
                  </a:lnTo>
                  <a:lnTo>
                    <a:pt x="37" y="129"/>
                  </a:lnTo>
                  <a:lnTo>
                    <a:pt x="37" y="125"/>
                  </a:lnTo>
                  <a:lnTo>
                    <a:pt x="37" y="122"/>
                  </a:lnTo>
                  <a:lnTo>
                    <a:pt x="37" y="122"/>
                  </a:lnTo>
                  <a:lnTo>
                    <a:pt x="36" y="120"/>
                  </a:lnTo>
                  <a:lnTo>
                    <a:pt x="37" y="118"/>
                  </a:lnTo>
                  <a:lnTo>
                    <a:pt x="42" y="115"/>
                  </a:lnTo>
                  <a:lnTo>
                    <a:pt x="47" y="115"/>
                  </a:lnTo>
                  <a:lnTo>
                    <a:pt x="48" y="116"/>
                  </a:lnTo>
                  <a:lnTo>
                    <a:pt x="50" y="118"/>
                  </a:lnTo>
                  <a:lnTo>
                    <a:pt x="50" y="118"/>
                  </a:lnTo>
                  <a:lnTo>
                    <a:pt x="51" y="123"/>
                  </a:lnTo>
                  <a:lnTo>
                    <a:pt x="53" y="126"/>
                  </a:lnTo>
                  <a:lnTo>
                    <a:pt x="57" y="127"/>
                  </a:lnTo>
                  <a:lnTo>
                    <a:pt x="62" y="127"/>
                  </a:lnTo>
                  <a:lnTo>
                    <a:pt x="62" y="127"/>
                  </a:lnTo>
                  <a:lnTo>
                    <a:pt x="68" y="129"/>
                  </a:lnTo>
                  <a:lnTo>
                    <a:pt x="71" y="131"/>
                  </a:lnTo>
                  <a:lnTo>
                    <a:pt x="75" y="134"/>
                  </a:lnTo>
                  <a:lnTo>
                    <a:pt x="79" y="137"/>
                  </a:lnTo>
                  <a:lnTo>
                    <a:pt x="79" y="137"/>
                  </a:lnTo>
                  <a:lnTo>
                    <a:pt x="80" y="137"/>
                  </a:lnTo>
                  <a:lnTo>
                    <a:pt x="80" y="137"/>
                  </a:lnTo>
                  <a:lnTo>
                    <a:pt x="80" y="137"/>
                  </a:lnTo>
                  <a:lnTo>
                    <a:pt x="80" y="137"/>
                  </a:lnTo>
                  <a:lnTo>
                    <a:pt x="80" y="133"/>
                  </a:lnTo>
                  <a:lnTo>
                    <a:pt x="79" y="131"/>
                  </a:lnTo>
                  <a:lnTo>
                    <a:pt x="79" y="129"/>
                  </a:lnTo>
                  <a:lnTo>
                    <a:pt x="78" y="125"/>
                  </a:lnTo>
                  <a:lnTo>
                    <a:pt x="78" y="125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5" name="Freeform 142">
              <a:extLst>
                <a:ext uri="{FF2B5EF4-FFF2-40B4-BE49-F238E27FC236}">
                  <a16:creationId xmlns:a16="http://schemas.microsoft.com/office/drawing/2014/main" id="{7953C20B-ED3B-4675-B85F-4AD6197DD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6938" y="2762250"/>
              <a:ext cx="431800" cy="257175"/>
            </a:xfrm>
            <a:custGeom>
              <a:avLst/>
              <a:gdLst>
                <a:gd name="T0" fmla="*/ 257 w 272"/>
                <a:gd name="T1" fmla="*/ 82 h 162"/>
                <a:gd name="T2" fmla="*/ 249 w 272"/>
                <a:gd name="T3" fmla="*/ 80 h 162"/>
                <a:gd name="T4" fmla="*/ 236 w 272"/>
                <a:gd name="T5" fmla="*/ 82 h 162"/>
                <a:gd name="T6" fmla="*/ 226 w 272"/>
                <a:gd name="T7" fmla="*/ 76 h 162"/>
                <a:gd name="T8" fmla="*/ 210 w 272"/>
                <a:gd name="T9" fmla="*/ 83 h 162"/>
                <a:gd name="T10" fmla="*/ 204 w 272"/>
                <a:gd name="T11" fmla="*/ 93 h 162"/>
                <a:gd name="T12" fmla="*/ 197 w 272"/>
                <a:gd name="T13" fmla="*/ 91 h 162"/>
                <a:gd name="T14" fmla="*/ 185 w 272"/>
                <a:gd name="T15" fmla="*/ 84 h 162"/>
                <a:gd name="T16" fmla="*/ 171 w 272"/>
                <a:gd name="T17" fmla="*/ 80 h 162"/>
                <a:gd name="T18" fmla="*/ 164 w 272"/>
                <a:gd name="T19" fmla="*/ 68 h 162"/>
                <a:gd name="T20" fmla="*/ 161 w 272"/>
                <a:gd name="T21" fmla="*/ 51 h 162"/>
                <a:gd name="T22" fmla="*/ 153 w 272"/>
                <a:gd name="T23" fmla="*/ 44 h 162"/>
                <a:gd name="T24" fmla="*/ 131 w 272"/>
                <a:gd name="T25" fmla="*/ 40 h 162"/>
                <a:gd name="T26" fmla="*/ 104 w 272"/>
                <a:gd name="T27" fmla="*/ 40 h 162"/>
                <a:gd name="T28" fmla="*/ 94 w 272"/>
                <a:gd name="T29" fmla="*/ 40 h 162"/>
                <a:gd name="T30" fmla="*/ 75 w 272"/>
                <a:gd name="T31" fmla="*/ 23 h 162"/>
                <a:gd name="T32" fmla="*/ 57 w 272"/>
                <a:gd name="T33" fmla="*/ 32 h 162"/>
                <a:gd name="T34" fmla="*/ 53 w 272"/>
                <a:gd name="T35" fmla="*/ 23 h 162"/>
                <a:gd name="T36" fmla="*/ 54 w 272"/>
                <a:gd name="T37" fmla="*/ 4 h 162"/>
                <a:gd name="T38" fmla="*/ 49 w 272"/>
                <a:gd name="T39" fmla="*/ 2 h 162"/>
                <a:gd name="T40" fmla="*/ 46 w 272"/>
                <a:gd name="T41" fmla="*/ 23 h 162"/>
                <a:gd name="T42" fmla="*/ 42 w 272"/>
                <a:gd name="T43" fmla="*/ 22 h 162"/>
                <a:gd name="T44" fmla="*/ 3 w 272"/>
                <a:gd name="T45" fmla="*/ 11 h 162"/>
                <a:gd name="T46" fmla="*/ 0 w 272"/>
                <a:gd name="T47" fmla="*/ 80 h 162"/>
                <a:gd name="T48" fmla="*/ 15 w 272"/>
                <a:gd name="T49" fmla="*/ 82 h 162"/>
                <a:gd name="T50" fmla="*/ 18 w 272"/>
                <a:gd name="T51" fmla="*/ 72 h 162"/>
                <a:gd name="T52" fmla="*/ 28 w 272"/>
                <a:gd name="T53" fmla="*/ 66 h 162"/>
                <a:gd name="T54" fmla="*/ 33 w 272"/>
                <a:gd name="T55" fmla="*/ 61 h 162"/>
                <a:gd name="T56" fmla="*/ 40 w 272"/>
                <a:gd name="T57" fmla="*/ 58 h 162"/>
                <a:gd name="T58" fmla="*/ 51 w 272"/>
                <a:gd name="T59" fmla="*/ 61 h 162"/>
                <a:gd name="T60" fmla="*/ 65 w 272"/>
                <a:gd name="T61" fmla="*/ 65 h 162"/>
                <a:gd name="T62" fmla="*/ 69 w 272"/>
                <a:gd name="T63" fmla="*/ 82 h 162"/>
                <a:gd name="T64" fmla="*/ 92 w 272"/>
                <a:gd name="T65" fmla="*/ 84 h 162"/>
                <a:gd name="T66" fmla="*/ 99 w 272"/>
                <a:gd name="T67" fmla="*/ 94 h 162"/>
                <a:gd name="T68" fmla="*/ 106 w 272"/>
                <a:gd name="T69" fmla="*/ 107 h 162"/>
                <a:gd name="T70" fmla="*/ 121 w 272"/>
                <a:gd name="T71" fmla="*/ 119 h 162"/>
                <a:gd name="T72" fmla="*/ 139 w 272"/>
                <a:gd name="T73" fmla="*/ 129 h 162"/>
                <a:gd name="T74" fmla="*/ 153 w 272"/>
                <a:gd name="T75" fmla="*/ 138 h 162"/>
                <a:gd name="T76" fmla="*/ 164 w 272"/>
                <a:gd name="T77" fmla="*/ 141 h 162"/>
                <a:gd name="T78" fmla="*/ 172 w 272"/>
                <a:gd name="T79" fmla="*/ 154 h 162"/>
                <a:gd name="T80" fmla="*/ 182 w 272"/>
                <a:gd name="T81" fmla="*/ 158 h 162"/>
                <a:gd name="T82" fmla="*/ 192 w 272"/>
                <a:gd name="T83" fmla="*/ 162 h 162"/>
                <a:gd name="T84" fmla="*/ 194 w 272"/>
                <a:gd name="T85" fmla="*/ 148 h 162"/>
                <a:gd name="T86" fmla="*/ 199 w 272"/>
                <a:gd name="T87" fmla="*/ 143 h 162"/>
                <a:gd name="T88" fmla="*/ 196 w 272"/>
                <a:gd name="T89" fmla="*/ 132 h 162"/>
                <a:gd name="T90" fmla="*/ 187 w 272"/>
                <a:gd name="T91" fmla="*/ 122 h 162"/>
                <a:gd name="T92" fmla="*/ 187 w 272"/>
                <a:gd name="T93" fmla="*/ 118 h 162"/>
                <a:gd name="T94" fmla="*/ 203 w 272"/>
                <a:gd name="T95" fmla="*/ 112 h 162"/>
                <a:gd name="T96" fmla="*/ 205 w 272"/>
                <a:gd name="T97" fmla="*/ 105 h 162"/>
                <a:gd name="T98" fmla="*/ 214 w 272"/>
                <a:gd name="T99" fmla="*/ 97 h 162"/>
                <a:gd name="T100" fmla="*/ 225 w 272"/>
                <a:gd name="T101" fmla="*/ 94 h 162"/>
                <a:gd name="T102" fmla="*/ 236 w 272"/>
                <a:gd name="T103" fmla="*/ 91 h 162"/>
                <a:gd name="T104" fmla="*/ 230 w 272"/>
                <a:gd name="T105" fmla="*/ 104 h 162"/>
                <a:gd name="T106" fmla="*/ 249 w 272"/>
                <a:gd name="T107" fmla="*/ 101 h 162"/>
                <a:gd name="T108" fmla="*/ 260 w 272"/>
                <a:gd name="T109" fmla="*/ 101 h 162"/>
                <a:gd name="T110" fmla="*/ 265 w 272"/>
                <a:gd name="T111" fmla="*/ 97 h 162"/>
                <a:gd name="T112" fmla="*/ 269 w 272"/>
                <a:gd name="T113" fmla="*/ 9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2" h="162">
                  <a:moveTo>
                    <a:pt x="269" y="91"/>
                  </a:moveTo>
                  <a:lnTo>
                    <a:pt x="269" y="91"/>
                  </a:lnTo>
                  <a:lnTo>
                    <a:pt x="264" y="86"/>
                  </a:lnTo>
                  <a:lnTo>
                    <a:pt x="257" y="82"/>
                  </a:lnTo>
                  <a:lnTo>
                    <a:pt x="251" y="80"/>
                  </a:lnTo>
                  <a:lnTo>
                    <a:pt x="250" y="80"/>
                  </a:lnTo>
                  <a:lnTo>
                    <a:pt x="249" y="80"/>
                  </a:lnTo>
                  <a:lnTo>
                    <a:pt x="249" y="80"/>
                  </a:lnTo>
                  <a:lnTo>
                    <a:pt x="246" y="83"/>
                  </a:lnTo>
                  <a:lnTo>
                    <a:pt x="243" y="84"/>
                  </a:lnTo>
                  <a:lnTo>
                    <a:pt x="239" y="83"/>
                  </a:lnTo>
                  <a:lnTo>
                    <a:pt x="236" y="82"/>
                  </a:lnTo>
                  <a:lnTo>
                    <a:pt x="236" y="82"/>
                  </a:lnTo>
                  <a:lnTo>
                    <a:pt x="233" y="79"/>
                  </a:lnTo>
                  <a:lnTo>
                    <a:pt x="230" y="76"/>
                  </a:lnTo>
                  <a:lnTo>
                    <a:pt x="226" y="76"/>
                  </a:lnTo>
                  <a:lnTo>
                    <a:pt x="221" y="77"/>
                  </a:lnTo>
                  <a:lnTo>
                    <a:pt x="221" y="77"/>
                  </a:lnTo>
                  <a:lnTo>
                    <a:pt x="215" y="80"/>
                  </a:lnTo>
                  <a:lnTo>
                    <a:pt x="210" y="83"/>
                  </a:lnTo>
                  <a:lnTo>
                    <a:pt x="207" y="87"/>
                  </a:lnTo>
                  <a:lnTo>
                    <a:pt x="205" y="90"/>
                  </a:lnTo>
                  <a:lnTo>
                    <a:pt x="205" y="90"/>
                  </a:lnTo>
                  <a:lnTo>
                    <a:pt x="204" y="93"/>
                  </a:lnTo>
                  <a:lnTo>
                    <a:pt x="201" y="94"/>
                  </a:lnTo>
                  <a:lnTo>
                    <a:pt x="199" y="94"/>
                  </a:lnTo>
                  <a:lnTo>
                    <a:pt x="197" y="91"/>
                  </a:lnTo>
                  <a:lnTo>
                    <a:pt x="197" y="91"/>
                  </a:lnTo>
                  <a:lnTo>
                    <a:pt x="196" y="88"/>
                  </a:lnTo>
                  <a:lnTo>
                    <a:pt x="193" y="87"/>
                  </a:lnTo>
                  <a:lnTo>
                    <a:pt x="185" y="84"/>
                  </a:lnTo>
                  <a:lnTo>
                    <a:pt x="185" y="84"/>
                  </a:lnTo>
                  <a:lnTo>
                    <a:pt x="176" y="83"/>
                  </a:lnTo>
                  <a:lnTo>
                    <a:pt x="172" y="83"/>
                  </a:lnTo>
                  <a:lnTo>
                    <a:pt x="172" y="82"/>
                  </a:lnTo>
                  <a:lnTo>
                    <a:pt x="171" y="80"/>
                  </a:lnTo>
                  <a:lnTo>
                    <a:pt x="171" y="80"/>
                  </a:lnTo>
                  <a:lnTo>
                    <a:pt x="169" y="76"/>
                  </a:lnTo>
                  <a:lnTo>
                    <a:pt x="167" y="72"/>
                  </a:lnTo>
                  <a:lnTo>
                    <a:pt x="164" y="68"/>
                  </a:lnTo>
                  <a:lnTo>
                    <a:pt x="162" y="64"/>
                  </a:lnTo>
                  <a:lnTo>
                    <a:pt x="162" y="64"/>
                  </a:lnTo>
                  <a:lnTo>
                    <a:pt x="162" y="55"/>
                  </a:lnTo>
                  <a:lnTo>
                    <a:pt x="161" y="51"/>
                  </a:lnTo>
                  <a:lnTo>
                    <a:pt x="158" y="50"/>
                  </a:lnTo>
                  <a:lnTo>
                    <a:pt x="158" y="50"/>
                  </a:lnTo>
                  <a:lnTo>
                    <a:pt x="156" y="47"/>
                  </a:lnTo>
                  <a:lnTo>
                    <a:pt x="153" y="44"/>
                  </a:lnTo>
                  <a:lnTo>
                    <a:pt x="150" y="41"/>
                  </a:lnTo>
                  <a:lnTo>
                    <a:pt x="146" y="40"/>
                  </a:lnTo>
                  <a:lnTo>
                    <a:pt x="146" y="40"/>
                  </a:lnTo>
                  <a:lnTo>
                    <a:pt x="131" y="40"/>
                  </a:lnTo>
                  <a:lnTo>
                    <a:pt x="115" y="39"/>
                  </a:lnTo>
                  <a:lnTo>
                    <a:pt x="115" y="39"/>
                  </a:lnTo>
                  <a:lnTo>
                    <a:pt x="111" y="39"/>
                  </a:lnTo>
                  <a:lnTo>
                    <a:pt x="104" y="40"/>
                  </a:lnTo>
                  <a:lnTo>
                    <a:pt x="97" y="41"/>
                  </a:lnTo>
                  <a:lnTo>
                    <a:pt x="96" y="41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87" y="3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5" y="23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64" y="32"/>
                  </a:lnTo>
                  <a:lnTo>
                    <a:pt x="57" y="32"/>
                  </a:lnTo>
                  <a:lnTo>
                    <a:pt x="54" y="32"/>
                  </a:lnTo>
                  <a:lnTo>
                    <a:pt x="53" y="30"/>
                  </a:lnTo>
                  <a:lnTo>
                    <a:pt x="51" y="27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4" y="16"/>
                  </a:lnTo>
                  <a:lnTo>
                    <a:pt x="56" y="8"/>
                  </a:lnTo>
                  <a:lnTo>
                    <a:pt x="54" y="4"/>
                  </a:lnTo>
                  <a:lnTo>
                    <a:pt x="53" y="2"/>
                  </a:lnTo>
                  <a:lnTo>
                    <a:pt x="51" y="1"/>
                  </a:lnTo>
                  <a:lnTo>
                    <a:pt x="51" y="1"/>
                  </a:lnTo>
                  <a:lnTo>
                    <a:pt x="49" y="2"/>
                  </a:lnTo>
                  <a:lnTo>
                    <a:pt x="47" y="5"/>
                  </a:lnTo>
                  <a:lnTo>
                    <a:pt x="47" y="12"/>
                  </a:lnTo>
                  <a:lnTo>
                    <a:pt x="46" y="20"/>
                  </a:lnTo>
                  <a:lnTo>
                    <a:pt x="46" y="23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3" y="23"/>
                  </a:lnTo>
                  <a:lnTo>
                    <a:pt x="42" y="22"/>
                  </a:lnTo>
                  <a:lnTo>
                    <a:pt x="40" y="16"/>
                  </a:lnTo>
                  <a:lnTo>
                    <a:pt x="40" y="8"/>
                  </a:lnTo>
                  <a:lnTo>
                    <a:pt x="42" y="0"/>
                  </a:lnTo>
                  <a:lnTo>
                    <a:pt x="3" y="11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6" y="82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5" y="82"/>
                  </a:lnTo>
                  <a:lnTo>
                    <a:pt x="17" y="80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8" y="72"/>
                  </a:lnTo>
                  <a:lnTo>
                    <a:pt x="21" y="69"/>
                  </a:lnTo>
                  <a:lnTo>
                    <a:pt x="25" y="68"/>
                  </a:lnTo>
                  <a:lnTo>
                    <a:pt x="28" y="66"/>
                  </a:lnTo>
                  <a:lnTo>
                    <a:pt x="28" y="66"/>
                  </a:lnTo>
                  <a:lnTo>
                    <a:pt x="31" y="66"/>
                  </a:lnTo>
                  <a:lnTo>
                    <a:pt x="32" y="64"/>
                  </a:lnTo>
                  <a:lnTo>
                    <a:pt x="33" y="62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8" y="59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42" y="57"/>
                  </a:lnTo>
                  <a:lnTo>
                    <a:pt x="46" y="57"/>
                  </a:lnTo>
                  <a:lnTo>
                    <a:pt x="51" y="61"/>
                  </a:lnTo>
                  <a:lnTo>
                    <a:pt x="51" y="61"/>
                  </a:lnTo>
                  <a:lnTo>
                    <a:pt x="57" y="62"/>
                  </a:lnTo>
                  <a:lnTo>
                    <a:pt x="64" y="65"/>
                  </a:lnTo>
                  <a:lnTo>
                    <a:pt x="64" y="65"/>
                  </a:lnTo>
                  <a:lnTo>
                    <a:pt x="65" y="65"/>
                  </a:lnTo>
                  <a:lnTo>
                    <a:pt x="65" y="66"/>
                  </a:lnTo>
                  <a:lnTo>
                    <a:pt x="68" y="72"/>
                  </a:lnTo>
                  <a:lnTo>
                    <a:pt x="69" y="82"/>
                  </a:lnTo>
                  <a:lnTo>
                    <a:pt x="69" y="82"/>
                  </a:lnTo>
                  <a:lnTo>
                    <a:pt x="69" y="82"/>
                  </a:lnTo>
                  <a:lnTo>
                    <a:pt x="72" y="83"/>
                  </a:lnTo>
                  <a:lnTo>
                    <a:pt x="79" y="83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4" y="84"/>
                  </a:lnTo>
                  <a:lnTo>
                    <a:pt x="96" y="87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103" y="101"/>
                  </a:lnTo>
                  <a:lnTo>
                    <a:pt x="106" y="107"/>
                  </a:lnTo>
                  <a:lnTo>
                    <a:pt x="106" y="107"/>
                  </a:lnTo>
                  <a:lnTo>
                    <a:pt x="108" y="109"/>
                  </a:lnTo>
                  <a:lnTo>
                    <a:pt x="112" y="112"/>
                  </a:lnTo>
                  <a:lnTo>
                    <a:pt x="118" y="115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4" y="122"/>
                  </a:lnTo>
                  <a:lnTo>
                    <a:pt x="129" y="125"/>
                  </a:lnTo>
                  <a:lnTo>
                    <a:pt x="139" y="129"/>
                  </a:lnTo>
                  <a:lnTo>
                    <a:pt x="139" y="129"/>
                  </a:lnTo>
                  <a:lnTo>
                    <a:pt x="144" y="132"/>
                  </a:lnTo>
                  <a:lnTo>
                    <a:pt x="149" y="136"/>
                  </a:lnTo>
                  <a:lnTo>
                    <a:pt x="153" y="138"/>
                  </a:lnTo>
                  <a:lnTo>
                    <a:pt x="156" y="140"/>
                  </a:lnTo>
                  <a:lnTo>
                    <a:pt x="156" y="140"/>
                  </a:lnTo>
                  <a:lnTo>
                    <a:pt x="160" y="140"/>
                  </a:lnTo>
                  <a:lnTo>
                    <a:pt x="164" y="141"/>
                  </a:lnTo>
                  <a:lnTo>
                    <a:pt x="169" y="144"/>
                  </a:lnTo>
                  <a:lnTo>
                    <a:pt x="171" y="155"/>
                  </a:lnTo>
                  <a:lnTo>
                    <a:pt x="171" y="155"/>
                  </a:lnTo>
                  <a:lnTo>
                    <a:pt x="172" y="154"/>
                  </a:lnTo>
                  <a:lnTo>
                    <a:pt x="172" y="154"/>
                  </a:lnTo>
                  <a:lnTo>
                    <a:pt x="175" y="154"/>
                  </a:lnTo>
                  <a:lnTo>
                    <a:pt x="179" y="155"/>
                  </a:lnTo>
                  <a:lnTo>
                    <a:pt x="182" y="158"/>
                  </a:lnTo>
                  <a:lnTo>
                    <a:pt x="185" y="159"/>
                  </a:lnTo>
                  <a:lnTo>
                    <a:pt x="185" y="159"/>
                  </a:lnTo>
                  <a:lnTo>
                    <a:pt x="187" y="159"/>
                  </a:lnTo>
                  <a:lnTo>
                    <a:pt x="192" y="162"/>
                  </a:lnTo>
                  <a:lnTo>
                    <a:pt x="192" y="162"/>
                  </a:lnTo>
                  <a:lnTo>
                    <a:pt x="192" y="155"/>
                  </a:lnTo>
                  <a:lnTo>
                    <a:pt x="193" y="151"/>
                  </a:lnTo>
                  <a:lnTo>
                    <a:pt x="194" y="148"/>
                  </a:lnTo>
                  <a:lnTo>
                    <a:pt x="197" y="145"/>
                  </a:lnTo>
                  <a:lnTo>
                    <a:pt x="197" y="145"/>
                  </a:lnTo>
                  <a:lnTo>
                    <a:pt x="199" y="144"/>
                  </a:lnTo>
                  <a:lnTo>
                    <a:pt x="199" y="143"/>
                  </a:lnTo>
                  <a:lnTo>
                    <a:pt x="197" y="138"/>
                  </a:lnTo>
                  <a:lnTo>
                    <a:pt x="196" y="136"/>
                  </a:lnTo>
                  <a:lnTo>
                    <a:pt x="196" y="132"/>
                  </a:lnTo>
                  <a:lnTo>
                    <a:pt x="196" y="132"/>
                  </a:lnTo>
                  <a:lnTo>
                    <a:pt x="196" y="130"/>
                  </a:lnTo>
                  <a:lnTo>
                    <a:pt x="194" y="127"/>
                  </a:lnTo>
                  <a:lnTo>
                    <a:pt x="190" y="125"/>
                  </a:lnTo>
                  <a:lnTo>
                    <a:pt x="187" y="122"/>
                  </a:lnTo>
                  <a:lnTo>
                    <a:pt x="186" y="120"/>
                  </a:lnTo>
                  <a:lnTo>
                    <a:pt x="186" y="119"/>
                  </a:lnTo>
                  <a:lnTo>
                    <a:pt x="186" y="119"/>
                  </a:lnTo>
                  <a:lnTo>
                    <a:pt x="187" y="118"/>
                  </a:lnTo>
                  <a:lnTo>
                    <a:pt x="192" y="116"/>
                  </a:lnTo>
                  <a:lnTo>
                    <a:pt x="201" y="113"/>
                  </a:lnTo>
                  <a:lnTo>
                    <a:pt x="201" y="113"/>
                  </a:lnTo>
                  <a:lnTo>
                    <a:pt x="203" y="112"/>
                  </a:lnTo>
                  <a:lnTo>
                    <a:pt x="203" y="109"/>
                  </a:lnTo>
                  <a:lnTo>
                    <a:pt x="204" y="107"/>
                  </a:lnTo>
                  <a:lnTo>
                    <a:pt x="205" y="105"/>
                  </a:lnTo>
                  <a:lnTo>
                    <a:pt x="205" y="105"/>
                  </a:lnTo>
                  <a:lnTo>
                    <a:pt x="208" y="104"/>
                  </a:lnTo>
                  <a:lnTo>
                    <a:pt x="211" y="102"/>
                  </a:lnTo>
                  <a:lnTo>
                    <a:pt x="214" y="97"/>
                  </a:lnTo>
                  <a:lnTo>
                    <a:pt x="214" y="97"/>
                  </a:lnTo>
                  <a:lnTo>
                    <a:pt x="215" y="95"/>
                  </a:lnTo>
                  <a:lnTo>
                    <a:pt x="218" y="95"/>
                  </a:lnTo>
                  <a:lnTo>
                    <a:pt x="222" y="95"/>
                  </a:lnTo>
                  <a:lnTo>
                    <a:pt x="225" y="94"/>
                  </a:lnTo>
                  <a:lnTo>
                    <a:pt x="225" y="94"/>
                  </a:lnTo>
                  <a:lnTo>
                    <a:pt x="232" y="91"/>
                  </a:lnTo>
                  <a:lnTo>
                    <a:pt x="235" y="90"/>
                  </a:lnTo>
                  <a:lnTo>
                    <a:pt x="236" y="91"/>
                  </a:lnTo>
                  <a:lnTo>
                    <a:pt x="236" y="91"/>
                  </a:lnTo>
                  <a:lnTo>
                    <a:pt x="236" y="94"/>
                  </a:lnTo>
                  <a:lnTo>
                    <a:pt x="235" y="97"/>
                  </a:lnTo>
                  <a:lnTo>
                    <a:pt x="230" y="104"/>
                  </a:lnTo>
                  <a:lnTo>
                    <a:pt x="230" y="104"/>
                  </a:lnTo>
                  <a:lnTo>
                    <a:pt x="242" y="104"/>
                  </a:lnTo>
                  <a:lnTo>
                    <a:pt x="246" y="102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51" y="101"/>
                  </a:lnTo>
                  <a:lnTo>
                    <a:pt x="255" y="101"/>
                  </a:lnTo>
                  <a:lnTo>
                    <a:pt x="260" y="101"/>
                  </a:lnTo>
                  <a:lnTo>
                    <a:pt x="262" y="101"/>
                  </a:lnTo>
                  <a:lnTo>
                    <a:pt x="264" y="98"/>
                  </a:lnTo>
                  <a:lnTo>
                    <a:pt x="264" y="98"/>
                  </a:lnTo>
                  <a:lnTo>
                    <a:pt x="265" y="97"/>
                  </a:lnTo>
                  <a:lnTo>
                    <a:pt x="267" y="95"/>
                  </a:lnTo>
                  <a:lnTo>
                    <a:pt x="271" y="94"/>
                  </a:lnTo>
                  <a:lnTo>
                    <a:pt x="272" y="94"/>
                  </a:lnTo>
                  <a:lnTo>
                    <a:pt x="269" y="91"/>
                  </a:lnTo>
                  <a:lnTo>
                    <a:pt x="269" y="91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6" name="Freeform 145">
              <a:extLst>
                <a:ext uri="{FF2B5EF4-FFF2-40B4-BE49-F238E27FC236}">
                  <a16:creationId xmlns:a16="http://schemas.microsoft.com/office/drawing/2014/main" id="{F9BED3B4-E79A-4ADF-AD31-4B2E5211E8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88276" y="2770188"/>
              <a:ext cx="423863" cy="419100"/>
            </a:xfrm>
            <a:custGeom>
              <a:avLst/>
              <a:gdLst>
                <a:gd name="T0" fmla="*/ 242 w 267"/>
                <a:gd name="T1" fmla="*/ 28 h 264"/>
                <a:gd name="T2" fmla="*/ 208 w 267"/>
                <a:gd name="T3" fmla="*/ 11 h 264"/>
                <a:gd name="T4" fmla="*/ 193 w 267"/>
                <a:gd name="T5" fmla="*/ 2 h 264"/>
                <a:gd name="T6" fmla="*/ 195 w 267"/>
                <a:gd name="T7" fmla="*/ 13 h 264"/>
                <a:gd name="T8" fmla="*/ 189 w 267"/>
                <a:gd name="T9" fmla="*/ 34 h 264"/>
                <a:gd name="T10" fmla="*/ 182 w 267"/>
                <a:gd name="T11" fmla="*/ 43 h 264"/>
                <a:gd name="T12" fmla="*/ 168 w 267"/>
                <a:gd name="T13" fmla="*/ 54 h 264"/>
                <a:gd name="T14" fmla="*/ 165 w 267"/>
                <a:gd name="T15" fmla="*/ 63 h 264"/>
                <a:gd name="T16" fmla="*/ 167 w 267"/>
                <a:gd name="T17" fmla="*/ 77 h 264"/>
                <a:gd name="T18" fmla="*/ 181 w 267"/>
                <a:gd name="T19" fmla="*/ 70 h 264"/>
                <a:gd name="T20" fmla="*/ 172 w 267"/>
                <a:gd name="T21" fmla="*/ 60 h 264"/>
                <a:gd name="T22" fmla="*/ 181 w 267"/>
                <a:gd name="T23" fmla="*/ 57 h 264"/>
                <a:gd name="T24" fmla="*/ 208 w 267"/>
                <a:gd name="T25" fmla="*/ 63 h 264"/>
                <a:gd name="T26" fmla="*/ 218 w 267"/>
                <a:gd name="T27" fmla="*/ 59 h 264"/>
                <a:gd name="T28" fmla="*/ 242 w 267"/>
                <a:gd name="T29" fmla="*/ 49 h 264"/>
                <a:gd name="T30" fmla="*/ 249 w 267"/>
                <a:gd name="T31" fmla="*/ 39 h 264"/>
                <a:gd name="T32" fmla="*/ 267 w 267"/>
                <a:gd name="T33" fmla="*/ 21 h 264"/>
                <a:gd name="T34" fmla="*/ 253 w 267"/>
                <a:gd name="T35" fmla="*/ 25 h 264"/>
                <a:gd name="T36" fmla="*/ 163 w 267"/>
                <a:gd name="T37" fmla="*/ 106 h 264"/>
                <a:gd name="T38" fmla="*/ 163 w 267"/>
                <a:gd name="T39" fmla="*/ 118 h 264"/>
                <a:gd name="T40" fmla="*/ 156 w 267"/>
                <a:gd name="T41" fmla="*/ 136 h 264"/>
                <a:gd name="T42" fmla="*/ 142 w 267"/>
                <a:gd name="T43" fmla="*/ 152 h 264"/>
                <a:gd name="T44" fmla="*/ 124 w 267"/>
                <a:gd name="T45" fmla="*/ 158 h 264"/>
                <a:gd name="T46" fmla="*/ 117 w 267"/>
                <a:gd name="T47" fmla="*/ 153 h 264"/>
                <a:gd name="T48" fmla="*/ 109 w 267"/>
                <a:gd name="T49" fmla="*/ 171 h 264"/>
                <a:gd name="T50" fmla="*/ 102 w 267"/>
                <a:gd name="T51" fmla="*/ 182 h 264"/>
                <a:gd name="T52" fmla="*/ 92 w 267"/>
                <a:gd name="T53" fmla="*/ 183 h 264"/>
                <a:gd name="T54" fmla="*/ 68 w 267"/>
                <a:gd name="T55" fmla="*/ 186 h 264"/>
                <a:gd name="T56" fmla="*/ 49 w 267"/>
                <a:gd name="T57" fmla="*/ 188 h 264"/>
                <a:gd name="T58" fmla="*/ 21 w 267"/>
                <a:gd name="T59" fmla="*/ 207 h 264"/>
                <a:gd name="T60" fmla="*/ 29 w 267"/>
                <a:gd name="T61" fmla="*/ 213 h 264"/>
                <a:gd name="T62" fmla="*/ 57 w 267"/>
                <a:gd name="T63" fmla="*/ 204 h 264"/>
                <a:gd name="T64" fmla="*/ 89 w 267"/>
                <a:gd name="T65" fmla="*/ 203 h 264"/>
                <a:gd name="T66" fmla="*/ 90 w 267"/>
                <a:gd name="T67" fmla="*/ 218 h 264"/>
                <a:gd name="T68" fmla="*/ 114 w 267"/>
                <a:gd name="T69" fmla="*/ 206 h 264"/>
                <a:gd name="T70" fmla="*/ 117 w 267"/>
                <a:gd name="T71" fmla="*/ 200 h 264"/>
                <a:gd name="T72" fmla="*/ 136 w 267"/>
                <a:gd name="T73" fmla="*/ 199 h 264"/>
                <a:gd name="T74" fmla="*/ 149 w 267"/>
                <a:gd name="T75" fmla="*/ 200 h 264"/>
                <a:gd name="T76" fmla="*/ 157 w 267"/>
                <a:gd name="T77" fmla="*/ 190 h 264"/>
                <a:gd name="T78" fmla="*/ 172 w 267"/>
                <a:gd name="T79" fmla="*/ 189 h 264"/>
                <a:gd name="T80" fmla="*/ 177 w 267"/>
                <a:gd name="T81" fmla="*/ 167 h 264"/>
                <a:gd name="T82" fmla="*/ 181 w 267"/>
                <a:gd name="T83" fmla="*/ 142 h 264"/>
                <a:gd name="T84" fmla="*/ 196 w 267"/>
                <a:gd name="T85" fmla="*/ 122 h 264"/>
                <a:gd name="T86" fmla="*/ 186 w 267"/>
                <a:gd name="T87" fmla="*/ 81 h 264"/>
                <a:gd name="T88" fmla="*/ 65 w 267"/>
                <a:gd name="T89" fmla="*/ 210 h 264"/>
                <a:gd name="T90" fmla="*/ 46 w 267"/>
                <a:gd name="T91" fmla="*/ 217 h 264"/>
                <a:gd name="T92" fmla="*/ 52 w 267"/>
                <a:gd name="T93" fmla="*/ 235 h 264"/>
                <a:gd name="T94" fmla="*/ 63 w 267"/>
                <a:gd name="T95" fmla="*/ 225 h 264"/>
                <a:gd name="T96" fmla="*/ 78 w 267"/>
                <a:gd name="T97" fmla="*/ 221 h 264"/>
                <a:gd name="T98" fmla="*/ 74 w 267"/>
                <a:gd name="T99" fmla="*/ 206 h 264"/>
                <a:gd name="T100" fmla="*/ 34 w 267"/>
                <a:gd name="T101" fmla="*/ 228 h 264"/>
                <a:gd name="T102" fmla="*/ 22 w 267"/>
                <a:gd name="T103" fmla="*/ 220 h 264"/>
                <a:gd name="T104" fmla="*/ 9 w 267"/>
                <a:gd name="T105" fmla="*/ 222 h 264"/>
                <a:gd name="T106" fmla="*/ 7 w 267"/>
                <a:gd name="T107" fmla="*/ 235 h 264"/>
                <a:gd name="T108" fmla="*/ 14 w 267"/>
                <a:gd name="T109" fmla="*/ 232 h 264"/>
                <a:gd name="T110" fmla="*/ 16 w 267"/>
                <a:gd name="T111" fmla="*/ 263 h 264"/>
                <a:gd name="T112" fmla="*/ 27 w 267"/>
                <a:gd name="T113" fmla="*/ 254 h 264"/>
                <a:gd name="T114" fmla="*/ 38 w 267"/>
                <a:gd name="T115" fmla="*/ 23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67" h="264">
                  <a:moveTo>
                    <a:pt x="253" y="25"/>
                  </a:moveTo>
                  <a:lnTo>
                    <a:pt x="253" y="25"/>
                  </a:lnTo>
                  <a:lnTo>
                    <a:pt x="252" y="24"/>
                  </a:lnTo>
                  <a:lnTo>
                    <a:pt x="249" y="24"/>
                  </a:lnTo>
                  <a:lnTo>
                    <a:pt x="246" y="25"/>
                  </a:lnTo>
                  <a:lnTo>
                    <a:pt x="242" y="28"/>
                  </a:lnTo>
                  <a:lnTo>
                    <a:pt x="236" y="29"/>
                  </a:lnTo>
                  <a:lnTo>
                    <a:pt x="236" y="29"/>
                  </a:lnTo>
                  <a:lnTo>
                    <a:pt x="233" y="29"/>
                  </a:lnTo>
                  <a:lnTo>
                    <a:pt x="229" y="27"/>
                  </a:lnTo>
                  <a:lnTo>
                    <a:pt x="220" y="21"/>
                  </a:lnTo>
                  <a:lnTo>
                    <a:pt x="208" y="11"/>
                  </a:lnTo>
                  <a:lnTo>
                    <a:pt x="203" y="4"/>
                  </a:lnTo>
                  <a:lnTo>
                    <a:pt x="203" y="4"/>
                  </a:lnTo>
                  <a:lnTo>
                    <a:pt x="200" y="2"/>
                  </a:lnTo>
                  <a:lnTo>
                    <a:pt x="197" y="0"/>
                  </a:lnTo>
                  <a:lnTo>
                    <a:pt x="196" y="0"/>
                  </a:lnTo>
                  <a:lnTo>
                    <a:pt x="193" y="2"/>
                  </a:lnTo>
                  <a:lnTo>
                    <a:pt x="192" y="3"/>
                  </a:lnTo>
                  <a:lnTo>
                    <a:pt x="190" y="4"/>
                  </a:lnTo>
                  <a:lnTo>
                    <a:pt x="190" y="7"/>
                  </a:lnTo>
                  <a:lnTo>
                    <a:pt x="192" y="9"/>
                  </a:lnTo>
                  <a:lnTo>
                    <a:pt x="192" y="9"/>
                  </a:lnTo>
                  <a:lnTo>
                    <a:pt x="195" y="13"/>
                  </a:lnTo>
                  <a:lnTo>
                    <a:pt x="193" y="15"/>
                  </a:lnTo>
                  <a:lnTo>
                    <a:pt x="192" y="20"/>
                  </a:lnTo>
                  <a:lnTo>
                    <a:pt x="192" y="25"/>
                  </a:lnTo>
                  <a:lnTo>
                    <a:pt x="192" y="25"/>
                  </a:lnTo>
                  <a:lnTo>
                    <a:pt x="190" y="29"/>
                  </a:lnTo>
                  <a:lnTo>
                    <a:pt x="189" y="34"/>
                  </a:lnTo>
                  <a:lnTo>
                    <a:pt x="186" y="35"/>
                  </a:lnTo>
                  <a:lnTo>
                    <a:pt x="186" y="39"/>
                  </a:lnTo>
                  <a:lnTo>
                    <a:pt x="186" y="39"/>
                  </a:lnTo>
                  <a:lnTo>
                    <a:pt x="186" y="40"/>
                  </a:lnTo>
                  <a:lnTo>
                    <a:pt x="186" y="42"/>
                  </a:lnTo>
                  <a:lnTo>
                    <a:pt x="182" y="43"/>
                  </a:lnTo>
                  <a:lnTo>
                    <a:pt x="174" y="45"/>
                  </a:lnTo>
                  <a:lnTo>
                    <a:pt x="174" y="45"/>
                  </a:lnTo>
                  <a:lnTo>
                    <a:pt x="171" y="46"/>
                  </a:lnTo>
                  <a:lnTo>
                    <a:pt x="171" y="49"/>
                  </a:lnTo>
                  <a:lnTo>
                    <a:pt x="171" y="52"/>
                  </a:lnTo>
                  <a:lnTo>
                    <a:pt x="168" y="54"/>
                  </a:lnTo>
                  <a:lnTo>
                    <a:pt x="168" y="54"/>
                  </a:lnTo>
                  <a:lnTo>
                    <a:pt x="164" y="56"/>
                  </a:lnTo>
                  <a:lnTo>
                    <a:pt x="163" y="59"/>
                  </a:lnTo>
                  <a:lnTo>
                    <a:pt x="163" y="61"/>
                  </a:lnTo>
                  <a:lnTo>
                    <a:pt x="165" y="63"/>
                  </a:lnTo>
                  <a:lnTo>
                    <a:pt x="165" y="63"/>
                  </a:lnTo>
                  <a:lnTo>
                    <a:pt x="167" y="65"/>
                  </a:lnTo>
                  <a:lnTo>
                    <a:pt x="167" y="68"/>
                  </a:lnTo>
                  <a:lnTo>
                    <a:pt x="165" y="75"/>
                  </a:lnTo>
                  <a:lnTo>
                    <a:pt x="165" y="75"/>
                  </a:lnTo>
                  <a:lnTo>
                    <a:pt x="165" y="77"/>
                  </a:lnTo>
                  <a:lnTo>
                    <a:pt x="167" y="77"/>
                  </a:lnTo>
                  <a:lnTo>
                    <a:pt x="172" y="72"/>
                  </a:lnTo>
                  <a:lnTo>
                    <a:pt x="172" y="72"/>
                  </a:lnTo>
                  <a:lnTo>
                    <a:pt x="175" y="70"/>
                  </a:lnTo>
                  <a:lnTo>
                    <a:pt x="178" y="71"/>
                  </a:lnTo>
                  <a:lnTo>
                    <a:pt x="179" y="71"/>
                  </a:lnTo>
                  <a:lnTo>
                    <a:pt x="181" y="70"/>
                  </a:lnTo>
                  <a:lnTo>
                    <a:pt x="181" y="70"/>
                  </a:lnTo>
                  <a:lnTo>
                    <a:pt x="181" y="68"/>
                  </a:lnTo>
                  <a:lnTo>
                    <a:pt x="179" y="67"/>
                  </a:lnTo>
                  <a:lnTo>
                    <a:pt x="177" y="64"/>
                  </a:lnTo>
                  <a:lnTo>
                    <a:pt x="174" y="61"/>
                  </a:lnTo>
                  <a:lnTo>
                    <a:pt x="172" y="60"/>
                  </a:lnTo>
                  <a:lnTo>
                    <a:pt x="172" y="59"/>
                  </a:lnTo>
                  <a:lnTo>
                    <a:pt x="172" y="59"/>
                  </a:lnTo>
                  <a:lnTo>
                    <a:pt x="172" y="57"/>
                  </a:lnTo>
                  <a:lnTo>
                    <a:pt x="174" y="57"/>
                  </a:lnTo>
                  <a:lnTo>
                    <a:pt x="177" y="57"/>
                  </a:lnTo>
                  <a:lnTo>
                    <a:pt x="181" y="57"/>
                  </a:lnTo>
                  <a:lnTo>
                    <a:pt x="185" y="57"/>
                  </a:lnTo>
                  <a:lnTo>
                    <a:pt x="185" y="57"/>
                  </a:lnTo>
                  <a:lnTo>
                    <a:pt x="190" y="56"/>
                  </a:lnTo>
                  <a:lnTo>
                    <a:pt x="196" y="57"/>
                  </a:lnTo>
                  <a:lnTo>
                    <a:pt x="203" y="59"/>
                  </a:lnTo>
                  <a:lnTo>
                    <a:pt x="208" y="63"/>
                  </a:lnTo>
                  <a:lnTo>
                    <a:pt x="208" y="63"/>
                  </a:lnTo>
                  <a:lnTo>
                    <a:pt x="213" y="65"/>
                  </a:lnTo>
                  <a:lnTo>
                    <a:pt x="215" y="65"/>
                  </a:lnTo>
                  <a:lnTo>
                    <a:pt x="217" y="63"/>
                  </a:lnTo>
                  <a:lnTo>
                    <a:pt x="218" y="59"/>
                  </a:lnTo>
                  <a:lnTo>
                    <a:pt x="218" y="59"/>
                  </a:lnTo>
                  <a:lnTo>
                    <a:pt x="220" y="56"/>
                  </a:lnTo>
                  <a:lnTo>
                    <a:pt x="221" y="54"/>
                  </a:lnTo>
                  <a:lnTo>
                    <a:pt x="227" y="50"/>
                  </a:lnTo>
                  <a:lnTo>
                    <a:pt x="233" y="49"/>
                  </a:lnTo>
                  <a:lnTo>
                    <a:pt x="242" y="49"/>
                  </a:lnTo>
                  <a:lnTo>
                    <a:pt x="242" y="49"/>
                  </a:lnTo>
                  <a:lnTo>
                    <a:pt x="247" y="47"/>
                  </a:lnTo>
                  <a:lnTo>
                    <a:pt x="250" y="46"/>
                  </a:lnTo>
                  <a:lnTo>
                    <a:pt x="252" y="43"/>
                  </a:lnTo>
                  <a:lnTo>
                    <a:pt x="250" y="40"/>
                  </a:lnTo>
                  <a:lnTo>
                    <a:pt x="250" y="40"/>
                  </a:lnTo>
                  <a:lnTo>
                    <a:pt x="249" y="39"/>
                  </a:lnTo>
                  <a:lnTo>
                    <a:pt x="252" y="38"/>
                  </a:lnTo>
                  <a:lnTo>
                    <a:pt x="257" y="32"/>
                  </a:lnTo>
                  <a:lnTo>
                    <a:pt x="264" y="25"/>
                  </a:lnTo>
                  <a:lnTo>
                    <a:pt x="265" y="24"/>
                  </a:lnTo>
                  <a:lnTo>
                    <a:pt x="267" y="21"/>
                  </a:lnTo>
                  <a:lnTo>
                    <a:pt x="267" y="21"/>
                  </a:lnTo>
                  <a:lnTo>
                    <a:pt x="265" y="21"/>
                  </a:lnTo>
                  <a:lnTo>
                    <a:pt x="264" y="21"/>
                  </a:lnTo>
                  <a:lnTo>
                    <a:pt x="260" y="24"/>
                  </a:lnTo>
                  <a:lnTo>
                    <a:pt x="256" y="27"/>
                  </a:lnTo>
                  <a:lnTo>
                    <a:pt x="254" y="27"/>
                  </a:lnTo>
                  <a:lnTo>
                    <a:pt x="253" y="25"/>
                  </a:lnTo>
                  <a:lnTo>
                    <a:pt x="253" y="25"/>
                  </a:lnTo>
                  <a:close/>
                  <a:moveTo>
                    <a:pt x="167" y="89"/>
                  </a:moveTo>
                  <a:lnTo>
                    <a:pt x="167" y="89"/>
                  </a:lnTo>
                  <a:lnTo>
                    <a:pt x="164" y="93"/>
                  </a:lnTo>
                  <a:lnTo>
                    <a:pt x="163" y="99"/>
                  </a:lnTo>
                  <a:lnTo>
                    <a:pt x="163" y="106"/>
                  </a:lnTo>
                  <a:lnTo>
                    <a:pt x="163" y="107"/>
                  </a:lnTo>
                  <a:lnTo>
                    <a:pt x="164" y="110"/>
                  </a:lnTo>
                  <a:lnTo>
                    <a:pt x="164" y="110"/>
                  </a:lnTo>
                  <a:lnTo>
                    <a:pt x="165" y="111"/>
                  </a:lnTo>
                  <a:lnTo>
                    <a:pt x="165" y="114"/>
                  </a:lnTo>
                  <a:lnTo>
                    <a:pt x="163" y="118"/>
                  </a:lnTo>
                  <a:lnTo>
                    <a:pt x="158" y="124"/>
                  </a:lnTo>
                  <a:lnTo>
                    <a:pt x="157" y="128"/>
                  </a:lnTo>
                  <a:lnTo>
                    <a:pt x="157" y="131"/>
                  </a:lnTo>
                  <a:lnTo>
                    <a:pt x="157" y="131"/>
                  </a:lnTo>
                  <a:lnTo>
                    <a:pt x="156" y="133"/>
                  </a:lnTo>
                  <a:lnTo>
                    <a:pt x="156" y="136"/>
                  </a:lnTo>
                  <a:lnTo>
                    <a:pt x="153" y="139"/>
                  </a:lnTo>
                  <a:lnTo>
                    <a:pt x="149" y="142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45" y="149"/>
                  </a:lnTo>
                  <a:lnTo>
                    <a:pt x="142" y="152"/>
                  </a:lnTo>
                  <a:lnTo>
                    <a:pt x="138" y="153"/>
                  </a:lnTo>
                  <a:lnTo>
                    <a:pt x="132" y="157"/>
                  </a:lnTo>
                  <a:lnTo>
                    <a:pt x="132" y="157"/>
                  </a:lnTo>
                  <a:lnTo>
                    <a:pt x="129" y="158"/>
                  </a:lnTo>
                  <a:lnTo>
                    <a:pt x="127" y="160"/>
                  </a:lnTo>
                  <a:lnTo>
                    <a:pt x="124" y="158"/>
                  </a:lnTo>
                  <a:lnTo>
                    <a:pt x="122" y="156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22" y="150"/>
                  </a:lnTo>
                  <a:lnTo>
                    <a:pt x="121" y="150"/>
                  </a:lnTo>
                  <a:lnTo>
                    <a:pt x="117" y="153"/>
                  </a:lnTo>
                  <a:lnTo>
                    <a:pt x="113" y="157"/>
                  </a:lnTo>
                  <a:lnTo>
                    <a:pt x="111" y="161"/>
                  </a:lnTo>
                  <a:lnTo>
                    <a:pt x="111" y="164"/>
                  </a:lnTo>
                  <a:lnTo>
                    <a:pt x="111" y="164"/>
                  </a:lnTo>
                  <a:lnTo>
                    <a:pt x="110" y="168"/>
                  </a:lnTo>
                  <a:lnTo>
                    <a:pt x="109" y="171"/>
                  </a:lnTo>
                  <a:lnTo>
                    <a:pt x="104" y="174"/>
                  </a:lnTo>
                  <a:lnTo>
                    <a:pt x="102" y="176"/>
                  </a:lnTo>
                  <a:lnTo>
                    <a:pt x="100" y="178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2"/>
                  </a:lnTo>
                  <a:lnTo>
                    <a:pt x="100" y="183"/>
                  </a:lnTo>
                  <a:lnTo>
                    <a:pt x="97" y="185"/>
                  </a:lnTo>
                  <a:lnTo>
                    <a:pt x="93" y="185"/>
                  </a:lnTo>
                  <a:lnTo>
                    <a:pt x="92" y="185"/>
                  </a:lnTo>
                  <a:lnTo>
                    <a:pt x="92" y="183"/>
                  </a:lnTo>
                  <a:lnTo>
                    <a:pt x="92" y="183"/>
                  </a:lnTo>
                  <a:lnTo>
                    <a:pt x="90" y="182"/>
                  </a:lnTo>
                  <a:lnTo>
                    <a:pt x="90" y="181"/>
                  </a:lnTo>
                  <a:lnTo>
                    <a:pt x="86" y="181"/>
                  </a:lnTo>
                  <a:lnTo>
                    <a:pt x="72" y="186"/>
                  </a:lnTo>
                  <a:lnTo>
                    <a:pt x="72" y="186"/>
                  </a:lnTo>
                  <a:lnTo>
                    <a:pt x="68" y="186"/>
                  </a:lnTo>
                  <a:lnTo>
                    <a:pt x="65" y="186"/>
                  </a:lnTo>
                  <a:lnTo>
                    <a:pt x="59" y="186"/>
                  </a:lnTo>
                  <a:lnTo>
                    <a:pt x="54" y="185"/>
                  </a:lnTo>
                  <a:lnTo>
                    <a:pt x="52" y="185"/>
                  </a:lnTo>
                  <a:lnTo>
                    <a:pt x="49" y="188"/>
                  </a:lnTo>
                  <a:lnTo>
                    <a:pt x="49" y="188"/>
                  </a:lnTo>
                  <a:lnTo>
                    <a:pt x="38" y="197"/>
                  </a:lnTo>
                  <a:lnTo>
                    <a:pt x="31" y="203"/>
                  </a:lnTo>
                  <a:lnTo>
                    <a:pt x="25" y="206"/>
                  </a:lnTo>
                  <a:lnTo>
                    <a:pt x="25" y="206"/>
                  </a:lnTo>
                  <a:lnTo>
                    <a:pt x="22" y="206"/>
                  </a:lnTo>
                  <a:lnTo>
                    <a:pt x="21" y="207"/>
                  </a:lnTo>
                  <a:lnTo>
                    <a:pt x="21" y="211"/>
                  </a:lnTo>
                  <a:lnTo>
                    <a:pt x="22" y="214"/>
                  </a:lnTo>
                  <a:lnTo>
                    <a:pt x="24" y="214"/>
                  </a:lnTo>
                  <a:lnTo>
                    <a:pt x="25" y="214"/>
                  </a:lnTo>
                  <a:lnTo>
                    <a:pt x="25" y="214"/>
                  </a:lnTo>
                  <a:lnTo>
                    <a:pt x="29" y="213"/>
                  </a:lnTo>
                  <a:lnTo>
                    <a:pt x="35" y="213"/>
                  </a:lnTo>
                  <a:lnTo>
                    <a:pt x="39" y="213"/>
                  </a:lnTo>
                  <a:lnTo>
                    <a:pt x="42" y="210"/>
                  </a:lnTo>
                  <a:lnTo>
                    <a:pt x="42" y="210"/>
                  </a:lnTo>
                  <a:lnTo>
                    <a:pt x="47" y="207"/>
                  </a:lnTo>
                  <a:lnTo>
                    <a:pt x="57" y="204"/>
                  </a:lnTo>
                  <a:lnTo>
                    <a:pt x="70" y="201"/>
                  </a:lnTo>
                  <a:lnTo>
                    <a:pt x="82" y="200"/>
                  </a:lnTo>
                  <a:lnTo>
                    <a:pt x="82" y="200"/>
                  </a:lnTo>
                  <a:lnTo>
                    <a:pt x="86" y="200"/>
                  </a:lnTo>
                  <a:lnTo>
                    <a:pt x="88" y="201"/>
                  </a:lnTo>
                  <a:lnTo>
                    <a:pt x="89" y="203"/>
                  </a:lnTo>
                  <a:lnTo>
                    <a:pt x="89" y="204"/>
                  </a:lnTo>
                  <a:lnTo>
                    <a:pt x="89" y="208"/>
                  </a:lnTo>
                  <a:lnTo>
                    <a:pt x="88" y="214"/>
                  </a:lnTo>
                  <a:lnTo>
                    <a:pt x="88" y="214"/>
                  </a:lnTo>
                  <a:lnTo>
                    <a:pt x="89" y="217"/>
                  </a:lnTo>
                  <a:lnTo>
                    <a:pt x="90" y="218"/>
                  </a:lnTo>
                  <a:lnTo>
                    <a:pt x="96" y="220"/>
                  </a:lnTo>
                  <a:lnTo>
                    <a:pt x="102" y="218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14" y="207"/>
                  </a:lnTo>
                  <a:lnTo>
                    <a:pt x="114" y="206"/>
                  </a:lnTo>
                  <a:lnTo>
                    <a:pt x="113" y="203"/>
                  </a:lnTo>
                  <a:lnTo>
                    <a:pt x="113" y="203"/>
                  </a:lnTo>
                  <a:lnTo>
                    <a:pt x="110" y="200"/>
                  </a:lnTo>
                  <a:lnTo>
                    <a:pt x="111" y="197"/>
                  </a:lnTo>
                  <a:lnTo>
                    <a:pt x="114" y="197"/>
                  </a:lnTo>
                  <a:lnTo>
                    <a:pt x="117" y="200"/>
                  </a:lnTo>
                  <a:lnTo>
                    <a:pt x="117" y="200"/>
                  </a:lnTo>
                  <a:lnTo>
                    <a:pt x="121" y="203"/>
                  </a:lnTo>
                  <a:lnTo>
                    <a:pt x="127" y="204"/>
                  </a:lnTo>
                  <a:lnTo>
                    <a:pt x="132" y="203"/>
                  </a:lnTo>
                  <a:lnTo>
                    <a:pt x="135" y="201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9" y="196"/>
                  </a:lnTo>
                  <a:lnTo>
                    <a:pt x="142" y="197"/>
                  </a:lnTo>
                  <a:lnTo>
                    <a:pt x="145" y="199"/>
                  </a:lnTo>
                  <a:lnTo>
                    <a:pt x="149" y="200"/>
                  </a:lnTo>
                  <a:lnTo>
                    <a:pt x="149" y="200"/>
                  </a:lnTo>
                  <a:lnTo>
                    <a:pt x="150" y="199"/>
                  </a:lnTo>
                  <a:lnTo>
                    <a:pt x="152" y="197"/>
                  </a:lnTo>
                  <a:lnTo>
                    <a:pt x="154" y="193"/>
                  </a:lnTo>
                  <a:lnTo>
                    <a:pt x="157" y="190"/>
                  </a:lnTo>
                  <a:lnTo>
                    <a:pt x="157" y="189"/>
                  </a:lnTo>
                  <a:lnTo>
                    <a:pt x="157" y="190"/>
                  </a:lnTo>
                  <a:lnTo>
                    <a:pt x="157" y="190"/>
                  </a:lnTo>
                  <a:lnTo>
                    <a:pt x="158" y="192"/>
                  </a:lnTo>
                  <a:lnTo>
                    <a:pt x="158" y="193"/>
                  </a:lnTo>
                  <a:lnTo>
                    <a:pt x="163" y="193"/>
                  </a:lnTo>
                  <a:lnTo>
                    <a:pt x="168" y="192"/>
                  </a:lnTo>
                  <a:lnTo>
                    <a:pt x="172" y="189"/>
                  </a:lnTo>
                  <a:lnTo>
                    <a:pt x="172" y="189"/>
                  </a:lnTo>
                  <a:lnTo>
                    <a:pt x="174" y="186"/>
                  </a:lnTo>
                  <a:lnTo>
                    <a:pt x="175" y="183"/>
                  </a:lnTo>
                  <a:lnTo>
                    <a:pt x="175" y="176"/>
                  </a:lnTo>
                  <a:lnTo>
                    <a:pt x="175" y="171"/>
                  </a:lnTo>
                  <a:lnTo>
                    <a:pt x="177" y="167"/>
                  </a:lnTo>
                  <a:lnTo>
                    <a:pt x="177" y="167"/>
                  </a:lnTo>
                  <a:lnTo>
                    <a:pt x="179" y="161"/>
                  </a:lnTo>
                  <a:lnTo>
                    <a:pt x="181" y="154"/>
                  </a:lnTo>
                  <a:lnTo>
                    <a:pt x="182" y="147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79" y="139"/>
                  </a:lnTo>
                  <a:lnTo>
                    <a:pt x="179" y="138"/>
                  </a:lnTo>
                  <a:lnTo>
                    <a:pt x="183" y="133"/>
                  </a:lnTo>
                  <a:lnTo>
                    <a:pt x="195" y="125"/>
                  </a:lnTo>
                  <a:lnTo>
                    <a:pt x="195" y="125"/>
                  </a:lnTo>
                  <a:lnTo>
                    <a:pt x="196" y="122"/>
                  </a:lnTo>
                  <a:lnTo>
                    <a:pt x="196" y="117"/>
                  </a:lnTo>
                  <a:lnTo>
                    <a:pt x="193" y="106"/>
                  </a:lnTo>
                  <a:lnTo>
                    <a:pt x="189" y="93"/>
                  </a:lnTo>
                  <a:lnTo>
                    <a:pt x="188" y="83"/>
                  </a:lnTo>
                  <a:lnTo>
                    <a:pt x="188" y="83"/>
                  </a:lnTo>
                  <a:lnTo>
                    <a:pt x="186" y="81"/>
                  </a:lnTo>
                  <a:lnTo>
                    <a:pt x="185" y="81"/>
                  </a:lnTo>
                  <a:lnTo>
                    <a:pt x="179" y="82"/>
                  </a:lnTo>
                  <a:lnTo>
                    <a:pt x="167" y="89"/>
                  </a:lnTo>
                  <a:lnTo>
                    <a:pt x="167" y="89"/>
                  </a:lnTo>
                  <a:close/>
                  <a:moveTo>
                    <a:pt x="65" y="210"/>
                  </a:moveTo>
                  <a:lnTo>
                    <a:pt x="65" y="210"/>
                  </a:lnTo>
                  <a:lnTo>
                    <a:pt x="63" y="211"/>
                  </a:lnTo>
                  <a:lnTo>
                    <a:pt x="60" y="213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47" y="214"/>
                  </a:lnTo>
                  <a:lnTo>
                    <a:pt x="46" y="217"/>
                  </a:lnTo>
                  <a:lnTo>
                    <a:pt x="45" y="224"/>
                  </a:lnTo>
                  <a:lnTo>
                    <a:pt x="45" y="231"/>
                  </a:lnTo>
                  <a:lnTo>
                    <a:pt x="46" y="233"/>
                  </a:lnTo>
                  <a:lnTo>
                    <a:pt x="49" y="235"/>
                  </a:lnTo>
                  <a:lnTo>
                    <a:pt x="49" y="235"/>
                  </a:lnTo>
                  <a:lnTo>
                    <a:pt x="52" y="235"/>
                  </a:lnTo>
                  <a:lnTo>
                    <a:pt x="53" y="235"/>
                  </a:lnTo>
                  <a:lnTo>
                    <a:pt x="56" y="233"/>
                  </a:lnTo>
                  <a:lnTo>
                    <a:pt x="57" y="231"/>
                  </a:lnTo>
                  <a:lnTo>
                    <a:pt x="57" y="231"/>
                  </a:lnTo>
                  <a:lnTo>
                    <a:pt x="59" y="226"/>
                  </a:lnTo>
                  <a:lnTo>
                    <a:pt x="63" y="225"/>
                  </a:lnTo>
                  <a:lnTo>
                    <a:pt x="67" y="224"/>
                  </a:lnTo>
                  <a:lnTo>
                    <a:pt x="71" y="225"/>
                  </a:lnTo>
                  <a:lnTo>
                    <a:pt x="71" y="225"/>
                  </a:lnTo>
                  <a:lnTo>
                    <a:pt x="72" y="225"/>
                  </a:lnTo>
                  <a:lnTo>
                    <a:pt x="74" y="225"/>
                  </a:lnTo>
                  <a:lnTo>
                    <a:pt x="78" y="221"/>
                  </a:lnTo>
                  <a:lnTo>
                    <a:pt x="79" y="217"/>
                  </a:lnTo>
                  <a:lnTo>
                    <a:pt x="81" y="211"/>
                  </a:lnTo>
                  <a:lnTo>
                    <a:pt x="81" y="211"/>
                  </a:lnTo>
                  <a:lnTo>
                    <a:pt x="81" y="208"/>
                  </a:lnTo>
                  <a:lnTo>
                    <a:pt x="79" y="207"/>
                  </a:lnTo>
                  <a:lnTo>
                    <a:pt x="74" y="206"/>
                  </a:lnTo>
                  <a:lnTo>
                    <a:pt x="68" y="207"/>
                  </a:lnTo>
                  <a:lnTo>
                    <a:pt x="67" y="207"/>
                  </a:lnTo>
                  <a:lnTo>
                    <a:pt x="65" y="210"/>
                  </a:lnTo>
                  <a:lnTo>
                    <a:pt x="65" y="210"/>
                  </a:lnTo>
                  <a:close/>
                  <a:moveTo>
                    <a:pt x="34" y="228"/>
                  </a:moveTo>
                  <a:lnTo>
                    <a:pt x="34" y="228"/>
                  </a:lnTo>
                  <a:lnTo>
                    <a:pt x="34" y="225"/>
                  </a:lnTo>
                  <a:lnTo>
                    <a:pt x="32" y="225"/>
                  </a:lnTo>
                  <a:lnTo>
                    <a:pt x="28" y="224"/>
                  </a:lnTo>
                  <a:lnTo>
                    <a:pt x="25" y="222"/>
                  </a:lnTo>
                  <a:lnTo>
                    <a:pt x="24" y="221"/>
                  </a:lnTo>
                  <a:lnTo>
                    <a:pt x="22" y="220"/>
                  </a:lnTo>
                  <a:lnTo>
                    <a:pt x="22" y="220"/>
                  </a:lnTo>
                  <a:lnTo>
                    <a:pt x="21" y="217"/>
                  </a:lnTo>
                  <a:lnTo>
                    <a:pt x="18" y="218"/>
                  </a:lnTo>
                  <a:lnTo>
                    <a:pt x="14" y="220"/>
                  </a:lnTo>
                  <a:lnTo>
                    <a:pt x="9" y="222"/>
                  </a:lnTo>
                  <a:lnTo>
                    <a:pt x="9" y="222"/>
                  </a:lnTo>
                  <a:lnTo>
                    <a:pt x="2" y="228"/>
                  </a:lnTo>
                  <a:lnTo>
                    <a:pt x="0" y="231"/>
                  </a:lnTo>
                  <a:lnTo>
                    <a:pt x="2" y="233"/>
                  </a:lnTo>
                  <a:lnTo>
                    <a:pt x="2" y="233"/>
                  </a:lnTo>
                  <a:lnTo>
                    <a:pt x="4" y="236"/>
                  </a:lnTo>
                  <a:lnTo>
                    <a:pt x="7" y="235"/>
                  </a:lnTo>
                  <a:lnTo>
                    <a:pt x="9" y="232"/>
                  </a:lnTo>
                  <a:lnTo>
                    <a:pt x="11" y="229"/>
                  </a:lnTo>
                  <a:lnTo>
                    <a:pt x="11" y="229"/>
                  </a:lnTo>
                  <a:lnTo>
                    <a:pt x="11" y="228"/>
                  </a:lnTo>
                  <a:lnTo>
                    <a:pt x="13" y="228"/>
                  </a:lnTo>
                  <a:lnTo>
                    <a:pt x="14" y="232"/>
                  </a:lnTo>
                  <a:lnTo>
                    <a:pt x="14" y="238"/>
                  </a:lnTo>
                  <a:lnTo>
                    <a:pt x="13" y="245"/>
                  </a:lnTo>
                  <a:lnTo>
                    <a:pt x="13" y="245"/>
                  </a:lnTo>
                  <a:lnTo>
                    <a:pt x="11" y="251"/>
                  </a:lnTo>
                  <a:lnTo>
                    <a:pt x="13" y="258"/>
                  </a:lnTo>
                  <a:lnTo>
                    <a:pt x="16" y="263"/>
                  </a:lnTo>
                  <a:lnTo>
                    <a:pt x="17" y="264"/>
                  </a:lnTo>
                  <a:lnTo>
                    <a:pt x="20" y="264"/>
                  </a:lnTo>
                  <a:lnTo>
                    <a:pt x="20" y="264"/>
                  </a:lnTo>
                  <a:lnTo>
                    <a:pt x="21" y="263"/>
                  </a:lnTo>
                  <a:lnTo>
                    <a:pt x="22" y="261"/>
                  </a:lnTo>
                  <a:lnTo>
                    <a:pt x="27" y="254"/>
                  </a:lnTo>
                  <a:lnTo>
                    <a:pt x="32" y="245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9" y="233"/>
                  </a:lnTo>
                  <a:lnTo>
                    <a:pt x="39" y="232"/>
                  </a:lnTo>
                  <a:lnTo>
                    <a:pt x="38" y="231"/>
                  </a:lnTo>
                  <a:lnTo>
                    <a:pt x="35" y="229"/>
                  </a:lnTo>
                  <a:lnTo>
                    <a:pt x="34" y="229"/>
                  </a:lnTo>
                  <a:lnTo>
                    <a:pt x="34" y="228"/>
                  </a:lnTo>
                  <a:lnTo>
                    <a:pt x="34" y="228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7" name="Freeform 146">
              <a:extLst>
                <a:ext uri="{FF2B5EF4-FFF2-40B4-BE49-F238E27FC236}">
                  <a16:creationId xmlns:a16="http://schemas.microsoft.com/office/drawing/2014/main" id="{7F593717-A39E-4E80-8FB8-96B3D81801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29376" y="2508250"/>
              <a:ext cx="1487488" cy="1022350"/>
            </a:xfrm>
            <a:custGeom>
              <a:avLst/>
              <a:gdLst>
                <a:gd name="T0" fmla="*/ 892 w 937"/>
                <a:gd name="T1" fmla="*/ 121 h 644"/>
                <a:gd name="T2" fmla="*/ 853 w 937"/>
                <a:gd name="T3" fmla="*/ 87 h 644"/>
                <a:gd name="T4" fmla="*/ 819 w 937"/>
                <a:gd name="T5" fmla="*/ 53 h 644"/>
                <a:gd name="T6" fmla="*/ 788 w 937"/>
                <a:gd name="T7" fmla="*/ 7 h 644"/>
                <a:gd name="T8" fmla="*/ 712 w 937"/>
                <a:gd name="T9" fmla="*/ 8 h 644"/>
                <a:gd name="T10" fmla="*/ 701 w 937"/>
                <a:gd name="T11" fmla="*/ 51 h 644"/>
                <a:gd name="T12" fmla="*/ 655 w 937"/>
                <a:gd name="T13" fmla="*/ 76 h 644"/>
                <a:gd name="T14" fmla="*/ 667 w 937"/>
                <a:gd name="T15" fmla="*/ 121 h 644"/>
                <a:gd name="T16" fmla="*/ 692 w 937"/>
                <a:gd name="T17" fmla="*/ 142 h 644"/>
                <a:gd name="T18" fmla="*/ 634 w 937"/>
                <a:gd name="T19" fmla="*/ 165 h 644"/>
                <a:gd name="T20" fmla="*/ 572 w 937"/>
                <a:gd name="T21" fmla="*/ 187 h 644"/>
                <a:gd name="T22" fmla="*/ 498 w 937"/>
                <a:gd name="T23" fmla="*/ 224 h 644"/>
                <a:gd name="T24" fmla="*/ 433 w 937"/>
                <a:gd name="T25" fmla="*/ 228 h 644"/>
                <a:gd name="T26" fmla="*/ 333 w 937"/>
                <a:gd name="T27" fmla="*/ 212 h 644"/>
                <a:gd name="T28" fmla="*/ 295 w 937"/>
                <a:gd name="T29" fmla="*/ 174 h 644"/>
                <a:gd name="T30" fmla="*/ 261 w 937"/>
                <a:gd name="T31" fmla="*/ 136 h 644"/>
                <a:gd name="T32" fmla="*/ 213 w 937"/>
                <a:gd name="T33" fmla="*/ 90 h 644"/>
                <a:gd name="T34" fmla="*/ 191 w 937"/>
                <a:gd name="T35" fmla="*/ 104 h 644"/>
                <a:gd name="T36" fmla="*/ 154 w 937"/>
                <a:gd name="T37" fmla="*/ 132 h 644"/>
                <a:gd name="T38" fmla="*/ 127 w 937"/>
                <a:gd name="T39" fmla="*/ 169 h 644"/>
                <a:gd name="T40" fmla="*/ 102 w 937"/>
                <a:gd name="T41" fmla="*/ 193 h 644"/>
                <a:gd name="T42" fmla="*/ 77 w 937"/>
                <a:gd name="T43" fmla="*/ 239 h 644"/>
                <a:gd name="T44" fmla="*/ 34 w 937"/>
                <a:gd name="T45" fmla="*/ 261 h 644"/>
                <a:gd name="T46" fmla="*/ 1 w 937"/>
                <a:gd name="T47" fmla="*/ 273 h 644"/>
                <a:gd name="T48" fmla="*/ 34 w 937"/>
                <a:gd name="T49" fmla="*/ 333 h 644"/>
                <a:gd name="T50" fmla="*/ 88 w 937"/>
                <a:gd name="T51" fmla="*/ 344 h 644"/>
                <a:gd name="T52" fmla="*/ 86 w 937"/>
                <a:gd name="T53" fmla="*/ 396 h 644"/>
                <a:gd name="T54" fmla="*/ 82 w 937"/>
                <a:gd name="T55" fmla="*/ 422 h 644"/>
                <a:gd name="T56" fmla="*/ 116 w 937"/>
                <a:gd name="T57" fmla="*/ 443 h 644"/>
                <a:gd name="T58" fmla="*/ 205 w 937"/>
                <a:gd name="T59" fmla="*/ 484 h 644"/>
                <a:gd name="T60" fmla="*/ 230 w 937"/>
                <a:gd name="T61" fmla="*/ 489 h 644"/>
                <a:gd name="T62" fmla="*/ 284 w 937"/>
                <a:gd name="T63" fmla="*/ 478 h 644"/>
                <a:gd name="T64" fmla="*/ 330 w 937"/>
                <a:gd name="T65" fmla="*/ 459 h 644"/>
                <a:gd name="T66" fmla="*/ 359 w 937"/>
                <a:gd name="T67" fmla="*/ 479 h 644"/>
                <a:gd name="T68" fmla="*/ 352 w 937"/>
                <a:gd name="T69" fmla="*/ 540 h 644"/>
                <a:gd name="T70" fmla="*/ 374 w 937"/>
                <a:gd name="T71" fmla="*/ 564 h 644"/>
                <a:gd name="T72" fmla="*/ 398 w 937"/>
                <a:gd name="T73" fmla="*/ 590 h 644"/>
                <a:gd name="T74" fmla="*/ 413 w 937"/>
                <a:gd name="T75" fmla="*/ 582 h 644"/>
                <a:gd name="T76" fmla="*/ 440 w 937"/>
                <a:gd name="T77" fmla="*/ 569 h 644"/>
                <a:gd name="T78" fmla="*/ 483 w 937"/>
                <a:gd name="T79" fmla="*/ 566 h 644"/>
                <a:gd name="T80" fmla="*/ 520 w 937"/>
                <a:gd name="T81" fmla="*/ 589 h 644"/>
                <a:gd name="T82" fmla="*/ 542 w 937"/>
                <a:gd name="T83" fmla="*/ 596 h 644"/>
                <a:gd name="T84" fmla="*/ 592 w 937"/>
                <a:gd name="T85" fmla="*/ 579 h 644"/>
                <a:gd name="T86" fmla="*/ 654 w 937"/>
                <a:gd name="T87" fmla="*/ 559 h 644"/>
                <a:gd name="T88" fmla="*/ 690 w 937"/>
                <a:gd name="T89" fmla="*/ 530 h 644"/>
                <a:gd name="T90" fmla="*/ 698 w 937"/>
                <a:gd name="T91" fmla="*/ 501 h 644"/>
                <a:gd name="T92" fmla="*/ 733 w 937"/>
                <a:gd name="T93" fmla="*/ 459 h 644"/>
                <a:gd name="T94" fmla="*/ 724 w 937"/>
                <a:gd name="T95" fmla="*/ 443 h 644"/>
                <a:gd name="T96" fmla="*/ 724 w 937"/>
                <a:gd name="T97" fmla="*/ 425 h 644"/>
                <a:gd name="T98" fmla="*/ 729 w 937"/>
                <a:gd name="T99" fmla="*/ 410 h 644"/>
                <a:gd name="T100" fmla="*/ 692 w 937"/>
                <a:gd name="T101" fmla="*/ 360 h 644"/>
                <a:gd name="T102" fmla="*/ 724 w 937"/>
                <a:gd name="T103" fmla="*/ 330 h 644"/>
                <a:gd name="T104" fmla="*/ 720 w 937"/>
                <a:gd name="T105" fmla="*/ 308 h 644"/>
                <a:gd name="T106" fmla="*/ 680 w 937"/>
                <a:gd name="T107" fmla="*/ 304 h 644"/>
                <a:gd name="T108" fmla="*/ 692 w 937"/>
                <a:gd name="T109" fmla="*/ 279 h 644"/>
                <a:gd name="T110" fmla="*/ 738 w 937"/>
                <a:gd name="T111" fmla="*/ 264 h 644"/>
                <a:gd name="T112" fmla="*/ 763 w 937"/>
                <a:gd name="T113" fmla="*/ 272 h 644"/>
                <a:gd name="T114" fmla="*/ 822 w 937"/>
                <a:gd name="T115" fmla="*/ 240 h 644"/>
                <a:gd name="T116" fmla="*/ 855 w 937"/>
                <a:gd name="T117" fmla="*/ 222 h 644"/>
                <a:gd name="T118" fmla="*/ 881 w 937"/>
                <a:gd name="T119" fmla="*/ 200 h 644"/>
                <a:gd name="T120" fmla="*/ 908 w 937"/>
                <a:gd name="T121" fmla="*/ 172 h 644"/>
                <a:gd name="T122" fmla="*/ 935 w 937"/>
                <a:gd name="T123" fmla="*/ 128 h 644"/>
                <a:gd name="T124" fmla="*/ 538 w 937"/>
                <a:gd name="T125" fmla="*/ 644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37" h="644">
                  <a:moveTo>
                    <a:pt x="934" y="115"/>
                  </a:moveTo>
                  <a:lnTo>
                    <a:pt x="934" y="115"/>
                  </a:lnTo>
                  <a:lnTo>
                    <a:pt x="934" y="112"/>
                  </a:lnTo>
                  <a:lnTo>
                    <a:pt x="933" y="110"/>
                  </a:lnTo>
                  <a:lnTo>
                    <a:pt x="930" y="110"/>
                  </a:lnTo>
                  <a:lnTo>
                    <a:pt x="926" y="110"/>
                  </a:lnTo>
                  <a:lnTo>
                    <a:pt x="921" y="111"/>
                  </a:lnTo>
                  <a:lnTo>
                    <a:pt x="921" y="111"/>
                  </a:lnTo>
                  <a:lnTo>
                    <a:pt x="919" y="112"/>
                  </a:lnTo>
                  <a:lnTo>
                    <a:pt x="915" y="112"/>
                  </a:lnTo>
                  <a:lnTo>
                    <a:pt x="909" y="114"/>
                  </a:lnTo>
                  <a:lnTo>
                    <a:pt x="906" y="117"/>
                  </a:lnTo>
                  <a:lnTo>
                    <a:pt x="906" y="117"/>
                  </a:lnTo>
                  <a:lnTo>
                    <a:pt x="903" y="119"/>
                  </a:lnTo>
                  <a:lnTo>
                    <a:pt x="901" y="121"/>
                  </a:lnTo>
                  <a:lnTo>
                    <a:pt x="892" y="121"/>
                  </a:lnTo>
                  <a:lnTo>
                    <a:pt x="892" y="121"/>
                  </a:lnTo>
                  <a:lnTo>
                    <a:pt x="887" y="121"/>
                  </a:lnTo>
                  <a:lnTo>
                    <a:pt x="883" y="119"/>
                  </a:lnTo>
                  <a:lnTo>
                    <a:pt x="878" y="117"/>
                  </a:lnTo>
                  <a:lnTo>
                    <a:pt x="877" y="114"/>
                  </a:lnTo>
                  <a:lnTo>
                    <a:pt x="877" y="114"/>
                  </a:lnTo>
                  <a:lnTo>
                    <a:pt x="877" y="111"/>
                  </a:lnTo>
                  <a:lnTo>
                    <a:pt x="876" y="108"/>
                  </a:lnTo>
                  <a:lnTo>
                    <a:pt x="874" y="104"/>
                  </a:lnTo>
                  <a:lnTo>
                    <a:pt x="874" y="101"/>
                  </a:lnTo>
                  <a:lnTo>
                    <a:pt x="874" y="101"/>
                  </a:lnTo>
                  <a:lnTo>
                    <a:pt x="873" y="99"/>
                  </a:lnTo>
                  <a:lnTo>
                    <a:pt x="870" y="97"/>
                  </a:lnTo>
                  <a:lnTo>
                    <a:pt x="867" y="96"/>
                  </a:lnTo>
                  <a:lnTo>
                    <a:pt x="863" y="93"/>
                  </a:lnTo>
                  <a:lnTo>
                    <a:pt x="863" y="93"/>
                  </a:lnTo>
                  <a:lnTo>
                    <a:pt x="859" y="90"/>
                  </a:lnTo>
                  <a:lnTo>
                    <a:pt x="853" y="87"/>
                  </a:lnTo>
                  <a:lnTo>
                    <a:pt x="849" y="86"/>
                  </a:lnTo>
                  <a:lnTo>
                    <a:pt x="848" y="86"/>
                  </a:lnTo>
                  <a:lnTo>
                    <a:pt x="848" y="86"/>
                  </a:lnTo>
                  <a:lnTo>
                    <a:pt x="845" y="86"/>
                  </a:lnTo>
                  <a:lnTo>
                    <a:pt x="842" y="85"/>
                  </a:lnTo>
                  <a:lnTo>
                    <a:pt x="837" y="82"/>
                  </a:lnTo>
                  <a:lnTo>
                    <a:pt x="833" y="81"/>
                  </a:lnTo>
                  <a:lnTo>
                    <a:pt x="833" y="81"/>
                  </a:lnTo>
                  <a:lnTo>
                    <a:pt x="827" y="79"/>
                  </a:lnTo>
                  <a:lnTo>
                    <a:pt x="826" y="78"/>
                  </a:lnTo>
                  <a:lnTo>
                    <a:pt x="826" y="75"/>
                  </a:lnTo>
                  <a:lnTo>
                    <a:pt x="826" y="72"/>
                  </a:lnTo>
                  <a:lnTo>
                    <a:pt x="826" y="72"/>
                  </a:lnTo>
                  <a:lnTo>
                    <a:pt x="826" y="68"/>
                  </a:lnTo>
                  <a:lnTo>
                    <a:pt x="823" y="64"/>
                  </a:lnTo>
                  <a:lnTo>
                    <a:pt x="819" y="53"/>
                  </a:lnTo>
                  <a:lnTo>
                    <a:pt x="819" y="53"/>
                  </a:lnTo>
                  <a:lnTo>
                    <a:pt x="816" y="50"/>
                  </a:lnTo>
                  <a:lnTo>
                    <a:pt x="813" y="46"/>
                  </a:lnTo>
                  <a:lnTo>
                    <a:pt x="810" y="42"/>
                  </a:lnTo>
                  <a:lnTo>
                    <a:pt x="809" y="35"/>
                  </a:lnTo>
                  <a:lnTo>
                    <a:pt x="809" y="35"/>
                  </a:lnTo>
                  <a:lnTo>
                    <a:pt x="806" y="28"/>
                  </a:lnTo>
                  <a:lnTo>
                    <a:pt x="803" y="25"/>
                  </a:lnTo>
                  <a:lnTo>
                    <a:pt x="802" y="24"/>
                  </a:lnTo>
                  <a:lnTo>
                    <a:pt x="802" y="21"/>
                  </a:lnTo>
                  <a:lnTo>
                    <a:pt x="802" y="21"/>
                  </a:lnTo>
                  <a:lnTo>
                    <a:pt x="802" y="18"/>
                  </a:lnTo>
                  <a:lnTo>
                    <a:pt x="801" y="17"/>
                  </a:lnTo>
                  <a:lnTo>
                    <a:pt x="798" y="14"/>
                  </a:lnTo>
                  <a:lnTo>
                    <a:pt x="794" y="11"/>
                  </a:lnTo>
                  <a:lnTo>
                    <a:pt x="791" y="8"/>
                  </a:lnTo>
                  <a:lnTo>
                    <a:pt x="791" y="8"/>
                  </a:lnTo>
                  <a:lnTo>
                    <a:pt x="788" y="7"/>
                  </a:lnTo>
                  <a:lnTo>
                    <a:pt x="784" y="6"/>
                  </a:lnTo>
                  <a:lnTo>
                    <a:pt x="778" y="6"/>
                  </a:lnTo>
                  <a:lnTo>
                    <a:pt x="773" y="3"/>
                  </a:lnTo>
                  <a:lnTo>
                    <a:pt x="773" y="3"/>
                  </a:lnTo>
                  <a:lnTo>
                    <a:pt x="767" y="1"/>
                  </a:lnTo>
                  <a:lnTo>
                    <a:pt x="763" y="1"/>
                  </a:lnTo>
                  <a:lnTo>
                    <a:pt x="759" y="1"/>
                  </a:lnTo>
                  <a:lnTo>
                    <a:pt x="755" y="0"/>
                  </a:lnTo>
                  <a:lnTo>
                    <a:pt x="755" y="0"/>
                  </a:lnTo>
                  <a:lnTo>
                    <a:pt x="748" y="0"/>
                  </a:lnTo>
                  <a:lnTo>
                    <a:pt x="741" y="0"/>
                  </a:lnTo>
                  <a:lnTo>
                    <a:pt x="731" y="3"/>
                  </a:lnTo>
                  <a:lnTo>
                    <a:pt x="731" y="3"/>
                  </a:lnTo>
                  <a:lnTo>
                    <a:pt x="723" y="3"/>
                  </a:lnTo>
                  <a:lnTo>
                    <a:pt x="717" y="4"/>
                  </a:lnTo>
                  <a:lnTo>
                    <a:pt x="715" y="6"/>
                  </a:lnTo>
                  <a:lnTo>
                    <a:pt x="712" y="8"/>
                  </a:lnTo>
                  <a:lnTo>
                    <a:pt x="712" y="8"/>
                  </a:lnTo>
                  <a:lnTo>
                    <a:pt x="709" y="14"/>
                  </a:lnTo>
                  <a:lnTo>
                    <a:pt x="709" y="17"/>
                  </a:lnTo>
                  <a:lnTo>
                    <a:pt x="710" y="17"/>
                  </a:lnTo>
                  <a:lnTo>
                    <a:pt x="713" y="17"/>
                  </a:lnTo>
                  <a:lnTo>
                    <a:pt x="713" y="17"/>
                  </a:lnTo>
                  <a:lnTo>
                    <a:pt x="715" y="18"/>
                  </a:lnTo>
                  <a:lnTo>
                    <a:pt x="716" y="21"/>
                  </a:lnTo>
                  <a:lnTo>
                    <a:pt x="717" y="28"/>
                  </a:lnTo>
                  <a:lnTo>
                    <a:pt x="717" y="28"/>
                  </a:lnTo>
                  <a:lnTo>
                    <a:pt x="717" y="31"/>
                  </a:lnTo>
                  <a:lnTo>
                    <a:pt x="715" y="33"/>
                  </a:lnTo>
                  <a:lnTo>
                    <a:pt x="710" y="36"/>
                  </a:lnTo>
                  <a:lnTo>
                    <a:pt x="710" y="36"/>
                  </a:lnTo>
                  <a:lnTo>
                    <a:pt x="709" y="37"/>
                  </a:lnTo>
                  <a:lnTo>
                    <a:pt x="705" y="42"/>
                  </a:lnTo>
                  <a:lnTo>
                    <a:pt x="701" y="51"/>
                  </a:lnTo>
                  <a:lnTo>
                    <a:pt x="701" y="51"/>
                  </a:lnTo>
                  <a:lnTo>
                    <a:pt x="697" y="60"/>
                  </a:lnTo>
                  <a:lnTo>
                    <a:pt x="694" y="64"/>
                  </a:lnTo>
                  <a:lnTo>
                    <a:pt x="694" y="67"/>
                  </a:lnTo>
                  <a:lnTo>
                    <a:pt x="694" y="67"/>
                  </a:lnTo>
                  <a:lnTo>
                    <a:pt x="694" y="69"/>
                  </a:lnTo>
                  <a:lnTo>
                    <a:pt x="692" y="71"/>
                  </a:lnTo>
                  <a:lnTo>
                    <a:pt x="687" y="74"/>
                  </a:lnTo>
                  <a:lnTo>
                    <a:pt x="687" y="74"/>
                  </a:lnTo>
                  <a:lnTo>
                    <a:pt x="679" y="78"/>
                  </a:lnTo>
                  <a:lnTo>
                    <a:pt x="672" y="82"/>
                  </a:lnTo>
                  <a:lnTo>
                    <a:pt x="672" y="82"/>
                  </a:lnTo>
                  <a:lnTo>
                    <a:pt x="663" y="82"/>
                  </a:lnTo>
                  <a:lnTo>
                    <a:pt x="659" y="79"/>
                  </a:lnTo>
                  <a:lnTo>
                    <a:pt x="656" y="78"/>
                  </a:lnTo>
                  <a:lnTo>
                    <a:pt x="656" y="78"/>
                  </a:lnTo>
                  <a:lnTo>
                    <a:pt x="655" y="76"/>
                  </a:lnTo>
                  <a:lnTo>
                    <a:pt x="654" y="75"/>
                  </a:lnTo>
                  <a:lnTo>
                    <a:pt x="641" y="100"/>
                  </a:lnTo>
                  <a:lnTo>
                    <a:pt x="640" y="108"/>
                  </a:lnTo>
                  <a:lnTo>
                    <a:pt x="640" y="108"/>
                  </a:lnTo>
                  <a:lnTo>
                    <a:pt x="637" y="110"/>
                  </a:lnTo>
                  <a:lnTo>
                    <a:pt x="635" y="112"/>
                  </a:lnTo>
                  <a:lnTo>
                    <a:pt x="638" y="117"/>
                  </a:lnTo>
                  <a:lnTo>
                    <a:pt x="638" y="117"/>
                  </a:lnTo>
                  <a:lnTo>
                    <a:pt x="641" y="119"/>
                  </a:lnTo>
                  <a:lnTo>
                    <a:pt x="644" y="119"/>
                  </a:lnTo>
                  <a:lnTo>
                    <a:pt x="648" y="118"/>
                  </a:lnTo>
                  <a:lnTo>
                    <a:pt x="654" y="117"/>
                  </a:lnTo>
                  <a:lnTo>
                    <a:pt x="654" y="117"/>
                  </a:lnTo>
                  <a:lnTo>
                    <a:pt x="659" y="118"/>
                  </a:lnTo>
                  <a:lnTo>
                    <a:pt x="663" y="119"/>
                  </a:lnTo>
                  <a:lnTo>
                    <a:pt x="667" y="121"/>
                  </a:lnTo>
                  <a:lnTo>
                    <a:pt x="667" y="121"/>
                  </a:lnTo>
                  <a:lnTo>
                    <a:pt x="669" y="119"/>
                  </a:lnTo>
                  <a:lnTo>
                    <a:pt x="669" y="119"/>
                  </a:lnTo>
                  <a:lnTo>
                    <a:pt x="672" y="115"/>
                  </a:lnTo>
                  <a:lnTo>
                    <a:pt x="676" y="114"/>
                  </a:lnTo>
                  <a:lnTo>
                    <a:pt x="680" y="114"/>
                  </a:lnTo>
                  <a:lnTo>
                    <a:pt x="684" y="117"/>
                  </a:lnTo>
                  <a:lnTo>
                    <a:pt x="684" y="117"/>
                  </a:lnTo>
                  <a:lnTo>
                    <a:pt x="690" y="122"/>
                  </a:lnTo>
                  <a:lnTo>
                    <a:pt x="697" y="128"/>
                  </a:lnTo>
                  <a:lnTo>
                    <a:pt x="702" y="133"/>
                  </a:lnTo>
                  <a:lnTo>
                    <a:pt x="704" y="136"/>
                  </a:lnTo>
                  <a:lnTo>
                    <a:pt x="704" y="139"/>
                  </a:lnTo>
                  <a:lnTo>
                    <a:pt x="704" y="139"/>
                  </a:lnTo>
                  <a:lnTo>
                    <a:pt x="704" y="140"/>
                  </a:lnTo>
                  <a:lnTo>
                    <a:pt x="702" y="142"/>
                  </a:lnTo>
                  <a:lnTo>
                    <a:pt x="698" y="142"/>
                  </a:lnTo>
                  <a:lnTo>
                    <a:pt x="692" y="142"/>
                  </a:lnTo>
                  <a:lnTo>
                    <a:pt x="688" y="140"/>
                  </a:lnTo>
                  <a:lnTo>
                    <a:pt x="688" y="140"/>
                  </a:lnTo>
                  <a:lnTo>
                    <a:pt x="683" y="140"/>
                  </a:lnTo>
                  <a:lnTo>
                    <a:pt x="679" y="142"/>
                  </a:lnTo>
                  <a:lnTo>
                    <a:pt x="673" y="143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3" y="144"/>
                  </a:lnTo>
                  <a:lnTo>
                    <a:pt x="658" y="146"/>
                  </a:lnTo>
                  <a:lnTo>
                    <a:pt x="654" y="149"/>
                  </a:lnTo>
                  <a:lnTo>
                    <a:pt x="648" y="153"/>
                  </a:lnTo>
                  <a:lnTo>
                    <a:pt x="648" y="153"/>
                  </a:lnTo>
                  <a:lnTo>
                    <a:pt x="645" y="157"/>
                  </a:lnTo>
                  <a:lnTo>
                    <a:pt x="642" y="161"/>
                  </a:lnTo>
                  <a:lnTo>
                    <a:pt x="640" y="164"/>
                  </a:lnTo>
                  <a:lnTo>
                    <a:pt x="634" y="165"/>
                  </a:lnTo>
                  <a:lnTo>
                    <a:pt x="634" y="165"/>
                  </a:lnTo>
                  <a:lnTo>
                    <a:pt x="623" y="167"/>
                  </a:lnTo>
                  <a:lnTo>
                    <a:pt x="617" y="168"/>
                  </a:lnTo>
                  <a:lnTo>
                    <a:pt x="612" y="172"/>
                  </a:lnTo>
                  <a:lnTo>
                    <a:pt x="612" y="172"/>
                  </a:lnTo>
                  <a:lnTo>
                    <a:pt x="604" y="176"/>
                  </a:lnTo>
                  <a:lnTo>
                    <a:pt x="597" y="178"/>
                  </a:lnTo>
                  <a:lnTo>
                    <a:pt x="591" y="176"/>
                  </a:lnTo>
                  <a:lnTo>
                    <a:pt x="586" y="175"/>
                  </a:lnTo>
                  <a:lnTo>
                    <a:pt x="586" y="175"/>
                  </a:lnTo>
                  <a:lnTo>
                    <a:pt x="583" y="174"/>
                  </a:lnTo>
                  <a:lnTo>
                    <a:pt x="579" y="174"/>
                  </a:lnTo>
                  <a:lnTo>
                    <a:pt x="574" y="175"/>
                  </a:lnTo>
                  <a:lnTo>
                    <a:pt x="572" y="179"/>
                  </a:lnTo>
                  <a:lnTo>
                    <a:pt x="572" y="179"/>
                  </a:lnTo>
                  <a:lnTo>
                    <a:pt x="570" y="180"/>
                  </a:lnTo>
                  <a:lnTo>
                    <a:pt x="570" y="183"/>
                  </a:lnTo>
                  <a:lnTo>
                    <a:pt x="572" y="187"/>
                  </a:lnTo>
                  <a:lnTo>
                    <a:pt x="574" y="192"/>
                  </a:lnTo>
                  <a:lnTo>
                    <a:pt x="574" y="197"/>
                  </a:lnTo>
                  <a:lnTo>
                    <a:pt x="574" y="197"/>
                  </a:lnTo>
                  <a:lnTo>
                    <a:pt x="574" y="200"/>
                  </a:lnTo>
                  <a:lnTo>
                    <a:pt x="573" y="201"/>
                  </a:lnTo>
                  <a:lnTo>
                    <a:pt x="567" y="204"/>
                  </a:lnTo>
                  <a:lnTo>
                    <a:pt x="562" y="207"/>
                  </a:lnTo>
                  <a:lnTo>
                    <a:pt x="556" y="212"/>
                  </a:lnTo>
                  <a:lnTo>
                    <a:pt x="556" y="212"/>
                  </a:lnTo>
                  <a:lnTo>
                    <a:pt x="549" y="218"/>
                  </a:lnTo>
                  <a:lnTo>
                    <a:pt x="541" y="222"/>
                  </a:lnTo>
                  <a:lnTo>
                    <a:pt x="534" y="224"/>
                  </a:lnTo>
                  <a:lnTo>
                    <a:pt x="527" y="224"/>
                  </a:lnTo>
                  <a:lnTo>
                    <a:pt x="527" y="224"/>
                  </a:lnTo>
                  <a:lnTo>
                    <a:pt x="512" y="222"/>
                  </a:lnTo>
                  <a:lnTo>
                    <a:pt x="502" y="222"/>
                  </a:lnTo>
                  <a:lnTo>
                    <a:pt x="498" y="224"/>
                  </a:lnTo>
                  <a:lnTo>
                    <a:pt x="492" y="225"/>
                  </a:lnTo>
                  <a:lnTo>
                    <a:pt x="492" y="225"/>
                  </a:lnTo>
                  <a:lnTo>
                    <a:pt x="483" y="230"/>
                  </a:lnTo>
                  <a:lnTo>
                    <a:pt x="476" y="235"/>
                  </a:lnTo>
                  <a:lnTo>
                    <a:pt x="470" y="239"/>
                  </a:lnTo>
                  <a:lnTo>
                    <a:pt x="465" y="239"/>
                  </a:lnTo>
                  <a:lnTo>
                    <a:pt x="465" y="239"/>
                  </a:lnTo>
                  <a:lnTo>
                    <a:pt x="462" y="237"/>
                  </a:lnTo>
                  <a:lnTo>
                    <a:pt x="461" y="236"/>
                  </a:lnTo>
                  <a:lnTo>
                    <a:pt x="458" y="233"/>
                  </a:lnTo>
                  <a:lnTo>
                    <a:pt x="454" y="233"/>
                  </a:lnTo>
                  <a:lnTo>
                    <a:pt x="454" y="233"/>
                  </a:lnTo>
                  <a:lnTo>
                    <a:pt x="448" y="233"/>
                  </a:lnTo>
                  <a:lnTo>
                    <a:pt x="444" y="233"/>
                  </a:lnTo>
                  <a:lnTo>
                    <a:pt x="437" y="229"/>
                  </a:lnTo>
                  <a:lnTo>
                    <a:pt x="437" y="229"/>
                  </a:lnTo>
                  <a:lnTo>
                    <a:pt x="433" y="228"/>
                  </a:lnTo>
                  <a:lnTo>
                    <a:pt x="430" y="228"/>
                  </a:lnTo>
                  <a:lnTo>
                    <a:pt x="426" y="228"/>
                  </a:lnTo>
                  <a:lnTo>
                    <a:pt x="420" y="225"/>
                  </a:lnTo>
                  <a:lnTo>
                    <a:pt x="420" y="225"/>
                  </a:lnTo>
                  <a:lnTo>
                    <a:pt x="413" y="222"/>
                  </a:lnTo>
                  <a:lnTo>
                    <a:pt x="405" y="221"/>
                  </a:lnTo>
                  <a:lnTo>
                    <a:pt x="391" y="219"/>
                  </a:lnTo>
                  <a:lnTo>
                    <a:pt x="391" y="219"/>
                  </a:lnTo>
                  <a:lnTo>
                    <a:pt x="373" y="218"/>
                  </a:lnTo>
                  <a:lnTo>
                    <a:pt x="354" y="218"/>
                  </a:lnTo>
                  <a:lnTo>
                    <a:pt x="354" y="218"/>
                  </a:lnTo>
                  <a:lnTo>
                    <a:pt x="341" y="218"/>
                  </a:lnTo>
                  <a:lnTo>
                    <a:pt x="337" y="218"/>
                  </a:lnTo>
                  <a:lnTo>
                    <a:pt x="336" y="217"/>
                  </a:lnTo>
                  <a:lnTo>
                    <a:pt x="334" y="217"/>
                  </a:lnTo>
                  <a:lnTo>
                    <a:pt x="334" y="217"/>
                  </a:lnTo>
                  <a:lnTo>
                    <a:pt x="333" y="212"/>
                  </a:lnTo>
                  <a:lnTo>
                    <a:pt x="330" y="210"/>
                  </a:lnTo>
                  <a:lnTo>
                    <a:pt x="327" y="205"/>
                  </a:lnTo>
                  <a:lnTo>
                    <a:pt x="324" y="200"/>
                  </a:lnTo>
                  <a:lnTo>
                    <a:pt x="324" y="200"/>
                  </a:lnTo>
                  <a:lnTo>
                    <a:pt x="323" y="194"/>
                  </a:lnTo>
                  <a:lnTo>
                    <a:pt x="320" y="190"/>
                  </a:lnTo>
                  <a:lnTo>
                    <a:pt x="316" y="187"/>
                  </a:lnTo>
                  <a:lnTo>
                    <a:pt x="313" y="186"/>
                  </a:lnTo>
                  <a:lnTo>
                    <a:pt x="313" y="186"/>
                  </a:lnTo>
                  <a:lnTo>
                    <a:pt x="309" y="185"/>
                  </a:lnTo>
                  <a:lnTo>
                    <a:pt x="308" y="183"/>
                  </a:lnTo>
                  <a:lnTo>
                    <a:pt x="305" y="180"/>
                  </a:lnTo>
                  <a:lnTo>
                    <a:pt x="302" y="179"/>
                  </a:lnTo>
                  <a:lnTo>
                    <a:pt x="302" y="179"/>
                  </a:lnTo>
                  <a:lnTo>
                    <a:pt x="301" y="179"/>
                  </a:lnTo>
                  <a:lnTo>
                    <a:pt x="300" y="176"/>
                  </a:lnTo>
                  <a:lnTo>
                    <a:pt x="295" y="174"/>
                  </a:lnTo>
                  <a:lnTo>
                    <a:pt x="291" y="172"/>
                  </a:lnTo>
                  <a:lnTo>
                    <a:pt x="291" y="172"/>
                  </a:lnTo>
                  <a:lnTo>
                    <a:pt x="283" y="172"/>
                  </a:lnTo>
                  <a:lnTo>
                    <a:pt x="272" y="171"/>
                  </a:lnTo>
                  <a:lnTo>
                    <a:pt x="262" y="168"/>
                  </a:lnTo>
                  <a:lnTo>
                    <a:pt x="258" y="167"/>
                  </a:lnTo>
                  <a:lnTo>
                    <a:pt x="256" y="164"/>
                  </a:lnTo>
                  <a:lnTo>
                    <a:pt x="256" y="164"/>
                  </a:lnTo>
                  <a:lnTo>
                    <a:pt x="255" y="160"/>
                  </a:lnTo>
                  <a:lnTo>
                    <a:pt x="256" y="157"/>
                  </a:lnTo>
                  <a:lnTo>
                    <a:pt x="258" y="154"/>
                  </a:lnTo>
                  <a:lnTo>
                    <a:pt x="259" y="151"/>
                  </a:lnTo>
                  <a:lnTo>
                    <a:pt x="259" y="151"/>
                  </a:lnTo>
                  <a:lnTo>
                    <a:pt x="261" y="142"/>
                  </a:lnTo>
                  <a:lnTo>
                    <a:pt x="262" y="137"/>
                  </a:lnTo>
                  <a:lnTo>
                    <a:pt x="261" y="136"/>
                  </a:lnTo>
                  <a:lnTo>
                    <a:pt x="261" y="136"/>
                  </a:lnTo>
                  <a:lnTo>
                    <a:pt x="255" y="131"/>
                  </a:lnTo>
                  <a:lnTo>
                    <a:pt x="254" y="126"/>
                  </a:lnTo>
                  <a:lnTo>
                    <a:pt x="252" y="124"/>
                  </a:lnTo>
                  <a:lnTo>
                    <a:pt x="252" y="124"/>
                  </a:lnTo>
                  <a:lnTo>
                    <a:pt x="251" y="119"/>
                  </a:lnTo>
                  <a:lnTo>
                    <a:pt x="247" y="117"/>
                  </a:lnTo>
                  <a:lnTo>
                    <a:pt x="243" y="114"/>
                  </a:lnTo>
                  <a:lnTo>
                    <a:pt x="238" y="112"/>
                  </a:lnTo>
                  <a:lnTo>
                    <a:pt x="238" y="112"/>
                  </a:lnTo>
                  <a:lnTo>
                    <a:pt x="234" y="112"/>
                  </a:lnTo>
                  <a:lnTo>
                    <a:pt x="231" y="110"/>
                  </a:lnTo>
                  <a:lnTo>
                    <a:pt x="225" y="106"/>
                  </a:lnTo>
                  <a:lnTo>
                    <a:pt x="225" y="106"/>
                  </a:lnTo>
                  <a:lnTo>
                    <a:pt x="218" y="100"/>
                  </a:lnTo>
                  <a:lnTo>
                    <a:pt x="215" y="97"/>
                  </a:lnTo>
                  <a:lnTo>
                    <a:pt x="213" y="90"/>
                  </a:lnTo>
                  <a:lnTo>
                    <a:pt x="213" y="90"/>
                  </a:lnTo>
                  <a:lnTo>
                    <a:pt x="213" y="89"/>
                  </a:lnTo>
                  <a:lnTo>
                    <a:pt x="213" y="89"/>
                  </a:lnTo>
                  <a:lnTo>
                    <a:pt x="206" y="87"/>
                  </a:lnTo>
                  <a:lnTo>
                    <a:pt x="206" y="87"/>
                  </a:lnTo>
                  <a:lnTo>
                    <a:pt x="205" y="87"/>
                  </a:lnTo>
                  <a:lnTo>
                    <a:pt x="202" y="85"/>
                  </a:lnTo>
                  <a:lnTo>
                    <a:pt x="202" y="85"/>
                  </a:lnTo>
                  <a:lnTo>
                    <a:pt x="201" y="89"/>
                  </a:lnTo>
                  <a:lnTo>
                    <a:pt x="200" y="90"/>
                  </a:lnTo>
                  <a:lnTo>
                    <a:pt x="198" y="93"/>
                  </a:lnTo>
                  <a:lnTo>
                    <a:pt x="197" y="96"/>
                  </a:lnTo>
                  <a:lnTo>
                    <a:pt x="197" y="96"/>
                  </a:lnTo>
                  <a:lnTo>
                    <a:pt x="197" y="99"/>
                  </a:lnTo>
                  <a:lnTo>
                    <a:pt x="195" y="101"/>
                  </a:lnTo>
                  <a:lnTo>
                    <a:pt x="194" y="103"/>
                  </a:lnTo>
                  <a:lnTo>
                    <a:pt x="191" y="104"/>
                  </a:lnTo>
                  <a:lnTo>
                    <a:pt x="191" y="104"/>
                  </a:lnTo>
                  <a:lnTo>
                    <a:pt x="187" y="104"/>
                  </a:lnTo>
                  <a:lnTo>
                    <a:pt x="184" y="107"/>
                  </a:lnTo>
                  <a:lnTo>
                    <a:pt x="182" y="111"/>
                  </a:lnTo>
                  <a:lnTo>
                    <a:pt x="180" y="115"/>
                  </a:lnTo>
                  <a:lnTo>
                    <a:pt x="180" y="115"/>
                  </a:lnTo>
                  <a:lnTo>
                    <a:pt x="182" y="121"/>
                  </a:lnTo>
                  <a:lnTo>
                    <a:pt x="182" y="124"/>
                  </a:lnTo>
                  <a:lnTo>
                    <a:pt x="183" y="126"/>
                  </a:lnTo>
                  <a:lnTo>
                    <a:pt x="183" y="128"/>
                  </a:lnTo>
                  <a:lnTo>
                    <a:pt x="183" y="128"/>
                  </a:lnTo>
                  <a:lnTo>
                    <a:pt x="180" y="131"/>
                  </a:lnTo>
                  <a:lnTo>
                    <a:pt x="176" y="133"/>
                  </a:lnTo>
                  <a:lnTo>
                    <a:pt x="172" y="135"/>
                  </a:lnTo>
                  <a:lnTo>
                    <a:pt x="168" y="133"/>
                  </a:lnTo>
                  <a:lnTo>
                    <a:pt x="168" y="133"/>
                  </a:lnTo>
                  <a:lnTo>
                    <a:pt x="161" y="133"/>
                  </a:lnTo>
                  <a:lnTo>
                    <a:pt x="154" y="132"/>
                  </a:lnTo>
                  <a:lnTo>
                    <a:pt x="154" y="132"/>
                  </a:lnTo>
                  <a:lnTo>
                    <a:pt x="150" y="132"/>
                  </a:lnTo>
                  <a:lnTo>
                    <a:pt x="147" y="129"/>
                  </a:lnTo>
                  <a:lnTo>
                    <a:pt x="144" y="129"/>
                  </a:lnTo>
                  <a:lnTo>
                    <a:pt x="143" y="132"/>
                  </a:lnTo>
                  <a:lnTo>
                    <a:pt x="143" y="132"/>
                  </a:lnTo>
                  <a:lnTo>
                    <a:pt x="137" y="150"/>
                  </a:lnTo>
                  <a:lnTo>
                    <a:pt x="133" y="158"/>
                  </a:lnTo>
                  <a:lnTo>
                    <a:pt x="133" y="161"/>
                  </a:lnTo>
                  <a:lnTo>
                    <a:pt x="133" y="162"/>
                  </a:lnTo>
                  <a:lnTo>
                    <a:pt x="133" y="162"/>
                  </a:lnTo>
                  <a:lnTo>
                    <a:pt x="134" y="165"/>
                  </a:lnTo>
                  <a:lnTo>
                    <a:pt x="136" y="167"/>
                  </a:lnTo>
                  <a:lnTo>
                    <a:pt x="136" y="169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27" y="169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19" y="167"/>
                  </a:lnTo>
                  <a:lnTo>
                    <a:pt x="116" y="168"/>
                  </a:lnTo>
                  <a:lnTo>
                    <a:pt x="112" y="169"/>
                  </a:lnTo>
                  <a:lnTo>
                    <a:pt x="108" y="169"/>
                  </a:lnTo>
                  <a:lnTo>
                    <a:pt x="108" y="169"/>
                  </a:lnTo>
                  <a:lnTo>
                    <a:pt x="101" y="172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98" y="176"/>
                  </a:lnTo>
                  <a:lnTo>
                    <a:pt x="98" y="176"/>
                  </a:lnTo>
                  <a:lnTo>
                    <a:pt x="100" y="179"/>
                  </a:lnTo>
                  <a:lnTo>
                    <a:pt x="101" y="182"/>
                  </a:lnTo>
                  <a:lnTo>
                    <a:pt x="102" y="190"/>
                  </a:lnTo>
                  <a:lnTo>
                    <a:pt x="102" y="190"/>
                  </a:lnTo>
                  <a:lnTo>
                    <a:pt x="102" y="193"/>
                  </a:lnTo>
                  <a:lnTo>
                    <a:pt x="105" y="199"/>
                  </a:lnTo>
                  <a:lnTo>
                    <a:pt x="108" y="203"/>
                  </a:lnTo>
                  <a:lnTo>
                    <a:pt x="108" y="207"/>
                  </a:lnTo>
                  <a:lnTo>
                    <a:pt x="108" y="207"/>
                  </a:lnTo>
                  <a:lnTo>
                    <a:pt x="107" y="210"/>
                  </a:lnTo>
                  <a:lnTo>
                    <a:pt x="104" y="212"/>
                  </a:lnTo>
                  <a:lnTo>
                    <a:pt x="101" y="215"/>
                  </a:lnTo>
                  <a:lnTo>
                    <a:pt x="100" y="219"/>
                  </a:lnTo>
                  <a:lnTo>
                    <a:pt x="100" y="219"/>
                  </a:lnTo>
                  <a:lnTo>
                    <a:pt x="100" y="225"/>
                  </a:lnTo>
                  <a:lnTo>
                    <a:pt x="100" y="228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3" y="232"/>
                  </a:lnTo>
                  <a:lnTo>
                    <a:pt x="84" y="236"/>
                  </a:lnTo>
                  <a:lnTo>
                    <a:pt x="84" y="236"/>
                  </a:lnTo>
                  <a:lnTo>
                    <a:pt x="77" y="239"/>
                  </a:lnTo>
                  <a:lnTo>
                    <a:pt x="75" y="240"/>
                  </a:lnTo>
                  <a:lnTo>
                    <a:pt x="73" y="243"/>
                  </a:lnTo>
                  <a:lnTo>
                    <a:pt x="73" y="243"/>
                  </a:lnTo>
                  <a:lnTo>
                    <a:pt x="70" y="246"/>
                  </a:lnTo>
                  <a:lnTo>
                    <a:pt x="68" y="247"/>
                  </a:lnTo>
                  <a:lnTo>
                    <a:pt x="65" y="250"/>
                  </a:lnTo>
                  <a:lnTo>
                    <a:pt x="61" y="250"/>
                  </a:lnTo>
                  <a:lnTo>
                    <a:pt x="61" y="250"/>
                  </a:lnTo>
                  <a:lnTo>
                    <a:pt x="52" y="248"/>
                  </a:lnTo>
                  <a:lnTo>
                    <a:pt x="50" y="250"/>
                  </a:lnTo>
                  <a:lnTo>
                    <a:pt x="45" y="254"/>
                  </a:lnTo>
                  <a:lnTo>
                    <a:pt x="45" y="254"/>
                  </a:lnTo>
                  <a:lnTo>
                    <a:pt x="43" y="257"/>
                  </a:lnTo>
                  <a:lnTo>
                    <a:pt x="41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34" y="261"/>
                  </a:lnTo>
                  <a:lnTo>
                    <a:pt x="32" y="260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5" y="257"/>
                  </a:lnTo>
                  <a:lnTo>
                    <a:pt x="22" y="258"/>
                  </a:lnTo>
                  <a:lnTo>
                    <a:pt x="18" y="260"/>
                  </a:lnTo>
                  <a:lnTo>
                    <a:pt x="18" y="260"/>
                  </a:lnTo>
                  <a:lnTo>
                    <a:pt x="15" y="261"/>
                  </a:lnTo>
                  <a:lnTo>
                    <a:pt x="14" y="262"/>
                  </a:lnTo>
                  <a:lnTo>
                    <a:pt x="11" y="264"/>
                  </a:lnTo>
                  <a:lnTo>
                    <a:pt x="9" y="265"/>
                  </a:lnTo>
                  <a:lnTo>
                    <a:pt x="9" y="265"/>
                  </a:lnTo>
                  <a:lnTo>
                    <a:pt x="4" y="267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2" y="269"/>
                  </a:lnTo>
                  <a:lnTo>
                    <a:pt x="1" y="273"/>
                  </a:lnTo>
                  <a:lnTo>
                    <a:pt x="0" y="278"/>
                  </a:lnTo>
                  <a:lnTo>
                    <a:pt x="0" y="278"/>
                  </a:lnTo>
                  <a:lnTo>
                    <a:pt x="1" y="292"/>
                  </a:lnTo>
                  <a:lnTo>
                    <a:pt x="1" y="292"/>
                  </a:lnTo>
                  <a:lnTo>
                    <a:pt x="9" y="294"/>
                  </a:lnTo>
                  <a:lnTo>
                    <a:pt x="15" y="297"/>
                  </a:lnTo>
                  <a:lnTo>
                    <a:pt x="16" y="298"/>
                  </a:lnTo>
                  <a:lnTo>
                    <a:pt x="18" y="301"/>
                  </a:lnTo>
                  <a:lnTo>
                    <a:pt x="18" y="301"/>
                  </a:lnTo>
                  <a:lnTo>
                    <a:pt x="20" y="322"/>
                  </a:lnTo>
                  <a:lnTo>
                    <a:pt x="20" y="322"/>
                  </a:lnTo>
                  <a:lnTo>
                    <a:pt x="20" y="322"/>
                  </a:lnTo>
                  <a:lnTo>
                    <a:pt x="20" y="322"/>
                  </a:lnTo>
                  <a:lnTo>
                    <a:pt x="29" y="329"/>
                  </a:lnTo>
                  <a:lnTo>
                    <a:pt x="33" y="332"/>
                  </a:lnTo>
                  <a:lnTo>
                    <a:pt x="34" y="333"/>
                  </a:lnTo>
                  <a:lnTo>
                    <a:pt x="34" y="333"/>
                  </a:lnTo>
                  <a:lnTo>
                    <a:pt x="36" y="339"/>
                  </a:lnTo>
                  <a:lnTo>
                    <a:pt x="37" y="341"/>
                  </a:lnTo>
                  <a:lnTo>
                    <a:pt x="43" y="346"/>
                  </a:lnTo>
                  <a:lnTo>
                    <a:pt x="43" y="346"/>
                  </a:lnTo>
                  <a:lnTo>
                    <a:pt x="54" y="351"/>
                  </a:lnTo>
                  <a:lnTo>
                    <a:pt x="54" y="351"/>
                  </a:lnTo>
                  <a:lnTo>
                    <a:pt x="55" y="350"/>
                  </a:lnTo>
                  <a:lnTo>
                    <a:pt x="61" y="350"/>
                  </a:lnTo>
                  <a:lnTo>
                    <a:pt x="61" y="350"/>
                  </a:lnTo>
                  <a:lnTo>
                    <a:pt x="65" y="353"/>
                  </a:lnTo>
                  <a:lnTo>
                    <a:pt x="65" y="353"/>
                  </a:lnTo>
                  <a:lnTo>
                    <a:pt x="68" y="348"/>
                  </a:lnTo>
                  <a:lnTo>
                    <a:pt x="72" y="346"/>
                  </a:lnTo>
                  <a:lnTo>
                    <a:pt x="77" y="343"/>
                  </a:lnTo>
                  <a:lnTo>
                    <a:pt x="83" y="343"/>
                  </a:lnTo>
                  <a:lnTo>
                    <a:pt x="83" y="343"/>
                  </a:lnTo>
                  <a:lnTo>
                    <a:pt x="88" y="344"/>
                  </a:lnTo>
                  <a:lnTo>
                    <a:pt x="94" y="348"/>
                  </a:lnTo>
                  <a:lnTo>
                    <a:pt x="100" y="354"/>
                  </a:lnTo>
                  <a:lnTo>
                    <a:pt x="100" y="355"/>
                  </a:lnTo>
                  <a:lnTo>
                    <a:pt x="101" y="357"/>
                  </a:lnTo>
                  <a:lnTo>
                    <a:pt x="101" y="357"/>
                  </a:lnTo>
                  <a:lnTo>
                    <a:pt x="94" y="368"/>
                  </a:lnTo>
                  <a:lnTo>
                    <a:pt x="88" y="373"/>
                  </a:lnTo>
                  <a:lnTo>
                    <a:pt x="84" y="376"/>
                  </a:lnTo>
                  <a:lnTo>
                    <a:pt x="84" y="376"/>
                  </a:lnTo>
                  <a:lnTo>
                    <a:pt x="77" y="376"/>
                  </a:lnTo>
                  <a:lnTo>
                    <a:pt x="77" y="376"/>
                  </a:lnTo>
                  <a:lnTo>
                    <a:pt x="77" y="382"/>
                  </a:lnTo>
                  <a:lnTo>
                    <a:pt x="77" y="382"/>
                  </a:lnTo>
                  <a:lnTo>
                    <a:pt x="77" y="385"/>
                  </a:lnTo>
                  <a:lnTo>
                    <a:pt x="80" y="389"/>
                  </a:lnTo>
                  <a:lnTo>
                    <a:pt x="86" y="396"/>
                  </a:lnTo>
                  <a:lnTo>
                    <a:pt x="86" y="396"/>
                  </a:lnTo>
                  <a:lnTo>
                    <a:pt x="87" y="398"/>
                  </a:lnTo>
                  <a:lnTo>
                    <a:pt x="86" y="400"/>
                  </a:lnTo>
                  <a:lnTo>
                    <a:pt x="84" y="403"/>
                  </a:lnTo>
                  <a:lnTo>
                    <a:pt x="80" y="403"/>
                  </a:lnTo>
                  <a:lnTo>
                    <a:pt x="76" y="401"/>
                  </a:lnTo>
                  <a:lnTo>
                    <a:pt x="76" y="401"/>
                  </a:lnTo>
                  <a:lnTo>
                    <a:pt x="73" y="401"/>
                  </a:lnTo>
                  <a:lnTo>
                    <a:pt x="72" y="403"/>
                  </a:lnTo>
                  <a:lnTo>
                    <a:pt x="72" y="405"/>
                  </a:lnTo>
                  <a:lnTo>
                    <a:pt x="73" y="408"/>
                  </a:lnTo>
                  <a:lnTo>
                    <a:pt x="73" y="408"/>
                  </a:lnTo>
                  <a:lnTo>
                    <a:pt x="75" y="411"/>
                  </a:lnTo>
                  <a:lnTo>
                    <a:pt x="75" y="415"/>
                  </a:lnTo>
                  <a:lnTo>
                    <a:pt x="76" y="419"/>
                  </a:lnTo>
                  <a:lnTo>
                    <a:pt x="79" y="421"/>
                  </a:lnTo>
                  <a:lnTo>
                    <a:pt x="79" y="421"/>
                  </a:lnTo>
                  <a:lnTo>
                    <a:pt x="82" y="422"/>
                  </a:lnTo>
                  <a:lnTo>
                    <a:pt x="84" y="425"/>
                  </a:lnTo>
                  <a:lnTo>
                    <a:pt x="88" y="429"/>
                  </a:lnTo>
                  <a:lnTo>
                    <a:pt x="91" y="430"/>
                  </a:lnTo>
                  <a:lnTo>
                    <a:pt x="91" y="430"/>
                  </a:lnTo>
                  <a:lnTo>
                    <a:pt x="95" y="432"/>
                  </a:lnTo>
                  <a:lnTo>
                    <a:pt x="98" y="434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4" y="440"/>
                  </a:lnTo>
                  <a:lnTo>
                    <a:pt x="107" y="443"/>
                  </a:lnTo>
                  <a:lnTo>
                    <a:pt x="108" y="444"/>
                  </a:lnTo>
                  <a:lnTo>
                    <a:pt x="108" y="444"/>
                  </a:lnTo>
                  <a:lnTo>
                    <a:pt x="107" y="446"/>
                  </a:lnTo>
                  <a:lnTo>
                    <a:pt x="107" y="446"/>
                  </a:lnTo>
                  <a:lnTo>
                    <a:pt x="113" y="444"/>
                  </a:lnTo>
                  <a:lnTo>
                    <a:pt x="116" y="444"/>
                  </a:lnTo>
                  <a:lnTo>
                    <a:pt x="116" y="443"/>
                  </a:lnTo>
                  <a:lnTo>
                    <a:pt x="116" y="443"/>
                  </a:lnTo>
                  <a:lnTo>
                    <a:pt x="118" y="441"/>
                  </a:lnTo>
                  <a:lnTo>
                    <a:pt x="122" y="441"/>
                  </a:lnTo>
                  <a:lnTo>
                    <a:pt x="125" y="443"/>
                  </a:lnTo>
                  <a:lnTo>
                    <a:pt x="129" y="446"/>
                  </a:lnTo>
                  <a:lnTo>
                    <a:pt x="129" y="446"/>
                  </a:lnTo>
                  <a:lnTo>
                    <a:pt x="144" y="457"/>
                  </a:lnTo>
                  <a:lnTo>
                    <a:pt x="161" y="468"/>
                  </a:lnTo>
                  <a:lnTo>
                    <a:pt x="161" y="468"/>
                  </a:lnTo>
                  <a:lnTo>
                    <a:pt x="168" y="473"/>
                  </a:lnTo>
                  <a:lnTo>
                    <a:pt x="177" y="476"/>
                  </a:lnTo>
                  <a:lnTo>
                    <a:pt x="186" y="479"/>
                  </a:lnTo>
                  <a:lnTo>
                    <a:pt x="191" y="480"/>
                  </a:lnTo>
                  <a:lnTo>
                    <a:pt x="191" y="480"/>
                  </a:lnTo>
                  <a:lnTo>
                    <a:pt x="195" y="480"/>
                  </a:lnTo>
                  <a:lnTo>
                    <a:pt x="201" y="483"/>
                  </a:lnTo>
                  <a:lnTo>
                    <a:pt x="205" y="484"/>
                  </a:lnTo>
                  <a:lnTo>
                    <a:pt x="212" y="484"/>
                  </a:lnTo>
                  <a:lnTo>
                    <a:pt x="212" y="484"/>
                  </a:lnTo>
                  <a:lnTo>
                    <a:pt x="215" y="484"/>
                  </a:lnTo>
                  <a:lnTo>
                    <a:pt x="215" y="484"/>
                  </a:lnTo>
                  <a:lnTo>
                    <a:pt x="218" y="483"/>
                  </a:lnTo>
                  <a:lnTo>
                    <a:pt x="220" y="480"/>
                  </a:lnTo>
                  <a:lnTo>
                    <a:pt x="220" y="480"/>
                  </a:lnTo>
                  <a:lnTo>
                    <a:pt x="222" y="479"/>
                  </a:lnTo>
                  <a:lnTo>
                    <a:pt x="225" y="482"/>
                  </a:lnTo>
                  <a:lnTo>
                    <a:pt x="226" y="484"/>
                  </a:lnTo>
                  <a:lnTo>
                    <a:pt x="226" y="489"/>
                  </a:lnTo>
                  <a:lnTo>
                    <a:pt x="226" y="489"/>
                  </a:lnTo>
                  <a:lnTo>
                    <a:pt x="226" y="491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30" y="489"/>
                  </a:lnTo>
                  <a:lnTo>
                    <a:pt x="230" y="489"/>
                  </a:lnTo>
                  <a:lnTo>
                    <a:pt x="233" y="484"/>
                  </a:lnTo>
                  <a:lnTo>
                    <a:pt x="236" y="482"/>
                  </a:lnTo>
                  <a:lnTo>
                    <a:pt x="241" y="479"/>
                  </a:lnTo>
                  <a:lnTo>
                    <a:pt x="241" y="479"/>
                  </a:lnTo>
                  <a:lnTo>
                    <a:pt x="244" y="478"/>
                  </a:lnTo>
                  <a:lnTo>
                    <a:pt x="245" y="478"/>
                  </a:lnTo>
                  <a:lnTo>
                    <a:pt x="254" y="482"/>
                  </a:lnTo>
                  <a:lnTo>
                    <a:pt x="254" y="482"/>
                  </a:lnTo>
                  <a:lnTo>
                    <a:pt x="258" y="482"/>
                  </a:lnTo>
                  <a:lnTo>
                    <a:pt x="262" y="482"/>
                  </a:lnTo>
                  <a:lnTo>
                    <a:pt x="266" y="482"/>
                  </a:lnTo>
                  <a:lnTo>
                    <a:pt x="272" y="486"/>
                  </a:lnTo>
                  <a:lnTo>
                    <a:pt x="272" y="486"/>
                  </a:lnTo>
                  <a:lnTo>
                    <a:pt x="277" y="484"/>
                  </a:lnTo>
                  <a:lnTo>
                    <a:pt x="277" y="484"/>
                  </a:lnTo>
                  <a:lnTo>
                    <a:pt x="280" y="482"/>
                  </a:lnTo>
                  <a:lnTo>
                    <a:pt x="284" y="478"/>
                  </a:lnTo>
                  <a:lnTo>
                    <a:pt x="284" y="478"/>
                  </a:lnTo>
                  <a:lnTo>
                    <a:pt x="287" y="473"/>
                  </a:lnTo>
                  <a:lnTo>
                    <a:pt x="288" y="472"/>
                  </a:lnTo>
                  <a:lnTo>
                    <a:pt x="291" y="471"/>
                  </a:lnTo>
                  <a:lnTo>
                    <a:pt x="291" y="471"/>
                  </a:lnTo>
                  <a:lnTo>
                    <a:pt x="294" y="471"/>
                  </a:lnTo>
                  <a:lnTo>
                    <a:pt x="297" y="469"/>
                  </a:lnTo>
                  <a:lnTo>
                    <a:pt x="300" y="466"/>
                  </a:lnTo>
                  <a:lnTo>
                    <a:pt x="305" y="462"/>
                  </a:lnTo>
                  <a:lnTo>
                    <a:pt x="305" y="462"/>
                  </a:lnTo>
                  <a:lnTo>
                    <a:pt x="311" y="461"/>
                  </a:lnTo>
                  <a:lnTo>
                    <a:pt x="315" y="462"/>
                  </a:lnTo>
                  <a:lnTo>
                    <a:pt x="320" y="462"/>
                  </a:lnTo>
                  <a:lnTo>
                    <a:pt x="323" y="462"/>
                  </a:lnTo>
                  <a:lnTo>
                    <a:pt x="323" y="462"/>
                  </a:lnTo>
                  <a:lnTo>
                    <a:pt x="329" y="459"/>
                  </a:lnTo>
                  <a:lnTo>
                    <a:pt x="330" y="459"/>
                  </a:lnTo>
                  <a:lnTo>
                    <a:pt x="331" y="461"/>
                  </a:lnTo>
                  <a:lnTo>
                    <a:pt x="331" y="461"/>
                  </a:lnTo>
                  <a:lnTo>
                    <a:pt x="331" y="464"/>
                  </a:lnTo>
                  <a:lnTo>
                    <a:pt x="334" y="466"/>
                  </a:lnTo>
                  <a:lnTo>
                    <a:pt x="337" y="471"/>
                  </a:lnTo>
                  <a:lnTo>
                    <a:pt x="337" y="471"/>
                  </a:lnTo>
                  <a:lnTo>
                    <a:pt x="338" y="473"/>
                  </a:lnTo>
                  <a:lnTo>
                    <a:pt x="341" y="475"/>
                  </a:lnTo>
                  <a:lnTo>
                    <a:pt x="347" y="476"/>
                  </a:lnTo>
                  <a:lnTo>
                    <a:pt x="347" y="476"/>
                  </a:lnTo>
                  <a:lnTo>
                    <a:pt x="349" y="475"/>
                  </a:lnTo>
                  <a:lnTo>
                    <a:pt x="349" y="475"/>
                  </a:lnTo>
                  <a:lnTo>
                    <a:pt x="352" y="473"/>
                  </a:lnTo>
                  <a:lnTo>
                    <a:pt x="355" y="475"/>
                  </a:lnTo>
                  <a:lnTo>
                    <a:pt x="358" y="476"/>
                  </a:lnTo>
                  <a:lnTo>
                    <a:pt x="359" y="479"/>
                  </a:lnTo>
                  <a:lnTo>
                    <a:pt x="359" y="479"/>
                  </a:lnTo>
                  <a:lnTo>
                    <a:pt x="359" y="484"/>
                  </a:lnTo>
                  <a:lnTo>
                    <a:pt x="361" y="487"/>
                  </a:lnTo>
                  <a:lnTo>
                    <a:pt x="363" y="487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8" y="489"/>
                  </a:lnTo>
                  <a:lnTo>
                    <a:pt x="369" y="491"/>
                  </a:lnTo>
                  <a:lnTo>
                    <a:pt x="369" y="496"/>
                  </a:lnTo>
                  <a:lnTo>
                    <a:pt x="369" y="496"/>
                  </a:lnTo>
                  <a:lnTo>
                    <a:pt x="369" y="507"/>
                  </a:lnTo>
                  <a:lnTo>
                    <a:pt x="369" y="514"/>
                  </a:lnTo>
                  <a:lnTo>
                    <a:pt x="365" y="518"/>
                  </a:lnTo>
                  <a:lnTo>
                    <a:pt x="365" y="518"/>
                  </a:lnTo>
                  <a:lnTo>
                    <a:pt x="361" y="523"/>
                  </a:lnTo>
                  <a:lnTo>
                    <a:pt x="356" y="530"/>
                  </a:lnTo>
                  <a:lnTo>
                    <a:pt x="352" y="536"/>
                  </a:lnTo>
                  <a:lnTo>
                    <a:pt x="352" y="540"/>
                  </a:lnTo>
                  <a:lnTo>
                    <a:pt x="352" y="540"/>
                  </a:lnTo>
                  <a:lnTo>
                    <a:pt x="352" y="543"/>
                  </a:lnTo>
                  <a:lnTo>
                    <a:pt x="352" y="546"/>
                  </a:lnTo>
                  <a:lnTo>
                    <a:pt x="352" y="548"/>
                  </a:lnTo>
                  <a:lnTo>
                    <a:pt x="355" y="548"/>
                  </a:lnTo>
                  <a:lnTo>
                    <a:pt x="355" y="548"/>
                  </a:lnTo>
                  <a:lnTo>
                    <a:pt x="359" y="547"/>
                  </a:lnTo>
                  <a:lnTo>
                    <a:pt x="365" y="547"/>
                  </a:lnTo>
                  <a:lnTo>
                    <a:pt x="369" y="548"/>
                  </a:lnTo>
                  <a:lnTo>
                    <a:pt x="369" y="550"/>
                  </a:lnTo>
                  <a:lnTo>
                    <a:pt x="369" y="551"/>
                  </a:lnTo>
                  <a:lnTo>
                    <a:pt x="369" y="551"/>
                  </a:lnTo>
                  <a:lnTo>
                    <a:pt x="369" y="554"/>
                  </a:lnTo>
                  <a:lnTo>
                    <a:pt x="369" y="558"/>
                  </a:lnTo>
                  <a:lnTo>
                    <a:pt x="372" y="562"/>
                  </a:lnTo>
                  <a:lnTo>
                    <a:pt x="374" y="564"/>
                  </a:lnTo>
                  <a:lnTo>
                    <a:pt x="374" y="564"/>
                  </a:lnTo>
                  <a:lnTo>
                    <a:pt x="377" y="564"/>
                  </a:lnTo>
                  <a:lnTo>
                    <a:pt x="380" y="565"/>
                  </a:lnTo>
                  <a:lnTo>
                    <a:pt x="380" y="568"/>
                  </a:lnTo>
                  <a:lnTo>
                    <a:pt x="380" y="571"/>
                  </a:lnTo>
                  <a:lnTo>
                    <a:pt x="380" y="571"/>
                  </a:lnTo>
                  <a:lnTo>
                    <a:pt x="379" y="577"/>
                  </a:lnTo>
                  <a:lnTo>
                    <a:pt x="379" y="580"/>
                  </a:lnTo>
                  <a:lnTo>
                    <a:pt x="380" y="580"/>
                  </a:lnTo>
                  <a:lnTo>
                    <a:pt x="380" y="580"/>
                  </a:lnTo>
                  <a:lnTo>
                    <a:pt x="386" y="582"/>
                  </a:lnTo>
                  <a:lnTo>
                    <a:pt x="388" y="583"/>
                  </a:lnTo>
                  <a:lnTo>
                    <a:pt x="388" y="584"/>
                  </a:lnTo>
                  <a:lnTo>
                    <a:pt x="388" y="584"/>
                  </a:lnTo>
                  <a:lnTo>
                    <a:pt x="388" y="589"/>
                  </a:lnTo>
                  <a:lnTo>
                    <a:pt x="391" y="590"/>
                  </a:lnTo>
                  <a:lnTo>
                    <a:pt x="394" y="591"/>
                  </a:lnTo>
                  <a:lnTo>
                    <a:pt x="398" y="590"/>
                  </a:lnTo>
                  <a:lnTo>
                    <a:pt x="398" y="590"/>
                  </a:lnTo>
                  <a:lnTo>
                    <a:pt x="404" y="589"/>
                  </a:lnTo>
                  <a:lnTo>
                    <a:pt x="405" y="589"/>
                  </a:lnTo>
                  <a:lnTo>
                    <a:pt x="405" y="589"/>
                  </a:lnTo>
                  <a:lnTo>
                    <a:pt x="405" y="589"/>
                  </a:lnTo>
                  <a:lnTo>
                    <a:pt x="408" y="590"/>
                  </a:lnTo>
                  <a:lnTo>
                    <a:pt x="409" y="591"/>
                  </a:lnTo>
                  <a:lnTo>
                    <a:pt x="411" y="594"/>
                  </a:lnTo>
                  <a:lnTo>
                    <a:pt x="413" y="596"/>
                  </a:lnTo>
                  <a:lnTo>
                    <a:pt x="413" y="596"/>
                  </a:lnTo>
                  <a:lnTo>
                    <a:pt x="415" y="596"/>
                  </a:lnTo>
                  <a:lnTo>
                    <a:pt x="416" y="596"/>
                  </a:lnTo>
                  <a:lnTo>
                    <a:pt x="416" y="591"/>
                  </a:lnTo>
                  <a:lnTo>
                    <a:pt x="415" y="587"/>
                  </a:lnTo>
                  <a:lnTo>
                    <a:pt x="413" y="583"/>
                  </a:lnTo>
                  <a:lnTo>
                    <a:pt x="413" y="583"/>
                  </a:lnTo>
                  <a:lnTo>
                    <a:pt x="413" y="582"/>
                  </a:lnTo>
                  <a:lnTo>
                    <a:pt x="413" y="579"/>
                  </a:lnTo>
                  <a:lnTo>
                    <a:pt x="415" y="576"/>
                  </a:lnTo>
                  <a:lnTo>
                    <a:pt x="416" y="576"/>
                  </a:lnTo>
                  <a:lnTo>
                    <a:pt x="416" y="576"/>
                  </a:lnTo>
                  <a:lnTo>
                    <a:pt x="419" y="576"/>
                  </a:lnTo>
                  <a:lnTo>
                    <a:pt x="422" y="576"/>
                  </a:lnTo>
                  <a:lnTo>
                    <a:pt x="424" y="575"/>
                  </a:lnTo>
                  <a:lnTo>
                    <a:pt x="427" y="572"/>
                  </a:lnTo>
                  <a:lnTo>
                    <a:pt x="427" y="572"/>
                  </a:lnTo>
                  <a:lnTo>
                    <a:pt x="429" y="571"/>
                  </a:lnTo>
                  <a:lnTo>
                    <a:pt x="430" y="571"/>
                  </a:lnTo>
                  <a:lnTo>
                    <a:pt x="433" y="572"/>
                  </a:lnTo>
                  <a:lnTo>
                    <a:pt x="436" y="572"/>
                  </a:lnTo>
                  <a:lnTo>
                    <a:pt x="437" y="572"/>
                  </a:lnTo>
                  <a:lnTo>
                    <a:pt x="438" y="571"/>
                  </a:lnTo>
                  <a:lnTo>
                    <a:pt x="438" y="571"/>
                  </a:lnTo>
                  <a:lnTo>
                    <a:pt x="440" y="569"/>
                  </a:lnTo>
                  <a:lnTo>
                    <a:pt x="441" y="569"/>
                  </a:lnTo>
                  <a:lnTo>
                    <a:pt x="444" y="571"/>
                  </a:lnTo>
                  <a:lnTo>
                    <a:pt x="448" y="572"/>
                  </a:lnTo>
                  <a:lnTo>
                    <a:pt x="452" y="571"/>
                  </a:lnTo>
                  <a:lnTo>
                    <a:pt x="452" y="571"/>
                  </a:lnTo>
                  <a:lnTo>
                    <a:pt x="456" y="569"/>
                  </a:lnTo>
                  <a:lnTo>
                    <a:pt x="459" y="571"/>
                  </a:lnTo>
                  <a:lnTo>
                    <a:pt x="461" y="571"/>
                  </a:lnTo>
                  <a:lnTo>
                    <a:pt x="463" y="569"/>
                  </a:lnTo>
                  <a:lnTo>
                    <a:pt x="463" y="569"/>
                  </a:lnTo>
                  <a:lnTo>
                    <a:pt x="465" y="565"/>
                  </a:lnTo>
                  <a:lnTo>
                    <a:pt x="469" y="562"/>
                  </a:lnTo>
                  <a:lnTo>
                    <a:pt x="473" y="561"/>
                  </a:lnTo>
                  <a:lnTo>
                    <a:pt x="474" y="561"/>
                  </a:lnTo>
                  <a:lnTo>
                    <a:pt x="474" y="561"/>
                  </a:lnTo>
                  <a:lnTo>
                    <a:pt x="479" y="565"/>
                  </a:lnTo>
                  <a:lnTo>
                    <a:pt x="483" y="566"/>
                  </a:lnTo>
                  <a:lnTo>
                    <a:pt x="488" y="568"/>
                  </a:lnTo>
                  <a:lnTo>
                    <a:pt x="488" y="568"/>
                  </a:lnTo>
                  <a:lnTo>
                    <a:pt x="492" y="569"/>
                  </a:lnTo>
                  <a:lnTo>
                    <a:pt x="494" y="572"/>
                  </a:lnTo>
                  <a:lnTo>
                    <a:pt x="492" y="577"/>
                  </a:lnTo>
                  <a:lnTo>
                    <a:pt x="492" y="577"/>
                  </a:lnTo>
                  <a:lnTo>
                    <a:pt x="494" y="580"/>
                  </a:lnTo>
                  <a:lnTo>
                    <a:pt x="498" y="583"/>
                  </a:lnTo>
                  <a:lnTo>
                    <a:pt x="504" y="587"/>
                  </a:lnTo>
                  <a:lnTo>
                    <a:pt x="508" y="589"/>
                  </a:lnTo>
                  <a:lnTo>
                    <a:pt x="508" y="589"/>
                  </a:lnTo>
                  <a:lnTo>
                    <a:pt x="511" y="591"/>
                  </a:lnTo>
                  <a:lnTo>
                    <a:pt x="511" y="591"/>
                  </a:lnTo>
                  <a:lnTo>
                    <a:pt x="513" y="591"/>
                  </a:lnTo>
                  <a:lnTo>
                    <a:pt x="516" y="591"/>
                  </a:lnTo>
                  <a:lnTo>
                    <a:pt x="519" y="590"/>
                  </a:lnTo>
                  <a:lnTo>
                    <a:pt x="520" y="589"/>
                  </a:lnTo>
                  <a:lnTo>
                    <a:pt x="520" y="589"/>
                  </a:lnTo>
                  <a:lnTo>
                    <a:pt x="522" y="586"/>
                  </a:lnTo>
                  <a:lnTo>
                    <a:pt x="524" y="586"/>
                  </a:lnTo>
                  <a:lnTo>
                    <a:pt x="527" y="587"/>
                  </a:lnTo>
                  <a:lnTo>
                    <a:pt x="529" y="589"/>
                  </a:lnTo>
                  <a:lnTo>
                    <a:pt x="529" y="589"/>
                  </a:lnTo>
                  <a:lnTo>
                    <a:pt x="531" y="591"/>
                  </a:lnTo>
                  <a:lnTo>
                    <a:pt x="533" y="591"/>
                  </a:lnTo>
                  <a:lnTo>
                    <a:pt x="536" y="591"/>
                  </a:lnTo>
                  <a:lnTo>
                    <a:pt x="538" y="589"/>
                  </a:lnTo>
                  <a:lnTo>
                    <a:pt x="538" y="589"/>
                  </a:lnTo>
                  <a:lnTo>
                    <a:pt x="540" y="589"/>
                  </a:lnTo>
                  <a:lnTo>
                    <a:pt x="541" y="589"/>
                  </a:lnTo>
                  <a:lnTo>
                    <a:pt x="542" y="590"/>
                  </a:lnTo>
                  <a:lnTo>
                    <a:pt x="544" y="593"/>
                  </a:lnTo>
                  <a:lnTo>
                    <a:pt x="542" y="596"/>
                  </a:lnTo>
                  <a:lnTo>
                    <a:pt x="542" y="596"/>
                  </a:lnTo>
                  <a:lnTo>
                    <a:pt x="541" y="598"/>
                  </a:lnTo>
                  <a:lnTo>
                    <a:pt x="541" y="601"/>
                  </a:lnTo>
                  <a:lnTo>
                    <a:pt x="542" y="605"/>
                  </a:lnTo>
                  <a:lnTo>
                    <a:pt x="545" y="609"/>
                  </a:lnTo>
                  <a:lnTo>
                    <a:pt x="545" y="609"/>
                  </a:lnTo>
                  <a:lnTo>
                    <a:pt x="548" y="611"/>
                  </a:lnTo>
                  <a:lnTo>
                    <a:pt x="549" y="609"/>
                  </a:lnTo>
                  <a:lnTo>
                    <a:pt x="551" y="605"/>
                  </a:lnTo>
                  <a:lnTo>
                    <a:pt x="549" y="602"/>
                  </a:lnTo>
                  <a:lnTo>
                    <a:pt x="549" y="602"/>
                  </a:lnTo>
                  <a:lnTo>
                    <a:pt x="551" y="600"/>
                  </a:lnTo>
                  <a:lnTo>
                    <a:pt x="555" y="596"/>
                  </a:lnTo>
                  <a:lnTo>
                    <a:pt x="562" y="593"/>
                  </a:lnTo>
                  <a:lnTo>
                    <a:pt x="572" y="590"/>
                  </a:lnTo>
                  <a:lnTo>
                    <a:pt x="572" y="590"/>
                  </a:lnTo>
                  <a:lnTo>
                    <a:pt x="583" y="584"/>
                  </a:lnTo>
                  <a:lnTo>
                    <a:pt x="592" y="579"/>
                  </a:lnTo>
                  <a:lnTo>
                    <a:pt x="599" y="575"/>
                  </a:lnTo>
                  <a:lnTo>
                    <a:pt x="602" y="572"/>
                  </a:lnTo>
                  <a:lnTo>
                    <a:pt x="602" y="572"/>
                  </a:lnTo>
                  <a:lnTo>
                    <a:pt x="605" y="571"/>
                  </a:lnTo>
                  <a:lnTo>
                    <a:pt x="608" y="572"/>
                  </a:lnTo>
                  <a:lnTo>
                    <a:pt x="613" y="573"/>
                  </a:lnTo>
                  <a:lnTo>
                    <a:pt x="616" y="573"/>
                  </a:lnTo>
                  <a:lnTo>
                    <a:pt x="617" y="572"/>
                  </a:lnTo>
                  <a:lnTo>
                    <a:pt x="617" y="572"/>
                  </a:lnTo>
                  <a:lnTo>
                    <a:pt x="623" y="569"/>
                  </a:lnTo>
                  <a:lnTo>
                    <a:pt x="631" y="569"/>
                  </a:lnTo>
                  <a:lnTo>
                    <a:pt x="645" y="568"/>
                  </a:lnTo>
                  <a:lnTo>
                    <a:pt x="645" y="568"/>
                  </a:lnTo>
                  <a:lnTo>
                    <a:pt x="648" y="566"/>
                  </a:lnTo>
                  <a:lnTo>
                    <a:pt x="649" y="565"/>
                  </a:lnTo>
                  <a:lnTo>
                    <a:pt x="654" y="559"/>
                  </a:lnTo>
                  <a:lnTo>
                    <a:pt x="654" y="559"/>
                  </a:lnTo>
                  <a:lnTo>
                    <a:pt x="659" y="555"/>
                  </a:lnTo>
                  <a:lnTo>
                    <a:pt x="660" y="554"/>
                  </a:lnTo>
                  <a:lnTo>
                    <a:pt x="663" y="552"/>
                  </a:lnTo>
                  <a:lnTo>
                    <a:pt x="663" y="552"/>
                  </a:lnTo>
                  <a:lnTo>
                    <a:pt x="667" y="550"/>
                  </a:lnTo>
                  <a:lnTo>
                    <a:pt x="670" y="548"/>
                  </a:lnTo>
                  <a:lnTo>
                    <a:pt x="672" y="546"/>
                  </a:lnTo>
                  <a:lnTo>
                    <a:pt x="673" y="543"/>
                  </a:lnTo>
                  <a:lnTo>
                    <a:pt x="673" y="543"/>
                  </a:lnTo>
                  <a:lnTo>
                    <a:pt x="674" y="541"/>
                  </a:lnTo>
                  <a:lnTo>
                    <a:pt x="677" y="540"/>
                  </a:lnTo>
                  <a:lnTo>
                    <a:pt x="681" y="537"/>
                  </a:lnTo>
                  <a:lnTo>
                    <a:pt x="683" y="536"/>
                  </a:lnTo>
                  <a:lnTo>
                    <a:pt x="683" y="536"/>
                  </a:lnTo>
                  <a:lnTo>
                    <a:pt x="684" y="534"/>
                  </a:lnTo>
                  <a:lnTo>
                    <a:pt x="687" y="532"/>
                  </a:lnTo>
                  <a:lnTo>
                    <a:pt x="690" y="530"/>
                  </a:lnTo>
                  <a:lnTo>
                    <a:pt x="691" y="529"/>
                  </a:lnTo>
                  <a:lnTo>
                    <a:pt x="691" y="529"/>
                  </a:lnTo>
                  <a:lnTo>
                    <a:pt x="691" y="526"/>
                  </a:lnTo>
                  <a:lnTo>
                    <a:pt x="694" y="525"/>
                  </a:lnTo>
                  <a:lnTo>
                    <a:pt x="695" y="525"/>
                  </a:lnTo>
                  <a:lnTo>
                    <a:pt x="698" y="522"/>
                  </a:lnTo>
                  <a:lnTo>
                    <a:pt x="698" y="522"/>
                  </a:lnTo>
                  <a:lnTo>
                    <a:pt x="698" y="519"/>
                  </a:lnTo>
                  <a:lnTo>
                    <a:pt x="698" y="516"/>
                  </a:lnTo>
                  <a:lnTo>
                    <a:pt x="698" y="512"/>
                  </a:lnTo>
                  <a:lnTo>
                    <a:pt x="699" y="511"/>
                  </a:lnTo>
                  <a:lnTo>
                    <a:pt x="699" y="511"/>
                  </a:lnTo>
                  <a:lnTo>
                    <a:pt x="701" y="509"/>
                  </a:lnTo>
                  <a:lnTo>
                    <a:pt x="701" y="507"/>
                  </a:lnTo>
                  <a:lnTo>
                    <a:pt x="698" y="503"/>
                  </a:lnTo>
                  <a:lnTo>
                    <a:pt x="698" y="503"/>
                  </a:lnTo>
                  <a:lnTo>
                    <a:pt x="698" y="501"/>
                  </a:lnTo>
                  <a:lnTo>
                    <a:pt x="701" y="501"/>
                  </a:lnTo>
                  <a:lnTo>
                    <a:pt x="709" y="498"/>
                  </a:lnTo>
                  <a:lnTo>
                    <a:pt x="709" y="498"/>
                  </a:lnTo>
                  <a:lnTo>
                    <a:pt x="713" y="493"/>
                  </a:lnTo>
                  <a:lnTo>
                    <a:pt x="716" y="487"/>
                  </a:lnTo>
                  <a:lnTo>
                    <a:pt x="716" y="487"/>
                  </a:lnTo>
                  <a:lnTo>
                    <a:pt x="717" y="483"/>
                  </a:lnTo>
                  <a:lnTo>
                    <a:pt x="720" y="480"/>
                  </a:lnTo>
                  <a:lnTo>
                    <a:pt x="726" y="478"/>
                  </a:lnTo>
                  <a:lnTo>
                    <a:pt x="726" y="478"/>
                  </a:lnTo>
                  <a:lnTo>
                    <a:pt x="727" y="476"/>
                  </a:lnTo>
                  <a:lnTo>
                    <a:pt x="729" y="472"/>
                  </a:lnTo>
                  <a:lnTo>
                    <a:pt x="729" y="465"/>
                  </a:lnTo>
                  <a:lnTo>
                    <a:pt x="729" y="465"/>
                  </a:lnTo>
                  <a:lnTo>
                    <a:pt x="730" y="462"/>
                  </a:lnTo>
                  <a:lnTo>
                    <a:pt x="731" y="461"/>
                  </a:lnTo>
                  <a:lnTo>
                    <a:pt x="733" y="459"/>
                  </a:lnTo>
                  <a:lnTo>
                    <a:pt x="731" y="458"/>
                  </a:lnTo>
                  <a:lnTo>
                    <a:pt x="731" y="458"/>
                  </a:lnTo>
                  <a:lnTo>
                    <a:pt x="731" y="457"/>
                  </a:lnTo>
                  <a:lnTo>
                    <a:pt x="731" y="454"/>
                  </a:lnTo>
                  <a:lnTo>
                    <a:pt x="734" y="451"/>
                  </a:lnTo>
                  <a:lnTo>
                    <a:pt x="738" y="450"/>
                  </a:lnTo>
                  <a:lnTo>
                    <a:pt x="738" y="450"/>
                  </a:lnTo>
                  <a:lnTo>
                    <a:pt x="740" y="448"/>
                  </a:lnTo>
                  <a:lnTo>
                    <a:pt x="738" y="447"/>
                  </a:lnTo>
                  <a:lnTo>
                    <a:pt x="735" y="447"/>
                  </a:lnTo>
                  <a:lnTo>
                    <a:pt x="731" y="447"/>
                  </a:lnTo>
                  <a:lnTo>
                    <a:pt x="731" y="447"/>
                  </a:lnTo>
                  <a:lnTo>
                    <a:pt x="731" y="447"/>
                  </a:lnTo>
                  <a:lnTo>
                    <a:pt x="730" y="447"/>
                  </a:lnTo>
                  <a:lnTo>
                    <a:pt x="727" y="446"/>
                  </a:lnTo>
                  <a:lnTo>
                    <a:pt x="724" y="443"/>
                  </a:lnTo>
                  <a:lnTo>
                    <a:pt x="724" y="443"/>
                  </a:lnTo>
                  <a:lnTo>
                    <a:pt x="723" y="444"/>
                  </a:lnTo>
                  <a:lnTo>
                    <a:pt x="723" y="444"/>
                  </a:lnTo>
                  <a:lnTo>
                    <a:pt x="720" y="446"/>
                  </a:lnTo>
                  <a:lnTo>
                    <a:pt x="717" y="444"/>
                  </a:lnTo>
                  <a:lnTo>
                    <a:pt x="716" y="443"/>
                  </a:lnTo>
                  <a:lnTo>
                    <a:pt x="716" y="441"/>
                  </a:lnTo>
                  <a:lnTo>
                    <a:pt x="717" y="441"/>
                  </a:lnTo>
                  <a:lnTo>
                    <a:pt x="717" y="441"/>
                  </a:lnTo>
                  <a:lnTo>
                    <a:pt x="726" y="437"/>
                  </a:lnTo>
                  <a:lnTo>
                    <a:pt x="734" y="433"/>
                  </a:lnTo>
                  <a:lnTo>
                    <a:pt x="734" y="433"/>
                  </a:lnTo>
                  <a:lnTo>
                    <a:pt x="734" y="432"/>
                  </a:lnTo>
                  <a:lnTo>
                    <a:pt x="734" y="430"/>
                  </a:lnTo>
                  <a:lnTo>
                    <a:pt x="731" y="428"/>
                  </a:lnTo>
                  <a:lnTo>
                    <a:pt x="729" y="425"/>
                  </a:lnTo>
                  <a:lnTo>
                    <a:pt x="724" y="425"/>
                  </a:lnTo>
                  <a:lnTo>
                    <a:pt x="724" y="425"/>
                  </a:lnTo>
                  <a:lnTo>
                    <a:pt x="720" y="422"/>
                  </a:lnTo>
                  <a:lnTo>
                    <a:pt x="717" y="419"/>
                  </a:lnTo>
                  <a:lnTo>
                    <a:pt x="713" y="415"/>
                  </a:lnTo>
                  <a:lnTo>
                    <a:pt x="710" y="414"/>
                  </a:lnTo>
                  <a:lnTo>
                    <a:pt x="710" y="414"/>
                  </a:lnTo>
                  <a:lnTo>
                    <a:pt x="709" y="414"/>
                  </a:lnTo>
                  <a:lnTo>
                    <a:pt x="710" y="412"/>
                  </a:lnTo>
                  <a:lnTo>
                    <a:pt x="715" y="412"/>
                  </a:lnTo>
                  <a:lnTo>
                    <a:pt x="719" y="414"/>
                  </a:lnTo>
                  <a:lnTo>
                    <a:pt x="719" y="414"/>
                  </a:lnTo>
                  <a:lnTo>
                    <a:pt x="727" y="416"/>
                  </a:lnTo>
                  <a:lnTo>
                    <a:pt x="730" y="418"/>
                  </a:lnTo>
                  <a:lnTo>
                    <a:pt x="733" y="416"/>
                  </a:lnTo>
                  <a:lnTo>
                    <a:pt x="733" y="416"/>
                  </a:lnTo>
                  <a:lnTo>
                    <a:pt x="733" y="415"/>
                  </a:lnTo>
                  <a:lnTo>
                    <a:pt x="733" y="414"/>
                  </a:lnTo>
                  <a:lnTo>
                    <a:pt x="729" y="410"/>
                  </a:lnTo>
                  <a:lnTo>
                    <a:pt x="720" y="401"/>
                  </a:lnTo>
                  <a:lnTo>
                    <a:pt x="720" y="401"/>
                  </a:lnTo>
                  <a:lnTo>
                    <a:pt x="717" y="398"/>
                  </a:lnTo>
                  <a:lnTo>
                    <a:pt x="717" y="396"/>
                  </a:lnTo>
                  <a:lnTo>
                    <a:pt x="717" y="394"/>
                  </a:lnTo>
                  <a:lnTo>
                    <a:pt x="717" y="391"/>
                  </a:lnTo>
                  <a:lnTo>
                    <a:pt x="717" y="391"/>
                  </a:lnTo>
                  <a:lnTo>
                    <a:pt x="715" y="389"/>
                  </a:lnTo>
                  <a:lnTo>
                    <a:pt x="712" y="383"/>
                  </a:lnTo>
                  <a:lnTo>
                    <a:pt x="708" y="373"/>
                  </a:lnTo>
                  <a:lnTo>
                    <a:pt x="708" y="373"/>
                  </a:lnTo>
                  <a:lnTo>
                    <a:pt x="705" y="369"/>
                  </a:lnTo>
                  <a:lnTo>
                    <a:pt x="701" y="368"/>
                  </a:lnTo>
                  <a:lnTo>
                    <a:pt x="697" y="365"/>
                  </a:lnTo>
                  <a:lnTo>
                    <a:pt x="694" y="364"/>
                  </a:lnTo>
                  <a:lnTo>
                    <a:pt x="694" y="364"/>
                  </a:lnTo>
                  <a:lnTo>
                    <a:pt x="692" y="360"/>
                  </a:lnTo>
                  <a:lnTo>
                    <a:pt x="694" y="355"/>
                  </a:lnTo>
                  <a:lnTo>
                    <a:pt x="697" y="351"/>
                  </a:lnTo>
                  <a:lnTo>
                    <a:pt x="701" y="348"/>
                  </a:lnTo>
                  <a:lnTo>
                    <a:pt x="701" y="348"/>
                  </a:lnTo>
                  <a:lnTo>
                    <a:pt x="705" y="346"/>
                  </a:lnTo>
                  <a:lnTo>
                    <a:pt x="706" y="343"/>
                  </a:lnTo>
                  <a:lnTo>
                    <a:pt x="706" y="341"/>
                  </a:lnTo>
                  <a:lnTo>
                    <a:pt x="708" y="340"/>
                  </a:lnTo>
                  <a:lnTo>
                    <a:pt x="708" y="340"/>
                  </a:lnTo>
                  <a:lnTo>
                    <a:pt x="710" y="340"/>
                  </a:lnTo>
                  <a:lnTo>
                    <a:pt x="712" y="340"/>
                  </a:lnTo>
                  <a:lnTo>
                    <a:pt x="715" y="337"/>
                  </a:lnTo>
                  <a:lnTo>
                    <a:pt x="716" y="335"/>
                  </a:lnTo>
                  <a:lnTo>
                    <a:pt x="716" y="335"/>
                  </a:lnTo>
                  <a:lnTo>
                    <a:pt x="719" y="332"/>
                  </a:lnTo>
                  <a:lnTo>
                    <a:pt x="722" y="330"/>
                  </a:lnTo>
                  <a:lnTo>
                    <a:pt x="724" y="330"/>
                  </a:lnTo>
                  <a:lnTo>
                    <a:pt x="726" y="329"/>
                  </a:lnTo>
                  <a:lnTo>
                    <a:pt x="726" y="329"/>
                  </a:lnTo>
                  <a:lnTo>
                    <a:pt x="730" y="328"/>
                  </a:lnTo>
                  <a:lnTo>
                    <a:pt x="734" y="326"/>
                  </a:lnTo>
                  <a:lnTo>
                    <a:pt x="740" y="326"/>
                  </a:lnTo>
                  <a:lnTo>
                    <a:pt x="744" y="325"/>
                  </a:lnTo>
                  <a:lnTo>
                    <a:pt x="744" y="325"/>
                  </a:lnTo>
                  <a:lnTo>
                    <a:pt x="745" y="323"/>
                  </a:lnTo>
                  <a:lnTo>
                    <a:pt x="745" y="321"/>
                  </a:lnTo>
                  <a:lnTo>
                    <a:pt x="742" y="318"/>
                  </a:lnTo>
                  <a:lnTo>
                    <a:pt x="740" y="315"/>
                  </a:lnTo>
                  <a:lnTo>
                    <a:pt x="735" y="314"/>
                  </a:lnTo>
                  <a:lnTo>
                    <a:pt x="735" y="314"/>
                  </a:lnTo>
                  <a:lnTo>
                    <a:pt x="731" y="315"/>
                  </a:lnTo>
                  <a:lnTo>
                    <a:pt x="727" y="314"/>
                  </a:lnTo>
                  <a:lnTo>
                    <a:pt x="723" y="311"/>
                  </a:lnTo>
                  <a:lnTo>
                    <a:pt x="720" y="308"/>
                  </a:lnTo>
                  <a:lnTo>
                    <a:pt x="720" y="308"/>
                  </a:lnTo>
                  <a:lnTo>
                    <a:pt x="717" y="307"/>
                  </a:lnTo>
                  <a:lnTo>
                    <a:pt x="716" y="307"/>
                  </a:lnTo>
                  <a:lnTo>
                    <a:pt x="710" y="311"/>
                  </a:lnTo>
                  <a:lnTo>
                    <a:pt x="705" y="318"/>
                  </a:lnTo>
                  <a:lnTo>
                    <a:pt x="699" y="322"/>
                  </a:lnTo>
                  <a:lnTo>
                    <a:pt x="699" y="322"/>
                  </a:lnTo>
                  <a:lnTo>
                    <a:pt x="697" y="322"/>
                  </a:lnTo>
                  <a:lnTo>
                    <a:pt x="694" y="322"/>
                  </a:lnTo>
                  <a:lnTo>
                    <a:pt x="690" y="319"/>
                  </a:lnTo>
                  <a:lnTo>
                    <a:pt x="688" y="314"/>
                  </a:lnTo>
                  <a:lnTo>
                    <a:pt x="690" y="310"/>
                  </a:lnTo>
                  <a:lnTo>
                    <a:pt x="690" y="310"/>
                  </a:lnTo>
                  <a:lnTo>
                    <a:pt x="690" y="307"/>
                  </a:lnTo>
                  <a:lnTo>
                    <a:pt x="690" y="305"/>
                  </a:lnTo>
                  <a:lnTo>
                    <a:pt x="685" y="304"/>
                  </a:lnTo>
                  <a:lnTo>
                    <a:pt x="680" y="304"/>
                  </a:lnTo>
                  <a:lnTo>
                    <a:pt x="673" y="304"/>
                  </a:lnTo>
                  <a:lnTo>
                    <a:pt x="673" y="304"/>
                  </a:lnTo>
                  <a:lnTo>
                    <a:pt x="670" y="303"/>
                  </a:lnTo>
                  <a:lnTo>
                    <a:pt x="667" y="301"/>
                  </a:lnTo>
                  <a:lnTo>
                    <a:pt x="666" y="298"/>
                  </a:lnTo>
                  <a:lnTo>
                    <a:pt x="666" y="294"/>
                  </a:lnTo>
                  <a:lnTo>
                    <a:pt x="669" y="287"/>
                  </a:lnTo>
                  <a:lnTo>
                    <a:pt x="670" y="286"/>
                  </a:lnTo>
                  <a:lnTo>
                    <a:pt x="673" y="285"/>
                  </a:lnTo>
                  <a:lnTo>
                    <a:pt x="673" y="285"/>
                  </a:lnTo>
                  <a:lnTo>
                    <a:pt x="677" y="285"/>
                  </a:lnTo>
                  <a:lnTo>
                    <a:pt x="683" y="286"/>
                  </a:lnTo>
                  <a:lnTo>
                    <a:pt x="685" y="285"/>
                  </a:lnTo>
                  <a:lnTo>
                    <a:pt x="688" y="285"/>
                  </a:lnTo>
                  <a:lnTo>
                    <a:pt x="690" y="282"/>
                  </a:lnTo>
                  <a:lnTo>
                    <a:pt x="692" y="279"/>
                  </a:lnTo>
                  <a:lnTo>
                    <a:pt x="692" y="279"/>
                  </a:lnTo>
                  <a:lnTo>
                    <a:pt x="694" y="275"/>
                  </a:lnTo>
                  <a:lnTo>
                    <a:pt x="695" y="273"/>
                  </a:lnTo>
                  <a:lnTo>
                    <a:pt x="699" y="272"/>
                  </a:lnTo>
                  <a:lnTo>
                    <a:pt x="705" y="271"/>
                  </a:lnTo>
                  <a:lnTo>
                    <a:pt x="708" y="269"/>
                  </a:lnTo>
                  <a:lnTo>
                    <a:pt x="710" y="265"/>
                  </a:lnTo>
                  <a:lnTo>
                    <a:pt x="710" y="265"/>
                  </a:lnTo>
                  <a:lnTo>
                    <a:pt x="717" y="260"/>
                  </a:lnTo>
                  <a:lnTo>
                    <a:pt x="724" y="254"/>
                  </a:lnTo>
                  <a:lnTo>
                    <a:pt x="727" y="253"/>
                  </a:lnTo>
                  <a:lnTo>
                    <a:pt x="731" y="253"/>
                  </a:lnTo>
                  <a:lnTo>
                    <a:pt x="734" y="254"/>
                  </a:lnTo>
                  <a:lnTo>
                    <a:pt x="737" y="255"/>
                  </a:lnTo>
                  <a:lnTo>
                    <a:pt x="737" y="255"/>
                  </a:lnTo>
                  <a:lnTo>
                    <a:pt x="738" y="258"/>
                  </a:lnTo>
                  <a:lnTo>
                    <a:pt x="738" y="261"/>
                  </a:lnTo>
                  <a:lnTo>
                    <a:pt x="738" y="264"/>
                  </a:lnTo>
                  <a:lnTo>
                    <a:pt x="735" y="267"/>
                  </a:lnTo>
                  <a:lnTo>
                    <a:pt x="730" y="272"/>
                  </a:lnTo>
                  <a:lnTo>
                    <a:pt x="726" y="276"/>
                  </a:lnTo>
                  <a:lnTo>
                    <a:pt x="726" y="276"/>
                  </a:lnTo>
                  <a:lnTo>
                    <a:pt x="726" y="280"/>
                  </a:lnTo>
                  <a:lnTo>
                    <a:pt x="726" y="283"/>
                  </a:lnTo>
                  <a:lnTo>
                    <a:pt x="726" y="286"/>
                  </a:lnTo>
                  <a:lnTo>
                    <a:pt x="724" y="289"/>
                  </a:lnTo>
                  <a:lnTo>
                    <a:pt x="724" y="289"/>
                  </a:lnTo>
                  <a:lnTo>
                    <a:pt x="723" y="292"/>
                  </a:lnTo>
                  <a:lnTo>
                    <a:pt x="724" y="293"/>
                  </a:lnTo>
                  <a:lnTo>
                    <a:pt x="729" y="292"/>
                  </a:lnTo>
                  <a:lnTo>
                    <a:pt x="735" y="289"/>
                  </a:lnTo>
                  <a:lnTo>
                    <a:pt x="735" y="289"/>
                  </a:lnTo>
                  <a:lnTo>
                    <a:pt x="749" y="279"/>
                  </a:lnTo>
                  <a:lnTo>
                    <a:pt x="763" y="272"/>
                  </a:lnTo>
                  <a:lnTo>
                    <a:pt x="763" y="272"/>
                  </a:lnTo>
                  <a:lnTo>
                    <a:pt x="767" y="271"/>
                  </a:lnTo>
                  <a:lnTo>
                    <a:pt x="772" y="271"/>
                  </a:lnTo>
                  <a:lnTo>
                    <a:pt x="772" y="271"/>
                  </a:lnTo>
                  <a:lnTo>
                    <a:pt x="773" y="267"/>
                  </a:lnTo>
                  <a:lnTo>
                    <a:pt x="776" y="264"/>
                  </a:lnTo>
                  <a:lnTo>
                    <a:pt x="776" y="264"/>
                  </a:lnTo>
                  <a:lnTo>
                    <a:pt x="791" y="257"/>
                  </a:lnTo>
                  <a:lnTo>
                    <a:pt x="799" y="253"/>
                  </a:lnTo>
                  <a:lnTo>
                    <a:pt x="805" y="248"/>
                  </a:lnTo>
                  <a:lnTo>
                    <a:pt x="805" y="248"/>
                  </a:lnTo>
                  <a:lnTo>
                    <a:pt x="809" y="242"/>
                  </a:lnTo>
                  <a:lnTo>
                    <a:pt x="812" y="239"/>
                  </a:lnTo>
                  <a:lnTo>
                    <a:pt x="815" y="237"/>
                  </a:lnTo>
                  <a:lnTo>
                    <a:pt x="815" y="237"/>
                  </a:lnTo>
                  <a:lnTo>
                    <a:pt x="817" y="237"/>
                  </a:lnTo>
                  <a:lnTo>
                    <a:pt x="819" y="239"/>
                  </a:lnTo>
                  <a:lnTo>
                    <a:pt x="822" y="240"/>
                  </a:lnTo>
                  <a:lnTo>
                    <a:pt x="826" y="242"/>
                  </a:lnTo>
                  <a:lnTo>
                    <a:pt x="826" y="242"/>
                  </a:lnTo>
                  <a:lnTo>
                    <a:pt x="834" y="242"/>
                  </a:lnTo>
                  <a:lnTo>
                    <a:pt x="835" y="240"/>
                  </a:lnTo>
                  <a:lnTo>
                    <a:pt x="835" y="239"/>
                  </a:lnTo>
                  <a:lnTo>
                    <a:pt x="835" y="239"/>
                  </a:lnTo>
                  <a:lnTo>
                    <a:pt x="834" y="235"/>
                  </a:lnTo>
                  <a:lnTo>
                    <a:pt x="834" y="233"/>
                  </a:lnTo>
                  <a:lnTo>
                    <a:pt x="841" y="232"/>
                  </a:lnTo>
                  <a:lnTo>
                    <a:pt x="841" y="232"/>
                  </a:lnTo>
                  <a:lnTo>
                    <a:pt x="845" y="230"/>
                  </a:lnTo>
                  <a:lnTo>
                    <a:pt x="848" y="228"/>
                  </a:lnTo>
                  <a:lnTo>
                    <a:pt x="849" y="225"/>
                  </a:lnTo>
                  <a:lnTo>
                    <a:pt x="852" y="224"/>
                  </a:lnTo>
                  <a:lnTo>
                    <a:pt x="852" y="224"/>
                  </a:lnTo>
                  <a:lnTo>
                    <a:pt x="853" y="224"/>
                  </a:lnTo>
                  <a:lnTo>
                    <a:pt x="855" y="222"/>
                  </a:lnTo>
                  <a:lnTo>
                    <a:pt x="856" y="218"/>
                  </a:lnTo>
                  <a:lnTo>
                    <a:pt x="859" y="214"/>
                  </a:lnTo>
                  <a:lnTo>
                    <a:pt x="860" y="212"/>
                  </a:lnTo>
                  <a:lnTo>
                    <a:pt x="862" y="212"/>
                  </a:lnTo>
                  <a:lnTo>
                    <a:pt x="862" y="212"/>
                  </a:lnTo>
                  <a:lnTo>
                    <a:pt x="865" y="212"/>
                  </a:lnTo>
                  <a:lnTo>
                    <a:pt x="867" y="215"/>
                  </a:lnTo>
                  <a:lnTo>
                    <a:pt x="870" y="217"/>
                  </a:lnTo>
                  <a:lnTo>
                    <a:pt x="874" y="217"/>
                  </a:lnTo>
                  <a:lnTo>
                    <a:pt x="874" y="217"/>
                  </a:lnTo>
                  <a:lnTo>
                    <a:pt x="878" y="218"/>
                  </a:lnTo>
                  <a:lnTo>
                    <a:pt x="878" y="218"/>
                  </a:lnTo>
                  <a:lnTo>
                    <a:pt x="883" y="215"/>
                  </a:lnTo>
                  <a:lnTo>
                    <a:pt x="883" y="215"/>
                  </a:lnTo>
                  <a:lnTo>
                    <a:pt x="883" y="205"/>
                  </a:lnTo>
                  <a:lnTo>
                    <a:pt x="881" y="200"/>
                  </a:lnTo>
                  <a:lnTo>
                    <a:pt x="881" y="200"/>
                  </a:lnTo>
                  <a:lnTo>
                    <a:pt x="881" y="196"/>
                  </a:lnTo>
                  <a:lnTo>
                    <a:pt x="881" y="193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80" y="180"/>
                  </a:lnTo>
                  <a:lnTo>
                    <a:pt x="881" y="176"/>
                  </a:lnTo>
                  <a:lnTo>
                    <a:pt x="883" y="176"/>
                  </a:lnTo>
                  <a:lnTo>
                    <a:pt x="883" y="176"/>
                  </a:lnTo>
                  <a:lnTo>
                    <a:pt x="885" y="175"/>
                  </a:lnTo>
                  <a:lnTo>
                    <a:pt x="890" y="172"/>
                  </a:lnTo>
                  <a:lnTo>
                    <a:pt x="892" y="169"/>
                  </a:lnTo>
                  <a:lnTo>
                    <a:pt x="894" y="169"/>
                  </a:lnTo>
                  <a:lnTo>
                    <a:pt x="896" y="169"/>
                  </a:lnTo>
                  <a:lnTo>
                    <a:pt x="896" y="169"/>
                  </a:lnTo>
                  <a:lnTo>
                    <a:pt x="901" y="172"/>
                  </a:lnTo>
                  <a:lnTo>
                    <a:pt x="905" y="172"/>
                  </a:lnTo>
                  <a:lnTo>
                    <a:pt x="908" y="172"/>
                  </a:lnTo>
                  <a:lnTo>
                    <a:pt x="909" y="171"/>
                  </a:lnTo>
                  <a:lnTo>
                    <a:pt x="910" y="169"/>
                  </a:lnTo>
                  <a:lnTo>
                    <a:pt x="910" y="169"/>
                  </a:lnTo>
                  <a:lnTo>
                    <a:pt x="910" y="167"/>
                  </a:lnTo>
                  <a:lnTo>
                    <a:pt x="913" y="165"/>
                  </a:lnTo>
                  <a:lnTo>
                    <a:pt x="916" y="162"/>
                  </a:lnTo>
                  <a:lnTo>
                    <a:pt x="917" y="160"/>
                  </a:lnTo>
                  <a:lnTo>
                    <a:pt x="917" y="160"/>
                  </a:lnTo>
                  <a:lnTo>
                    <a:pt x="919" y="155"/>
                  </a:lnTo>
                  <a:lnTo>
                    <a:pt x="921" y="153"/>
                  </a:lnTo>
                  <a:lnTo>
                    <a:pt x="924" y="151"/>
                  </a:lnTo>
                  <a:lnTo>
                    <a:pt x="927" y="147"/>
                  </a:lnTo>
                  <a:lnTo>
                    <a:pt x="927" y="147"/>
                  </a:lnTo>
                  <a:lnTo>
                    <a:pt x="930" y="136"/>
                  </a:lnTo>
                  <a:lnTo>
                    <a:pt x="931" y="131"/>
                  </a:lnTo>
                  <a:lnTo>
                    <a:pt x="935" y="128"/>
                  </a:lnTo>
                  <a:lnTo>
                    <a:pt x="935" y="128"/>
                  </a:lnTo>
                  <a:lnTo>
                    <a:pt x="937" y="125"/>
                  </a:lnTo>
                  <a:lnTo>
                    <a:pt x="937" y="124"/>
                  </a:lnTo>
                  <a:lnTo>
                    <a:pt x="935" y="119"/>
                  </a:lnTo>
                  <a:lnTo>
                    <a:pt x="934" y="115"/>
                  </a:lnTo>
                  <a:lnTo>
                    <a:pt x="934" y="115"/>
                  </a:lnTo>
                  <a:close/>
                  <a:moveTo>
                    <a:pt x="542" y="616"/>
                  </a:moveTo>
                  <a:lnTo>
                    <a:pt x="542" y="616"/>
                  </a:lnTo>
                  <a:lnTo>
                    <a:pt x="537" y="618"/>
                  </a:lnTo>
                  <a:lnTo>
                    <a:pt x="530" y="622"/>
                  </a:lnTo>
                  <a:lnTo>
                    <a:pt x="527" y="625"/>
                  </a:lnTo>
                  <a:lnTo>
                    <a:pt x="526" y="629"/>
                  </a:lnTo>
                  <a:lnTo>
                    <a:pt x="526" y="633"/>
                  </a:lnTo>
                  <a:lnTo>
                    <a:pt x="527" y="637"/>
                  </a:lnTo>
                  <a:lnTo>
                    <a:pt x="527" y="637"/>
                  </a:lnTo>
                  <a:lnTo>
                    <a:pt x="530" y="641"/>
                  </a:lnTo>
                  <a:lnTo>
                    <a:pt x="534" y="643"/>
                  </a:lnTo>
                  <a:lnTo>
                    <a:pt x="538" y="644"/>
                  </a:lnTo>
                  <a:lnTo>
                    <a:pt x="542" y="643"/>
                  </a:lnTo>
                  <a:lnTo>
                    <a:pt x="549" y="640"/>
                  </a:lnTo>
                  <a:lnTo>
                    <a:pt x="552" y="637"/>
                  </a:lnTo>
                  <a:lnTo>
                    <a:pt x="554" y="636"/>
                  </a:lnTo>
                  <a:lnTo>
                    <a:pt x="554" y="636"/>
                  </a:lnTo>
                  <a:lnTo>
                    <a:pt x="555" y="632"/>
                  </a:lnTo>
                  <a:lnTo>
                    <a:pt x="558" y="626"/>
                  </a:lnTo>
                  <a:lnTo>
                    <a:pt x="561" y="621"/>
                  </a:lnTo>
                  <a:lnTo>
                    <a:pt x="562" y="618"/>
                  </a:lnTo>
                  <a:lnTo>
                    <a:pt x="562" y="618"/>
                  </a:lnTo>
                  <a:lnTo>
                    <a:pt x="561" y="616"/>
                  </a:lnTo>
                  <a:lnTo>
                    <a:pt x="559" y="615"/>
                  </a:lnTo>
                  <a:lnTo>
                    <a:pt x="554" y="615"/>
                  </a:lnTo>
                  <a:lnTo>
                    <a:pt x="542" y="616"/>
                  </a:lnTo>
                  <a:lnTo>
                    <a:pt x="542" y="616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8" name="Freeform 149">
              <a:extLst>
                <a:ext uri="{FF2B5EF4-FFF2-40B4-BE49-F238E27FC236}">
                  <a16:creationId xmlns:a16="http://schemas.microsoft.com/office/drawing/2014/main" id="{40A6684B-4E0B-4ABF-88B7-D74EC4193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9076" y="3751263"/>
              <a:ext cx="53975" cy="95250"/>
            </a:xfrm>
            <a:custGeom>
              <a:avLst/>
              <a:gdLst>
                <a:gd name="T0" fmla="*/ 9 w 34"/>
                <a:gd name="T1" fmla="*/ 0 h 60"/>
                <a:gd name="T2" fmla="*/ 9 w 34"/>
                <a:gd name="T3" fmla="*/ 0 h 60"/>
                <a:gd name="T4" fmla="*/ 6 w 34"/>
                <a:gd name="T5" fmla="*/ 1 h 60"/>
                <a:gd name="T6" fmla="*/ 5 w 34"/>
                <a:gd name="T7" fmla="*/ 4 h 60"/>
                <a:gd name="T8" fmla="*/ 3 w 34"/>
                <a:gd name="T9" fmla="*/ 14 h 60"/>
                <a:gd name="T10" fmla="*/ 3 w 34"/>
                <a:gd name="T11" fmla="*/ 14 h 60"/>
                <a:gd name="T12" fmla="*/ 2 w 34"/>
                <a:gd name="T13" fmla="*/ 18 h 60"/>
                <a:gd name="T14" fmla="*/ 0 w 34"/>
                <a:gd name="T15" fmla="*/ 24 h 60"/>
                <a:gd name="T16" fmla="*/ 2 w 34"/>
                <a:gd name="T17" fmla="*/ 35 h 60"/>
                <a:gd name="T18" fmla="*/ 2 w 34"/>
                <a:gd name="T19" fmla="*/ 35 h 60"/>
                <a:gd name="T20" fmla="*/ 3 w 34"/>
                <a:gd name="T21" fmla="*/ 48 h 60"/>
                <a:gd name="T22" fmla="*/ 5 w 34"/>
                <a:gd name="T23" fmla="*/ 54 h 60"/>
                <a:gd name="T24" fmla="*/ 10 w 34"/>
                <a:gd name="T25" fmla="*/ 58 h 60"/>
                <a:gd name="T26" fmla="*/ 10 w 34"/>
                <a:gd name="T27" fmla="*/ 58 h 60"/>
                <a:gd name="T28" fmla="*/ 13 w 34"/>
                <a:gd name="T29" fmla="*/ 60 h 60"/>
                <a:gd name="T30" fmla="*/ 17 w 34"/>
                <a:gd name="T31" fmla="*/ 58 h 60"/>
                <a:gd name="T32" fmla="*/ 21 w 34"/>
                <a:gd name="T33" fmla="*/ 57 h 60"/>
                <a:gd name="T34" fmla="*/ 25 w 34"/>
                <a:gd name="T35" fmla="*/ 54 h 60"/>
                <a:gd name="T36" fmla="*/ 28 w 34"/>
                <a:gd name="T37" fmla="*/ 50 h 60"/>
                <a:gd name="T38" fmla="*/ 31 w 34"/>
                <a:gd name="T39" fmla="*/ 46 h 60"/>
                <a:gd name="T40" fmla="*/ 32 w 34"/>
                <a:gd name="T41" fmla="*/ 40 h 60"/>
                <a:gd name="T42" fmla="*/ 34 w 34"/>
                <a:gd name="T43" fmla="*/ 36 h 60"/>
                <a:gd name="T44" fmla="*/ 34 w 34"/>
                <a:gd name="T45" fmla="*/ 36 h 60"/>
                <a:gd name="T46" fmla="*/ 32 w 34"/>
                <a:gd name="T47" fmla="*/ 30 h 60"/>
                <a:gd name="T48" fmla="*/ 31 w 34"/>
                <a:gd name="T49" fmla="*/ 25 h 60"/>
                <a:gd name="T50" fmla="*/ 23 w 34"/>
                <a:gd name="T51" fmla="*/ 12 h 60"/>
                <a:gd name="T52" fmla="*/ 14 w 34"/>
                <a:gd name="T53" fmla="*/ 3 h 60"/>
                <a:gd name="T54" fmla="*/ 10 w 34"/>
                <a:gd name="T55" fmla="*/ 0 h 60"/>
                <a:gd name="T56" fmla="*/ 9 w 34"/>
                <a:gd name="T57" fmla="*/ 0 h 60"/>
                <a:gd name="T58" fmla="*/ 9 w 34"/>
                <a:gd name="T5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4" h="60">
                  <a:moveTo>
                    <a:pt x="9" y="0"/>
                  </a:moveTo>
                  <a:lnTo>
                    <a:pt x="9" y="0"/>
                  </a:lnTo>
                  <a:lnTo>
                    <a:pt x="6" y="1"/>
                  </a:lnTo>
                  <a:lnTo>
                    <a:pt x="5" y="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8"/>
                  </a:lnTo>
                  <a:lnTo>
                    <a:pt x="0" y="2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48"/>
                  </a:lnTo>
                  <a:lnTo>
                    <a:pt x="5" y="54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3" y="60"/>
                  </a:lnTo>
                  <a:lnTo>
                    <a:pt x="17" y="58"/>
                  </a:lnTo>
                  <a:lnTo>
                    <a:pt x="21" y="57"/>
                  </a:lnTo>
                  <a:lnTo>
                    <a:pt x="25" y="54"/>
                  </a:lnTo>
                  <a:lnTo>
                    <a:pt x="28" y="50"/>
                  </a:lnTo>
                  <a:lnTo>
                    <a:pt x="31" y="46"/>
                  </a:lnTo>
                  <a:lnTo>
                    <a:pt x="32" y="40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0"/>
                  </a:lnTo>
                  <a:lnTo>
                    <a:pt x="31" y="25"/>
                  </a:lnTo>
                  <a:lnTo>
                    <a:pt x="23" y="12"/>
                  </a:lnTo>
                  <a:lnTo>
                    <a:pt x="14" y="3"/>
                  </a:lnTo>
                  <a:lnTo>
                    <a:pt x="10" y="0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9" name="Freeform 160">
              <a:extLst>
                <a:ext uri="{FF2B5EF4-FFF2-40B4-BE49-F238E27FC236}">
                  <a16:creationId xmlns:a16="http://schemas.microsoft.com/office/drawing/2014/main" id="{17CD2360-97BF-406E-B705-93AEB10A3E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0401" y="2441575"/>
              <a:ext cx="1009650" cy="469900"/>
            </a:xfrm>
            <a:custGeom>
              <a:avLst/>
              <a:gdLst>
                <a:gd name="T0" fmla="*/ 610 w 636"/>
                <a:gd name="T1" fmla="*/ 121 h 296"/>
                <a:gd name="T2" fmla="*/ 595 w 636"/>
                <a:gd name="T3" fmla="*/ 103 h 296"/>
                <a:gd name="T4" fmla="*/ 561 w 636"/>
                <a:gd name="T5" fmla="*/ 99 h 296"/>
                <a:gd name="T6" fmla="*/ 532 w 636"/>
                <a:gd name="T7" fmla="*/ 98 h 296"/>
                <a:gd name="T8" fmla="*/ 488 w 636"/>
                <a:gd name="T9" fmla="*/ 36 h 296"/>
                <a:gd name="T10" fmla="*/ 473 w 636"/>
                <a:gd name="T11" fmla="*/ 23 h 296"/>
                <a:gd name="T12" fmla="*/ 438 w 636"/>
                <a:gd name="T13" fmla="*/ 38 h 296"/>
                <a:gd name="T14" fmla="*/ 435 w 636"/>
                <a:gd name="T15" fmla="*/ 31 h 296"/>
                <a:gd name="T16" fmla="*/ 417 w 636"/>
                <a:gd name="T17" fmla="*/ 31 h 296"/>
                <a:gd name="T18" fmla="*/ 398 w 636"/>
                <a:gd name="T19" fmla="*/ 27 h 296"/>
                <a:gd name="T20" fmla="*/ 393 w 636"/>
                <a:gd name="T21" fmla="*/ 9 h 296"/>
                <a:gd name="T22" fmla="*/ 360 w 636"/>
                <a:gd name="T23" fmla="*/ 0 h 296"/>
                <a:gd name="T24" fmla="*/ 307 w 636"/>
                <a:gd name="T25" fmla="*/ 17 h 296"/>
                <a:gd name="T26" fmla="*/ 252 w 636"/>
                <a:gd name="T27" fmla="*/ 28 h 296"/>
                <a:gd name="T28" fmla="*/ 236 w 636"/>
                <a:gd name="T29" fmla="*/ 42 h 296"/>
                <a:gd name="T30" fmla="*/ 230 w 636"/>
                <a:gd name="T31" fmla="*/ 53 h 296"/>
                <a:gd name="T32" fmla="*/ 221 w 636"/>
                <a:gd name="T33" fmla="*/ 79 h 296"/>
                <a:gd name="T34" fmla="*/ 239 w 636"/>
                <a:gd name="T35" fmla="*/ 98 h 296"/>
                <a:gd name="T36" fmla="*/ 214 w 636"/>
                <a:gd name="T37" fmla="*/ 102 h 296"/>
                <a:gd name="T38" fmla="*/ 195 w 636"/>
                <a:gd name="T39" fmla="*/ 93 h 296"/>
                <a:gd name="T40" fmla="*/ 162 w 636"/>
                <a:gd name="T41" fmla="*/ 92 h 296"/>
                <a:gd name="T42" fmla="*/ 132 w 636"/>
                <a:gd name="T43" fmla="*/ 98 h 296"/>
                <a:gd name="T44" fmla="*/ 110 w 636"/>
                <a:gd name="T45" fmla="*/ 84 h 296"/>
                <a:gd name="T46" fmla="*/ 81 w 636"/>
                <a:gd name="T47" fmla="*/ 82 h 296"/>
                <a:gd name="T48" fmla="*/ 46 w 636"/>
                <a:gd name="T49" fmla="*/ 92 h 296"/>
                <a:gd name="T50" fmla="*/ 35 w 636"/>
                <a:gd name="T51" fmla="*/ 116 h 296"/>
                <a:gd name="T52" fmla="*/ 13 w 636"/>
                <a:gd name="T53" fmla="*/ 111 h 296"/>
                <a:gd name="T54" fmla="*/ 10 w 636"/>
                <a:gd name="T55" fmla="*/ 128 h 296"/>
                <a:gd name="T56" fmla="*/ 9 w 636"/>
                <a:gd name="T57" fmla="*/ 146 h 296"/>
                <a:gd name="T58" fmla="*/ 27 w 636"/>
                <a:gd name="T59" fmla="*/ 160 h 296"/>
                <a:gd name="T60" fmla="*/ 39 w 636"/>
                <a:gd name="T61" fmla="*/ 185 h 296"/>
                <a:gd name="T62" fmla="*/ 93 w 636"/>
                <a:gd name="T63" fmla="*/ 177 h 296"/>
                <a:gd name="T64" fmla="*/ 106 w 636"/>
                <a:gd name="T65" fmla="*/ 204 h 296"/>
                <a:gd name="T66" fmla="*/ 71 w 636"/>
                <a:gd name="T67" fmla="*/ 214 h 296"/>
                <a:gd name="T68" fmla="*/ 59 w 636"/>
                <a:gd name="T69" fmla="*/ 228 h 296"/>
                <a:gd name="T70" fmla="*/ 78 w 636"/>
                <a:gd name="T71" fmla="*/ 250 h 296"/>
                <a:gd name="T72" fmla="*/ 96 w 636"/>
                <a:gd name="T73" fmla="*/ 264 h 296"/>
                <a:gd name="T74" fmla="*/ 103 w 636"/>
                <a:gd name="T75" fmla="*/ 270 h 296"/>
                <a:gd name="T76" fmla="*/ 138 w 636"/>
                <a:gd name="T77" fmla="*/ 279 h 296"/>
                <a:gd name="T78" fmla="*/ 196 w 636"/>
                <a:gd name="T79" fmla="*/ 196 h 296"/>
                <a:gd name="T80" fmla="*/ 213 w 636"/>
                <a:gd name="T81" fmla="*/ 192 h 296"/>
                <a:gd name="T82" fmla="*/ 225 w 636"/>
                <a:gd name="T83" fmla="*/ 222 h 296"/>
                <a:gd name="T84" fmla="*/ 280 w 636"/>
                <a:gd name="T85" fmla="*/ 242 h 296"/>
                <a:gd name="T86" fmla="*/ 311 w 636"/>
                <a:gd name="T87" fmla="*/ 266 h 296"/>
                <a:gd name="T88" fmla="*/ 342 w 636"/>
                <a:gd name="T89" fmla="*/ 289 h 296"/>
                <a:gd name="T90" fmla="*/ 364 w 636"/>
                <a:gd name="T91" fmla="*/ 282 h 296"/>
                <a:gd name="T92" fmla="*/ 393 w 636"/>
                <a:gd name="T93" fmla="*/ 259 h 296"/>
                <a:gd name="T94" fmla="*/ 429 w 636"/>
                <a:gd name="T95" fmla="*/ 256 h 296"/>
                <a:gd name="T96" fmla="*/ 466 w 636"/>
                <a:gd name="T97" fmla="*/ 256 h 296"/>
                <a:gd name="T98" fmla="*/ 527 w 636"/>
                <a:gd name="T99" fmla="*/ 266 h 296"/>
                <a:gd name="T100" fmla="*/ 542 w 636"/>
                <a:gd name="T101" fmla="*/ 245 h 296"/>
                <a:gd name="T102" fmla="*/ 535 w 636"/>
                <a:gd name="T103" fmla="*/ 214 h 296"/>
                <a:gd name="T104" fmla="*/ 570 w 636"/>
                <a:gd name="T105" fmla="*/ 211 h 296"/>
                <a:gd name="T106" fmla="*/ 581 w 636"/>
                <a:gd name="T107" fmla="*/ 171 h 296"/>
                <a:gd name="T108" fmla="*/ 617 w 636"/>
                <a:gd name="T109" fmla="*/ 170 h 296"/>
                <a:gd name="T110" fmla="*/ 628 w 636"/>
                <a:gd name="T111" fmla="*/ 145 h 296"/>
                <a:gd name="T112" fmla="*/ 634 w 636"/>
                <a:gd name="T113" fmla="*/ 121 h 296"/>
                <a:gd name="T114" fmla="*/ 227 w 636"/>
                <a:gd name="T115" fmla="*/ 182 h 296"/>
                <a:gd name="T116" fmla="*/ 452 w 636"/>
                <a:gd name="T117" fmla="*/ 189 h 296"/>
                <a:gd name="T118" fmla="*/ 435 w 636"/>
                <a:gd name="T119" fmla="*/ 211 h 296"/>
                <a:gd name="T120" fmla="*/ 477 w 636"/>
                <a:gd name="T121" fmla="*/ 182 h 296"/>
                <a:gd name="T122" fmla="*/ 500 w 636"/>
                <a:gd name="T123" fmla="*/ 188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6" h="296">
                  <a:moveTo>
                    <a:pt x="634" y="121"/>
                  </a:moveTo>
                  <a:lnTo>
                    <a:pt x="634" y="121"/>
                  </a:lnTo>
                  <a:lnTo>
                    <a:pt x="632" y="120"/>
                  </a:lnTo>
                  <a:lnTo>
                    <a:pt x="631" y="120"/>
                  </a:lnTo>
                  <a:lnTo>
                    <a:pt x="628" y="121"/>
                  </a:lnTo>
                  <a:lnTo>
                    <a:pt x="628" y="121"/>
                  </a:lnTo>
                  <a:lnTo>
                    <a:pt x="622" y="123"/>
                  </a:lnTo>
                  <a:lnTo>
                    <a:pt x="616" y="124"/>
                  </a:lnTo>
                  <a:lnTo>
                    <a:pt x="616" y="124"/>
                  </a:lnTo>
                  <a:lnTo>
                    <a:pt x="613" y="123"/>
                  </a:lnTo>
                  <a:lnTo>
                    <a:pt x="610" y="121"/>
                  </a:lnTo>
                  <a:lnTo>
                    <a:pt x="609" y="118"/>
                  </a:lnTo>
                  <a:lnTo>
                    <a:pt x="607" y="117"/>
                  </a:lnTo>
                  <a:lnTo>
                    <a:pt x="607" y="117"/>
                  </a:lnTo>
                  <a:lnTo>
                    <a:pt x="607" y="113"/>
                  </a:lnTo>
                  <a:lnTo>
                    <a:pt x="606" y="111"/>
                  </a:lnTo>
                  <a:lnTo>
                    <a:pt x="604" y="111"/>
                  </a:lnTo>
                  <a:lnTo>
                    <a:pt x="604" y="111"/>
                  </a:lnTo>
                  <a:lnTo>
                    <a:pt x="602" y="110"/>
                  </a:lnTo>
                  <a:lnTo>
                    <a:pt x="599" y="110"/>
                  </a:lnTo>
                  <a:lnTo>
                    <a:pt x="596" y="107"/>
                  </a:lnTo>
                  <a:lnTo>
                    <a:pt x="595" y="103"/>
                  </a:lnTo>
                  <a:lnTo>
                    <a:pt x="595" y="103"/>
                  </a:lnTo>
                  <a:lnTo>
                    <a:pt x="592" y="99"/>
                  </a:lnTo>
                  <a:lnTo>
                    <a:pt x="589" y="98"/>
                  </a:lnTo>
                  <a:lnTo>
                    <a:pt x="585" y="95"/>
                  </a:lnTo>
                  <a:lnTo>
                    <a:pt x="585" y="95"/>
                  </a:lnTo>
                  <a:lnTo>
                    <a:pt x="581" y="95"/>
                  </a:lnTo>
                  <a:lnTo>
                    <a:pt x="577" y="96"/>
                  </a:lnTo>
                  <a:lnTo>
                    <a:pt x="568" y="99"/>
                  </a:lnTo>
                  <a:lnTo>
                    <a:pt x="568" y="99"/>
                  </a:lnTo>
                  <a:lnTo>
                    <a:pt x="566" y="99"/>
                  </a:lnTo>
                  <a:lnTo>
                    <a:pt x="561" y="99"/>
                  </a:lnTo>
                  <a:lnTo>
                    <a:pt x="553" y="96"/>
                  </a:lnTo>
                  <a:lnTo>
                    <a:pt x="553" y="96"/>
                  </a:lnTo>
                  <a:lnTo>
                    <a:pt x="550" y="95"/>
                  </a:lnTo>
                  <a:lnTo>
                    <a:pt x="547" y="92"/>
                  </a:lnTo>
                  <a:lnTo>
                    <a:pt x="545" y="89"/>
                  </a:lnTo>
                  <a:lnTo>
                    <a:pt x="542" y="88"/>
                  </a:lnTo>
                  <a:lnTo>
                    <a:pt x="542" y="88"/>
                  </a:lnTo>
                  <a:lnTo>
                    <a:pt x="539" y="91"/>
                  </a:lnTo>
                  <a:lnTo>
                    <a:pt x="536" y="93"/>
                  </a:lnTo>
                  <a:lnTo>
                    <a:pt x="535" y="96"/>
                  </a:lnTo>
                  <a:lnTo>
                    <a:pt x="532" y="98"/>
                  </a:lnTo>
                  <a:lnTo>
                    <a:pt x="532" y="98"/>
                  </a:lnTo>
                  <a:lnTo>
                    <a:pt x="531" y="98"/>
                  </a:lnTo>
                  <a:lnTo>
                    <a:pt x="529" y="95"/>
                  </a:lnTo>
                  <a:lnTo>
                    <a:pt x="525" y="88"/>
                  </a:lnTo>
                  <a:lnTo>
                    <a:pt x="521" y="78"/>
                  </a:lnTo>
                  <a:lnTo>
                    <a:pt x="516" y="70"/>
                  </a:lnTo>
                  <a:lnTo>
                    <a:pt x="516" y="70"/>
                  </a:lnTo>
                  <a:lnTo>
                    <a:pt x="503" y="50"/>
                  </a:lnTo>
                  <a:lnTo>
                    <a:pt x="495" y="42"/>
                  </a:lnTo>
                  <a:lnTo>
                    <a:pt x="491" y="38"/>
                  </a:lnTo>
                  <a:lnTo>
                    <a:pt x="488" y="36"/>
                  </a:lnTo>
                  <a:lnTo>
                    <a:pt x="488" y="36"/>
                  </a:lnTo>
                  <a:lnTo>
                    <a:pt x="482" y="32"/>
                  </a:lnTo>
                  <a:lnTo>
                    <a:pt x="479" y="30"/>
                  </a:lnTo>
                  <a:lnTo>
                    <a:pt x="481" y="27"/>
                  </a:lnTo>
                  <a:lnTo>
                    <a:pt x="482" y="24"/>
                  </a:lnTo>
                  <a:lnTo>
                    <a:pt x="482" y="24"/>
                  </a:lnTo>
                  <a:lnTo>
                    <a:pt x="484" y="23"/>
                  </a:lnTo>
                  <a:lnTo>
                    <a:pt x="482" y="23"/>
                  </a:lnTo>
                  <a:lnTo>
                    <a:pt x="479" y="21"/>
                  </a:lnTo>
                  <a:lnTo>
                    <a:pt x="477" y="21"/>
                  </a:lnTo>
                  <a:lnTo>
                    <a:pt x="473" y="23"/>
                  </a:lnTo>
                  <a:lnTo>
                    <a:pt x="473" y="23"/>
                  </a:lnTo>
                  <a:lnTo>
                    <a:pt x="466" y="28"/>
                  </a:lnTo>
                  <a:lnTo>
                    <a:pt x="461" y="30"/>
                  </a:lnTo>
                  <a:lnTo>
                    <a:pt x="459" y="31"/>
                  </a:lnTo>
                  <a:lnTo>
                    <a:pt x="459" y="31"/>
                  </a:lnTo>
                  <a:lnTo>
                    <a:pt x="454" y="32"/>
                  </a:lnTo>
                  <a:lnTo>
                    <a:pt x="450" y="35"/>
                  </a:lnTo>
                  <a:lnTo>
                    <a:pt x="445" y="38"/>
                  </a:lnTo>
                  <a:lnTo>
                    <a:pt x="441" y="38"/>
                  </a:lnTo>
                  <a:lnTo>
                    <a:pt x="441" y="38"/>
                  </a:lnTo>
                  <a:lnTo>
                    <a:pt x="438" y="38"/>
                  </a:lnTo>
                  <a:lnTo>
                    <a:pt x="435" y="41"/>
                  </a:lnTo>
                  <a:lnTo>
                    <a:pt x="432" y="42"/>
                  </a:lnTo>
                  <a:lnTo>
                    <a:pt x="431" y="42"/>
                  </a:lnTo>
                  <a:lnTo>
                    <a:pt x="429" y="41"/>
                  </a:lnTo>
                  <a:lnTo>
                    <a:pt x="429" y="41"/>
                  </a:lnTo>
                  <a:lnTo>
                    <a:pt x="428" y="39"/>
                  </a:lnTo>
                  <a:lnTo>
                    <a:pt x="428" y="38"/>
                  </a:lnTo>
                  <a:lnTo>
                    <a:pt x="431" y="35"/>
                  </a:lnTo>
                  <a:lnTo>
                    <a:pt x="434" y="34"/>
                  </a:lnTo>
                  <a:lnTo>
                    <a:pt x="435" y="31"/>
                  </a:lnTo>
                  <a:lnTo>
                    <a:pt x="435" y="31"/>
                  </a:lnTo>
                  <a:lnTo>
                    <a:pt x="434" y="30"/>
                  </a:lnTo>
                  <a:lnTo>
                    <a:pt x="431" y="30"/>
                  </a:lnTo>
                  <a:lnTo>
                    <a:pt x="428" y="31"/>
                  </a:lnTo>
                  <a:lnTo>
                    <a:pt x="427" y="30"/>
                  </a:lnTo>
                  <a:lnTo>
                    <a:pt x="427" y="30"/>
                  </a:lnTo>
                  <a:lnTo>
                    <a:pt x="423" y="27"/>
                  </a:lnTo>
                  <a:lnTo>
                    <a:pt x="420" y="27"/>
                  </a:lnTo>
                  <a:lnTo>
                    <a:pt x="420" y="28"/>
                  </a:lnTo>
                  <a:lnTo>
                    <a:pt x="420" y="28"/>
                  </a:lnTo>
                  <a:lnTo>
                    <a:pt x="418" y="30"/>
                  </a:lnTo>
                  <a:lnTo>
                    <a:pt x="417" y="31"/>
                  </a:lnTo>
                  <a:lnTo>
                    <a:pt x="416" y="30"/>
                  </a:lnTo>
                  <a:lnTo>
                    <a:pt x="414" y="28"/>
                  </a:lnTo>
                  <a:lnTo>
                    <a:pt x="414" y="28"/>
                  </a:lnTo>
                  <a:lnTo>
                    <a:pt x="414" y="25"/>
                  </a:lnTo>
                  <a:lnTo>
                    <a:pt x="413" y="24"/>
                  </a:lnTo>
                  <a:lnTo>
                    <a:pt x="411" y="23"/>
                  </a:lnTo>
                  <a:lnTo>
                    <a:pt x="409" y="24"/>
                  </a:lnTo>
                  <a:lnTo>
                    <a:pt x="409" y="24"/>
                  </a:lnTo>
                  <a:lnTo>
                    <a:pt x="406" y="25"/>
                  </a:lnTo>
                  <a:lnTo>
                    <a:pt x="402" y="27"/>
                  </a:lnTo>
                  <a:lnTo>
                    <a:pt x="398" y="27"/>
                  </a:lnTo>
                  <a:lnTo>
                    <a:pt x="395" y="27"/>
                  </a:lnTo>
                  <a:lnTo>
                    <a:pt x="395" y="27"/>
                  </a:lnTo>
                  <a:lnTo>
                    <a:pt x="393" y="24"/>
                  </a:lnTo>
                  <a:lnTo>
                    <a:pt x="395" y="23"/>
                  </a:lnTo>
                  <a:lnTo>
                    <a:pt x="396" y="20"/>
                  </a:lnTo>
                  <a:lnTo>
                    <a:pt x="396" y="20"/>
                  </a:lnTo>
                  <a:lnTo>
                    <a:pt x="396" y="17"/>
                  </a:lnTo>
                  <a:lnTo>
                    <a:pt x="395" y="14"/>
                  </a:lnTo>
                  <a:lnTo>
                    <a:pt x="393" y="11"/>
                  </a:lnTo>
                  <a:lnTo>
                    <a:pt x="393" y="9"/>
                  </a:lnTo>
                  <a:lnTo>
                    <a:pt x="393" y="9"/>
                  </a:lnTo>
                  <a:lnTo>
                    <a:pt x="392" y="6"/>
                  </a:lnTo>
                  <a:lnTo>
                    <a:pt x="391" y="3"/>
                  </a:lnTo>
                  <a:lnTo>
                    <a:pt x="386" y="2"/>
                  </a:lnTo>
                  <a:lnTo>
                    <a:pt x="384" y="2"/>
                  </a:lnTo>
                  <a:lnTo>
                    <a:pt x="384" y="2"/>
                  </a:lnTo>
                  <a:lnTo>
                    <a:pt x="381" y="3"/>
                  </a:lnTo>
                  <a:lnTo>
                    <a:pt x="378" y="3"/>
                  </a:lnTo>
                  <a:lnTo>
                    <a:pt x="371" y="0"/>
                  </a:lnTo>
                  <a:lnTo>
                    <a:pt x="371" y="0"/>
                  </a:lnTo>
                  <a:lnTo>
                    <a:pt x="367" y="0"/>
                  </a:lnTo>
                  <a:lnTo>
                    <a:pt x="360" y="0"/>
                  </a:lnTo>
                  <a:lnTo>
                    <a:pt x="354" y="3"/>
                  </a:lnTo>
                  <a:lnTo>
                    <a:pt x="352" y="5"/>
                  </a:lnTo>
                  <a:lnTo>
                    <a:pt x="352" y="5"/>
                  </a:lnTo>
                  <a:lnTo>
                    <a:pt x="350" y="6"/>
                  </a:lnTo>
                  <a:lnTo>
                    <a:pt x="349" y="7"/>
                  </a:lnTo>
                  <a:lnTo>
                    <a:pt x="342" y="10"/>
                  </a:lnTo>
                  <a:lnTo>
                    <a:pt x="330" y="13"/>
                  </a:lnTo>
                  <a:lnTo>
                    <a:pt x="330" y="13"/>
                  </a:lnTo>
                  <a:lnTo>
                    <a:pt x="318" y="16"/>
                  </a:lnTo>
                  <a:lnTo>
                    <a:pt x="307" y="17"/>
                  </a:lnTo>
                  <a:lnTo>
                    <a:pt x="307" y="17"/>
                  </a:lnTo>
                  <a:lnTo>
                    <a:pt x="299" y="20"/>
                  </a:lnTo>
                  <a:lnTo>
                    <a:pt x="295" y="21"/>
                  </a:lnTo>
                  <a:lnTo>
                    <a:pt x="291" y="21"/>
                  </a:lnTo>
                  <a:lnTo>
                    <a:pt x="291" y="21"/>
                  </a:lnTo>
                  <a:lnTo>
                    <a:pt x="278" y="23"/>
                  </a:lnTo>
                  <a:lnTo>
                    <a:pt x="273" y="24"/>
                  </a:lnTo>
                  <a:lnTo>
                    <a:pt x="267" y="27"/>
                  </a:lnTo>
                  <a:lnTo>
                    <a:pt x="267" y="27"/>
                  </a:lnTo>
                  <a:lnTo>
                    <a:pt x="263" y="28"/>
                  </a:lnTo>
                  <a:lnTo>
                    <a:pt x="257" y="28"/>
                  </a:lnTo>
                  <a:lnTo>
                    <a:pt x="252" y="28"/>
                  </a:lnTo>
                  <a:lnTo>
                    <a:pt x="249" y="28"/>
                  </a:lnTo>
                  <a:lnTo>
                    <a:pt x="249" y="28"/>
                  </a:lnTo>
                  <a:lnTo>
                    <a:pt x="245" y="30"/>
                  </a:lnTo>
                  <a:lnTo>
                    <a:pt x="241" y="30"/>
                  </a:lnTo>
                  <a:lnTo>
                    <a:pt x="238" y="30"/>
                  </a:lnTo>
                  <a:lnTo>
                    <a:pt x="235" y="30"/>
                  </a:lnTo>
                  <a:lnTo>
                    <a:pt x="235" y="30"/>
                  </a:lnTo>
                  <a:lnTo>
                    <a:pt x="234" y="31"/>
                  </a:lnTo>
                  <a:lnTo>
                    <a:pt x="234" y="35"/>
                  </a:lnTo>
                  <a:lnTo>
                    <a:pt x="235" y="39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9" y="45"/>
                  </a:lnTo>
                  <a:lnTo>
                    <a:pt x="243" y="46"/>
                  </a:lnTo>
                  <a:lnTo>
                    <a:pt x="248" y="48"/>
                  </a:lnTo>
                  <a:lnTo>
                    <a:pt x="250" y="49"/>
                  </a:lnTo>
                  <a:lnTo>
                    <a:pt x="250" y="49"/>
                  </a:lnTo>
                  <a:lnTo>
                    <a:pt x="248" y="50"/>
                  </a:lnTo>
                  <a:lnTo>
                    <a:pt x="243" y="52"/>
                  </a:lnTo>
                  <a:lnTo>
                    <a:pt x="234" y="52"/>
                  </a:lnTo>
                  <a:lnTo>
                    <a:pt x="234" y="52"/>
                  </a:lnTo>
                  <a:lnTo>
                    <a:pt x="230" y="53"/>
                  </a:lnTo>
                  <a:lnTo>
                    <a:pt x="230" y="57"/>
                  </a:lnTo>
                  <a:lnTo>
                    <a:pt x="230" y="60"/>
                  </a:lnTo>
                  <a:lnTo>
                    <a:pt x="231" y="63"/>
                  </a:lnTo>
                  <a:lnTo>
                    <a:pt x="231" y="63"/>
                  </a:lnTo>
                  <a:lnTo>
                    <a:pt x="230" y="66"/>
                  </a:lnTo>
                  <a:lnTo>
                    <a:pt x="228" y="68"/>
                  </a:lnTo>
                  <a:lnTo>
                    <a:pt x="221" y="71"/>
                  </a:lnTo>
                  <a:lnTo>
                    <a:pt x="221" y="71"/>
                  </a:lnTo>
                  <a:lnTo>
                    <a:pt x="218" y="74"/>
                  </a:lnTo>
                  <a:lnTo>
                    <a:pt x="220" y="77"/>
                  </a:lnTo>
                  <a:lnTo>
                    <a:pt x="221" y="79"/>
                  </a:lnTo>
                  <a:lnTo>
                    <a:pt x="225" y="79"/>
                  </a:lnTo>
                  <a:lnTo>
                    <a:pt x="225" y="79"/>
                  </a:lnTo>
                  <a:lnTo>
                    <a:pt x="228" y="81"/>
                  </a:lnTo>
                  <a:lnTo>
                    <a:pt x="231" y="82"/>
                  </a:lnTo>
                  <a:lnTo>
                    <a:pt x="236" y="84"/>
                  </a:lnTo>
                  <a:lnTo>
                    <a:pt x="236" y="84"/>
                  </a:lnTo>
                  <a:lnTo>
                    <a:pt x="238" y="85"/>
                  </a:lnTo>
                  <a:lnTo>
                    <a:pt x="239" y="88"/>
                  </a:lnTo>
                  <a:lnTo>
                    <a:pt x="241" y="95"/>
                  </a:lnTo>
                  <a:lnTo>
                    <a:pt x="241" y="95"/>
                  </a:lnTo>
                  <a:lnTo>
                    <a:pt x="239" y="98"/>
                  </a:lnTo>
                  <a:lnTo>
                    <a:pt x="238" y="99"/>
                  </a:lnTo>
                  <a:lnTo>
                    <a:pt x="234" y="100"/>
                  </a:lnTo>
                  <a:lnTo>
                    <a:pt x="231" y="100"/>
                  </a:lnTo>
                  <a:lnTo>
                    <a:pt x="231" y="100"/>
                  </a:lnTo>
                  <a:lnTo>
                    <a:pt x="227" y="99"/>
                  </a:lnTo>
                  <a:lnTo>
                    <a:pt x="224" y="98"/>
                  </a:lnTo>
                  <a:lnTo>
                    <a:pt x="218" y="95"/>
                  </a:lnTo>
                  <a:lnTo>
                    <a:pt x="218" y="95"/>
                  </a:lnTo>
                  <a:lnTo>
                    <a:pt x="217" y="96"/>
                  </a:lnTo>
                  <a:lnTo>
                    <a:pt x="216" y="99"/>
                  </a:lnTo>
                  <a:lnTo>
                    <a:pt x="214" y="102"/>
                  </a:lnTo>
                  <a:lnTo>
                    <a:pt x="213" y="103"/>
                  </a:lnTo>
                  <a:lnTo>
                    <a:pt x="213" y="103"/>
                  </a:lnTo>
                  <a:lnTo>
                    <a:pt x="211" y="103"/>
                  </a:lnTo>
                  <a:lnTo>
                    <a:pt x="210" y="102"/>
                  </a:lnTo>
                  <a:lnTo>
                    <a:pt x="207" y="99"/>
                  </a:lnTo>
                  <a:lnTo>
                    <a:pt x="206" y="98"/>
                  </a:lnTo>
                  <a:lnTo>
                    <a:pt x="206" y="98"/>
                  </a:lnTo>
                  <a:lnTo>
                    <a:pt x="199" y="98"/>
                  </a:lnTo>
                  <a:lnTo>
                    <a:pt x="196" y="96"/>
                  </a:lnTo>
                  <a:lnTo>
                    <a:pt x="195" y="93"/>
                  </a:lnTo>
                  <a:lnTo>
                    <a:pt x="195" y="93"/>
                  </a:lnTo>
                  <a:lnTo>
                    <a:pt x="192" y="91"/>
                  </a:lnTo>
                  <a:lnTo>
                    <a:pt x="188" y="89"/>
                  </a:lnTo>
                  <a:lnTo>
                    <a:pt x="184" y="91"/>
                  </a:lnTo>
                  <a:lnTo>
                    <a:pt x="180" y="92"/>
                  </a:lnTo>
                  <a:lnTo>
                    <a:pt x="180" y="92"/>
                  </a:lnTo>
                  <a:lnTo>
                    <a:pt x="177" y="95"/>
                  </a:lnTo>
                  <a:lnTo>
                    <a:pt x="175" y="95"/>
                  </a:lnTo>
                  <a:lnTo>
                    <a:pt x="171" y="92"/>
                  </a:lnTo>
                  <a:lnTo>
                    <a:pt x="171" y="92"/>
                  </a:lnTo>
                  <a:lnTo>
                    <a:pt x="167" y="91"/>
                  </a:lnTo>
                  <a:lnTo>
                    <a:pt x="162" y="92"/>
                  </a:lnTo>
                  <a:lnTo>
                    <a:pt x="157" y="93"/>
                  </a:lnTo>
                  <a:lnTo>
                    <a:pt x="156" y="96"/>
                  </a:lnTo>
                  <a:lnTo>
                    <a:pt x="156" y="96"/>
                  </a:lnTo>
                  <a:lnTo>
                    <a:pt x="153" y="99"/>
                  </a:lnTo>
                  <a:lnTo>
                    <a:pt x="149" y="100"/>
                  </a:lnTo>
                  <a:lnTo>
                    <a:pt x="145" y="100"/>
                  </a:lnTo>
                  <a:lnTo>
                    <a:pt x="141" y="98"/>
                  </a:lnTo>
                  <a:lnTo>
                    <a:pt x="141" y="98"/>
                  </a:lnTo>
                  <a:lnTo>
                    <a:pt x="134" y="95"/>
                  </a:lnTo>
                  <a:lnTo>
                    <a:pt x="132" y="96"/>
                  </a:lnTo>
                  <a:lnTo>
                    <a:pt x="132" y="98"/>
                  </a:lnTo>
                  <a:lnTo>
                    <a:pt x="132" y="98"/>
                  </a:lnTo>
                  <a:lnTo>
                    <a:pt x="131" y="100"/>
                  </a:lnTo>
                  <a:lnTo>
                    <a:pt x="130" y="100"/>
                  </a:lnTo>
                  <a:lnTo>
                    <a:pt x="128" y="98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5" y="93"/>
                  </a:lnTo>
                  <a:lnTo>
                    <a:pt x="123" y="91"/>
                  </a:lnTo>
                  <a:lnTo>
                    <a:pt x="114" y="85"/>
                  </a:lnTo>
                  <a:lnTo>
                    <a:pt x="114" y="85"/>
                  </a:lnTo>
                  <a:lnTo>
                    <a:pt x="110" y="84"/>
                  </a:lnTo>
                  <a:lnTo>
                    <a:pt x="105" y="82"/>
                  </a:lnTo>
                  <a:lnTo>
                    <a:pt x="99" y="81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5" y="78"/>
                  </a:lnTo>
                  <a:lnTo>
                    <a:pt x="91" y="77"/>
                  </a:lnTo>
                  <a:lnTo>
                    <a:pt x="88" y="77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4" y="81"/>
                  </a:lnTo>
                  <a:lnTo>
                    <a:pt x="81" y="82"/>
                  </a:lnTo>
                  <a:lnTo>
                    <a:pt x="77" y="79"/>
                  </a:lnTo>
                  <a:lnTo>
                    <a:pt x="77" y="79"/>
                  </a:lnTo>
                  <a:lnTo>
                    <a:pt x="74" y="79"/>
                  </a:lnTo>
                  <a:lnTo>
                    <a:pt x="71" y="79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57" y="88"/>
                  </a:lnTo>
                  <a:lnTo>
                    <a:pt x="53" y="89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46" y="92"/>
                  </a:lnTo>
                  <a:lnTo>
                    <a:pt x="45" y="93"/>
                  </a:lnTo>
                  <a:lnTo>
                    <a:pt x="44" y="96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37" y="99"/>
                  </a:lnTo>
                  <a:lnTo>
                    <a:pt x="35" y="102"/>
                  </a:lnTo>
                  <a:lnTo>
                    <a:pt x="37" y="106"/>
                  </a:lnTo>
                  <a:lnTo>
                    <a:pt x="37" y="106"/>
                  </a:lnTo>
                  <a:lnTo>
                    <a:pt x="38" y="111"/>
                  </a:lnTo>
                  <a:lnTo>
                    <a:pt x="37" y="114"/>
                  </a:lnTo>
                  <a:lnTo>
                    <a:pt x="35" y="116"/>
                  </a:lnTo>
                  <a:lnTo>
                    <a:pt x="35" y="116"/>
                  </a:lnTo>
                  <a:lnTo>
                    <a:pt x="32" y="117"/>
                  </a:lnTo>
                  <a:lnTo>
                    <a:pt x="31" y="116"/>
                  </a:lnTo>
                  <a:lnTo>
                    <a:pt x="28" y="113"/>
                  </a:lnTo>
                  <a:lnTo>
                    <a:pt x="25" y="109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19" y="104"/>
                  </a:lnTo>
                  <a:lnTo>
                    <a:pt x="16" y="106"/>
                  </a:lnTo>
                  <a:lnTo>
                    <a:pt x="14" y="107"/>
                  </a:lnTo>
                  <a:lnTo>
                    <a:pt x="13" y="111"/>
                  </a:lnTo>
                  <a:lnTo>
                    <a:pt x="13" y="111"/>
                  </a:lnTo>
                  <a:lnTo>
                    <a:pt x="12" y="114"/>
                  </a:lnTo>
                  <a:lnTo>
                    <a:pt x="10" y="116"/>
                  </a:lnTo>
                  <a:lnTo>
                    <a:pt x="7" y="118"/>
                  </a:lnTo>
                  <a:lnTo>
                    <a:pt x="5" y="121"/>
                  </a:lnTo>
                  <a:lnTo>
                    <a:pt x="5" y="121"/>
                  </a:lnTo>
                  <a:lnTo>
                    <a:pt x="5" y="124"/>
                  </a:lnTo>
                  <a:lnTo>
                    <a:pt x="6" y="125"/>
                  </a:lnTo>
                  <a:lnTo>
                    <a:pt x="9" y="127"/>
                  </a:lnTo>
                  <a:lnTo>
                    <a:pt x="10" y="128"/>
                  </a:lnTo>
                  <a:lnTo>
                    <a:pt x="10" y="128"/>
                  </a:lnTo>
                  <a:lnTo>
                    <a:pt x="9" y="129"/>
                  </a:lnTo>
                  <a:lnTo>
                    <a:pt x="7" y="132"/>
                  </a:lnTo>
                  <a:lnTo>
                    <a:pt x="5" y="134"/>
                  </a:lnTo>
                  <a:lnTo>
                    <a:pt x="5" y="134"/>
                  </a:lnTo>
                  <a:lnTo>
                    <a:pt x="2" y="138"/>
                  </a:lnTo>
                  <a:lnTo>
                    <a:pt x="0" y="141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3" y="145"/>
                  </a:lnTo>
                  <a:lnTo>
                    <a:pt x="6" y="145"/>
                  </a:lnTo>
                  <a:lnTo>
                    <a:pt x="9" y="146"/>
                  </a:lnTo>
                  <a:lnTo>
                    <a:pt x="10" y="149"/>
                  </a:lnTo>
                  <a:lnTo>
                    <a:pt x="10" y="149"/>
                  </a:lnTo>
                  <a:lnTo>
                    <a:pt x="9" y="156"/>
                  </a:lnTo>
                  <a:lnTo>
                    <a:pt x="10" y="157"/>
                  </a:lnTo>
                  <a:lnTo>
                    <a:pt x="13" y="157"/>
                  </a:lnTo>
                  <a:lnTo>
                    <a:pt x="13" y="157"/>
                  </a:lnTo>
                  <a:lnTo>
                    <a:pt x="19" y="157"/>
                  </a:lnTo>
                  <a:lnTo>
                    <a:pt x="24" y="157"/>
                  </a:lnTo>
                  <a:lnTo>
                    <a:pt x="24" y="157"/>
                  </a:lnTo>
                  <a:lnTo>
                    <a:pt x="25" y="159"/>
                  </a:lnTo>
                  <a:lnTo>
                    <a:pt x="27" y="160"/>
                  </a:lnTo>
                  <a:lnTo>
                    <a:pt x="34" y="168"/>
                  </a:lnTo>
                  <a:lnTo>
                    <a:pt x="34" y="168"/>
                  </a:lnTo>
                  <a:lnTo>
                    <a:pt x="38" y="175"/>
                  </a:lnTo>
                  <a:lnTo>
                    <a:pt x="38" y="177"/>
                  </a:lnTo>
                  <a:lnTo>
                    <a:pt x="35" y="178"/>
                  </a:lnTo>
                  <a:lnTo>
                    <a:pt x="35" y="178"/>
                  </a:lnTo>
                  <a:lnTo>
                    <a:pt x="32" y="179"/>
                  </a:lnTo>
                  <a:lnTo>
                    <a:pt x="32" y="181"/>
                  </a:lnTo>
                  <a:lnTo>
                    <a:pt x="35" y="182"/>
                  </a:lnTo>
                  <a:lnTo>
                    <a:pt x="39" y="185"/>
                  </a:lnTo>
                  <a:lnTo>
                    <a:pt x="39" y="185"/>
                  </a:lnTo>
                  <a:lnTo>
                    <a:pt x="44" y="188"/>
                  </a:lnTo>
                  <a:lnTo>
                    <a:pt x="44" y="188"/>
                  </a:lnTo>
                  <a:lnTo>
                    <a:pt x="46" y="186"/>
                  </a:lnTo>
                  <a:lnTo>
                    <a:pt x="46" y="186"/>
                  </a:lnTo>
                  <a:lnTo>
                    <a:pt x="53" y="181"/>
                  </a:lnTo>
                  <a:lnTo>
                    <a:pt x="62" y="177"/>
                  </a:lnTo>
                  <a:lnTo>
                    <a:pt x="71" y="175"/>
                  </a:lnTo>
                  <a:lnTo>
                    <a:pt x="80" y="175"/>
                  </a:lnTo>
                  <a:lnTo>
                    <a:pt x="80" y="175"/>
                  </a:lnTo>
                  <a:lnTo>
                    <a:pt x="87" y="177"/>
                  </a:lnTo>
                  <a:lnTo>
                    <a:pt x="93" y="177"/>
                  </a:lnTo>
                  <a:lnTo>
                    <a:pt x="99" y="177"/>
                  </a:lnTo>
                  <a:lnTo>
                    <a:pt x="102" y="178"/>
                  </a:lnTo>
                  <a:lnTo>
                    <a:pt x="103" y="179"/>
                  </a:lnTo>
                  <a:lnTo>
                    <a:pt x="103" y="179"/>
                  </a:lnTo>
                  <a:lnTo>
                    <a:pt x="105" y="182"/>
                  </a:lnTo>
                  <a:lnTo>
                    <a:pt x="106" y="185"/>
                  </a:lnTo>
                  <a:lnTo>
                    <a:pt x="106" y="192"/>
                  </a:lnTo>
                  <a:lnTo>
                    <a:pt x="105" y="199"/>
                  </a:lnTo>
                  <a:lnTo>
                    <a:pt x="106" y="203"/>
                  </a:lnTo>
                  <a:lnTo>
                    <a:pt x="106" y="203"/>
                  </a:lnTo>
                  <a:lnTo>
                    <a:pt x="106" y="204"/>
                  </a:lnTo>
                  <a:lnTo>
                    <a:pt x="105" y="206"/>
                  </a:lnTo>
                  <a:lnTo>
                    <a:pt x="100" y="207"/>
                  </a:lnTo>
                  <a:lnTo>
                    <a:pt x="96" y="207"/>
                  </a:lnTo>
                  <a:lnTo>
                    <a:pt x="91" y="207"/>
                  </a:lnTo>
                  <a:lnTo>
                    <a:pt x="91" y="207"/>
                  </a:lnTo>
                  <a:lnTo>
                    <a:pt x="84" y="207"/>
                  </a:lnTo>
                  <a:lnTo>
                    <a:pt x="77" y="209"/>
                  </a:lnTo>
                  <a:lnTo>
                    <a:pt x="71" y="211"/>
                  </a:lnTo>
                  <a:lnTo>
                    <a:pt x="71" y="213"/>
                  </a:lnTo>
                  <a:lnTo>
                    <a:pt x="71" y="214"/>
                  </a:lnTo>
                  <a:lnTo>
                    <a:pt x="71" y="214"/>
                  </a:lnTo>
                  <a:lnTo>
                    <a:pt x="74" y="222"/>
                  </a:lnTo>
                  <a:lnTo>
                    <a:pt x="74" y="224"/>
                  </a:lnTo>
                  <a:lnTo>
                    <a:pt x="73" y="224"/>
                  </a:lnTo>
                  <a:lnTo>
                    <a:pt x="69" y="222"/>
                  </a:lnTo>
                  <a:lnTo>
                    <a:pt x="69" y="222"/>
                  </a:lnTo>
                  <a:lnTo>
                    <a:pt x="66" y="221"/>
                  </a:lnTo>
                  <a:lnTo>
                    <a:pt x="63" y="221"/>
                  </a:lnTo>
                  <a:lnTo>
                    <a:pt x="60" y="222"/>
                  </a:lnTo>
                  <a:lnTo>
                    <a:pt x="59" y="224"/>
                  </a:lnTo>
                  <a:lnTo>
                    <a:pt x="59" y="227"/>
                  </a:lnTo>
                  <a:lnTo>
                    <a:pt x="59" y="228"/>
                  </a:lnTo>
                  <a:lnTo>
                    <a:pt x="60" y="228"/>
                  </a:lnTo>
                  <a:lnTo>
                    <a:pt x="60" y="228"/>
                  </a:lnTo>
                  <a:lnTo>
                    <a:pt x="64" y="229"/>
                  </a:lnTo>
                  <a:lnTo>
                    <a:pt x="69" y="231"/>
                  </a:lnTo>
                  <a:lnTo>
                    <a:pt x="71" y="235"/>
                  </a:lnTo>
                  <a:lnTo>
                    <a:pt x="73" y="238"/>
                  </a:lnTo>
                  <a:lnTo>
                    <a:pt x="73" y="238"/>
                  </a:lnTo>
                  <a:lnTo>
                    <a:pt x="73" y="246"/>
                  </a:lnTo>
                  <a:lnTo>
                    <a:pt x="75" y="249"/>
                  </a:lnTo>
                  <a:lnTo>
                    <a:pt x="75" y="250"/>
                  </a:lnTo>
                  <a:lnTo>
                    <a:pt x="78" y="250"/>
                  </a:lnTo>
                  <a:lnTo>
                    <a:pt x="78" y="250"/>
                  </a:lnTo>
                  <a:lnTo>
                    <a:pt x="81" y="250"/>
                  </a:lnTo>
                  <a:lnTo>
                    <a:pt x="82" y="253"/>
                  </a:lnTo>
                  <a:lnTo>
                    <a:pt x="85" y="256"/>
                  </a:lnTo>
                  <a:lnTo>
                    <a:pt x="89" y="257"/>
                  </a:lnTo>
                  <a:lnTo>
                    <a:pt x="89" y="257"/>
                  </a:lnTo>
                  <a:lnTo>
                    <a:pt x="93" y="257"/>
                  </a:lnTo>
                  <a:lnTo>
                    <a:pt x="96" y="259"/>
                  </a:lnTo>
                  <a:lnTo>
                    <a:pt x="98" y="260"/>
                  </a:lnTo>
                  <a:lnTo>
                    <a:pt x="96" y="264"/>
                  </a:lnTo>
                  <a:lnTo>
                    <a:pt x="96" y="264"/>
                  </a:lnTo>
                  <a:lnTo>
                    <a:pt x="95" y="267"/>
                  </a:lnTo>
                  <a:lnTo>
                    <a:pt x="95" y="271"/>
                  </a:lnTo>
                  <a:lnTo>
                    <a:pt x="96" y="278"/>
                  </a:lnTo>
                  <a:lnTo>
                    <a:pt x="99" y="282"/>
                  </a:lnTo>
                  <a:lnTo>
                    <a:pt x="100" y="284"/>
                  </a:lnTo>
                  <a:lnTo>
                    <a:pt x="102" y="284"/>
                  </a:lnTo>
                  <a:lnTo>
                    <a:pt x="102" y="284"/>
                  </a:lnTo>
                  <a:lnTo>
                    <a:pt x="102" y="278"/>
                  </a:lnTo>
                  <a:lnTo>
                    <a:pt x="103" y="272"/>
                  </a:lnTo>
                  <a:lnTo>
                    <a:pt x="103" y="272"/>
                  </a:lnTo>
                  <a:lnTo>
                    <a:pt x="103" y="270"/>
                  </a:lnTo>
                  <a:lnTo>
                    <a:pt x="103" y="268"/>
                  </a:lnTo>
                  <a:lnTo>
                    <a:pt x="106" y="267"/>
                  </a:lnTo>
                  <a:lnTo>
                    <a:pt x="109" y="266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0" y="264"/>
                  </a:lnTo>
                  <a:lnTo>
                    <a:pt x="124" y="266"/>
                  </a:lnTo>
                  <a:lnTo>
                    <a:pt x="128" y="268"/>
                  </a:lnTo>
                  <a:lnTo>
                    <a:pt x="134" y="274"/>
                  </a:lnTo>
                  <a:lnTo>
                    <a:pt x="138" y="279"/>
                  </a:lnTo>
                  <a:lnTo>
                    <a:pt x="138" y="279"/>
                  </a:lnTo>
                  <a:lnTo>
                    <a:pt x="142" y="282"/>
                  </a:lnTo>
                  <a:lnTo>
                    <a:pt x="146" y="284"/>
                  </a:lnTo>
                  <a:lnTo>
                    <a:pt x="149" y="282"/>
                  </a:lnTo>
                  <a:lnTo>
                    <a:pt x="149" y="282"/>
                  </a:lnTo>
                  <a:lnTo>
                    <a:pt x="152" y="213"/>
                  </a:lnTo>
                  <a:lnTo>
                    <a:pt x="191" y="202"/>
                  </a:lnTo>
                  <a:lnTo>
                    <a:pt x="191" y="202"/>
                  </a:lnTo>
                  <a:lnTo>
                    <a:pt x="192" y="199"/>
                  </a:lnTo>
                  <a:lnTo>
                    <a:pt x="192" y="199"/>
                  </a:lnTo>
                  <a:lnTo>
                    <a:pt x="195" y="197"/>
                  </a:lnTo>
                  <a:lnTo>
                    <a:pt x="196" y="196"/>
                  </a:lnTo>
                  <a:lnTo>
                    <a:pt x="200" y="196"/>
                  </a:lnTo>
                  <a:lnTo>
                    <a:pt x="205" y="197"/>
                  </a:lnTo>
                  <a:lnTo>
                    <a:pt x="207" y="200"/>
                  </a:lnTo>
                  <a:lnTo>
                    <a:pt x="207" y="200"/>
                  </a:lnTo>
                  <a:lnTo>
                    <a:pt x="207" y="200"/>
                  </a:lnTo>
                  <a:lnTo>
                    <a:pt x="207" y="199"/>
                  </a:lnTo>
                  <a:lnTo>
                    <a:pt x="209" y="196"/>
                  </a:lnTo>
                  <a:lnTo>
                    <a:pt x="210" y="193"/>
                  </a:lnTo>
                  <a:lnTo>
                    <a:pt x="211" y="192"/>
                  </a:lnTo>
                  <a:lnTo>
                    <a:pt x="213" y="192"/>
                  </a:lnTo>
                  <a:lnTo>
                    <a:pt x="213" y="192"/>
                  </a:lnTo>
                  <a:lnTo>
                    <a:pt x="214" y="193"/>
                  </a:lnTo>
                  <a:lnTo>
                    <a:pt x="216" y="193"/>
                  </a:lnTo>
                  <a:lnTo>
                    <a:pt x="216" y="197"/>
                  </a:lnTo>
                  <a:lnTo>
                    <a:pt x="216" y="200"/>
                  </a:lnTo>
                  <a:lnTo>
                    <a:pt x="216" y="202"/>
                  </a:lnTo>
                  <a:lnTo>
                    <a:pt x="217" y="202"/>
                  </a:lnTo>
                  <a:lnTo>
                    <a:pt x="217" y="202"/>
                  </a:lnTo>
                  <a:lnTo>
                    <a:pt x="220" y="203"/>
                  </a:lnTo>
                  <a:lnTo>
                    <a:pt x="223" y="209"/>
                  </a:lnTo>
                  <a:lnTo>
                    <a:pt x="225" y="216"/>
                  </a:lnTo>
                  <a:lnTo>
                    <a:pt x="225" y="222"/>
                  </a:lnTo>
                  <a:lnTo>
                    <a:pt x="225" y="222"/>
                  </a:lnTo>
                  <a:lnTo>
                    <a:pt x="236" y="232"/>
                  </a:lnTo>
                  <a:lnTo>
                    <a:pt x="243" y="242"/>
                  </a:lnTo>
                  <a:lnTo>
                    <a:pt x="243" y="242"/>
                  </a:lnTo>
                  <a:lnTo>
                    <a:pt x="245" y="243"/>
                  </a:lnTo>
                  <a:lnTo>
                    <a:pt x="246" y="243"/>
                  </a:lnTo>
                  <a:lnTo>
                    <a:pt x="253" y="242"/>
                  </a:lnTo>
                  <a:lnTo>
                    <a:pt x="260" y="241"/>
                  </a:lnTo>
                  <a:lnTo>
                    <a:pt x="264" y="241"/>
                  </a:lnTo>
                  <a:lnTo>
                    <a:pt x="264" y="241"/>
                  </a:lnTo>
                  <a:lnTo>
                    <a:pt x="280" y="242"/>
                  </a:lnTo>
                  <a:lnTo>
                    <a:pt x="295" y="242"/>
                  </a:lnTo>
                  <a:lnTo>
                    <a:pt x="295" y="242"/>
                  </a:lnTo>
                  <a:lnTo>
                    <a:pt x="299" y="243"/>
                  </a:lnTo>
                  <a:lnTo>
                    <a:pt x="302" y="246"/>
                  </a:lnTo>
                  <a:lnTo>
                    <a:pt x="305" y="249"/>
                  </a:lnTo>
                  <a:lnTo>
                    <a:pt x="307" y="252"/>
                  </a:lnTo>
                  <a:lnTo>
                    <a:pt x="307" y="252"/>
                  </a:lnTo>
                  <a:lnTo>
                    <a:pt x="310" y="253"/>
                  </a:lnTo>
                  <a:lnTo>
                    <a:pt x="311" y="257"/>
                  </a:lnTo>
                  <a:lnTo>
                    <a:pt x="311" y="266"/>
                  </a:lnTo>
                  <a:lnTo>
                    <a:pt x="311" y="266"/>
                  </a:lnTo>
                  <a:lnTo>
                    <a:pt x="313" y="270"/>
                  </a:lnTo>
                  <a:lnTo>
                    <a:pt x="316" y="274"/>
                  </a:lnTo>
                  <a:lnTo>
                    <a:pt x="318" y="278"/>
                  </a:lnTo>
                  <a:lnTo>
                    <a:pt x="320" y="282"/>
                  </a:lnTo>
                  <a:lnTo>
                    <a:pt x="320" y="282"/>
                  </a:lnTo>
                  <a:lnTo>
                    <a:pt x="321" y="284"/>
                  </a:lnTo>
                  <a:lnTo>
                    <a:pt x="321" y="285"/>
                  </a:lnTo>
                  <a:lnTo>
                    <a:pt x="325" y="285"/>
                  </a:lnTo>
                  <a:lnTo>
                    <a:pt x="334" y="286"/>
                  </a:lnTo>
                  <a:lnTo>
                    <a:pt x="334" y="286"/>
                  </a:lnTo>
                  <a:lnTo>
                    <a:pt x="342" y="289"/>
                  </a:lnTo>
                  <a:lnTo>
                    <a:pt x="345" y="290"/>
                  </a:lnTo>
                  <a:lnTo>
                    <a:pt x="346" y="293"/>
                  </a:lnTo>
                  <a:lnTo>
                    <a:pt x="346" y="293"/>
                  </a:lnTo>
                  <a:lnTo>
                    <a:pt x="348" y="296"/>
                  </a:lnTo>
                  <a:lnTo>
                    <a:pt x="350" y="296"/>
                  </a:lnTo>
                  <a:lnTo>
                    <a:pt x="353" y="295"/>
                  </a:lnTo>
                  <a:lnTo>
                    <a:pt x="354" y="292"/>
                  </a:lnTo>
                  <a:lnTo>
                    <a:pt x="354" y="292"/>
                  </a:lnTo>
                  <a:lnTo>
                    <a:pt x="356" y="289"/>
                  </a:lnTo>
                  <a:lnTo>
                    <a:pt x="359" y="285"/>
                  </a:lnTo>
                  <a:lnTo>
                    <a:pt x="364" y="282"/>
                  </a:lnTo>
                  <a:lnTo>
                    <a:pt x="370" y="279"/>
                  </a:lnTo>
                  <a:lnTo>
                    <a:pt x="370" y="279"/>
                  </a:lnTo>
                  <a:lnTo>
                    <a:pt x="375" y="278"/>
                  </a:lnTo>
                  <a:lnTo>
                    <a:pt x="379" y="278"/>
                  </a:lnTo>
                  <a:lnTo>
                    <a:pt x="379" y="278"/>
                  </a:lnTo>
                  <a:lnTo>
                    <a:pt x="382" y="272"/>
                  </a:lnTo>
                  <a:lnTo>
                    <a:pt x="384" y="270"/>
                  </a:lnTo>
                  <a:lnTo>
                    <a:pt x="384" y="270"/>
                  </a:lnTo>
                  <a:lnTo>
                    <a:pt x="389" y="266"/>
                  </a:lnTo>
                  <a:lnTo>
                    <a:pt x="392" y="263"/>
                  </a:lnTo>
                  <a:lnTo>
                    <a:pt x="393" y="259"/>
                  </a:lnTo>
                  <a:lnTo>
                    <a:pt x="393" y="259"/>
                  </a:lnTo>
                  <a:lnTo>
                    <a:pt x="395" y="257"/>
                  </a:lnTo>
                  <a:lnTo>
                    <a:pt x="396" y="256"/>
                  </a:lnTo>
                  <a:lnTo>
                    <a:pt x="402" y="256"/>
                  </a:lnTo>
                  <a:lnTo>
                    <a:pt x="409" y="256"/>
                  </a:lnTo>
                  <a:lnTo>
                    <a:pt x="416" y="259"/>
                  </a:lnTo>
                  <a:lnTo>
                    <a:pt x="416" y="259"/>
                  </a:lnTo>
                  <a:lnTo>
                    <a:pt x="421" y="261"/>
                  </a:lnTo>
                  <a:lnTo>
                    <a:pt x="425" y="261"/>
                  </a:lnTo>
                  <a:lnTo>
                    <a:pt x="428" y="260"/>
                  </a:lnTo>
                  <a:lnTo>
                    <a:pt x="429" y="256"/>
                  </a:lnTo>
                  <a:lnTo>
                    <a:pt x="429" y="256"/>
                  </a:lnTo>
                  <a:lnTo>
                    <a:pt x="429" y="254"/>
                  </a:lnTo>
                  <a:lnTo>
                    <a:pt x="431" y="252"/>
                  </a:lnTo>
                  <a:lnTo>
                    <a:pt x="436" y="250"/>
                  </a:lnTo>
                  <a:lnTo>
                    <a:pt x="441" y="249"/>
                  </a:lnTo>
                  <a:lnTo>
                    <a:pt x="445" y="250"/>
                  </a:lnTo>
                  <a:lnTo>
                    <a:pt x="445" y="250"/>
                  </a:lnTo>
                  <a:lnTo>
                    <a:pt x="454" y="254"/>
                  </a:lnTo>
                  <a:lnTo>
                    <a:pt x="461" y="256"/>
                  </a:lnTo>
                  <a:lnTo>
                    <a:pt x="466" y="256"/>
                  </a:lnTo>
                  <a:lnTo>
                    <a:pt x="466" y="256"/>
                  </a:lnTo>
                  <a:lnTo>
                    <a:pt x="474" y="254"/>
                  </a:lnTo>
                  <a:lnTo>
                    <a:pt x="485" y="256"/>
                  </a:lnTo>
                  <a:lnTo>
                    <a:pt x="506" y="259"/>
                  </a:lnTo>
                  <a:lnTo>
                    <a:pt x="506" y="259"/>
                  </a:lnTo>
                  <a:lnTo>
                    <a:pt x="510" y="259"/>
                  </a:lnTo>
                  <a:lnTo>
                    <a:pt x="514" y="259"/>
                  </a:lnTo>
                  <a:lnTo>
                    <a:pt x="517" y="259"/>
                  </a:lnTo>
                  <a:lnTo>
                    <a:pt x="521" y="263"/>
                  </a:lnTo>
                  <a:lnTo>
                    <a:pt x="521" y="263"/>
                  </a:lnTo>
                  <a:lnTo>
                    <a:pt x="524" y="264"/>
                  </a:lnTo>
                  <a:lnTo>
                    <a:pt x="527" y="266"/>
                  </a:lnTo>
                  <a:lnTo>
                    <a:pt x="531" y="266"/>
                  </a:lnTo>
                  <a:lnTo>
                    <a:pt x="534" y="267"/>
                  </a:lnTo>
                  <a:lnTo>
                    <a:pt x="534" y="267"/>
                  </a:lnTo>
                  <a:lnTo>
                    <a:pt x="534" y="261"/>
                  </a:lnTo>
                  <a:lnTo>
                    <a:pt x="534" y="261"/>
                  </a:lnTo>
                  <a:lnTo>
                    <a:pt x="535" y="257"/>
                  </a:lnTo>
                  <a:lnTo>
                    <a:pt x="538" y="254"/>
                  </a:lnTo>
                  <a:lnTo>
                    <a:pt x="541" y="252"/>
                  </a:lnTo>
                  <a:lnTo>
                    <a:pt x="542" y="249"/>
                  </a:lnTo>
                  <a:lnTo>
                    <a:pt x="542" y="249"/>
                  </a:lnTo>
                  <a:lnTo>
                    <a:pt x="542" y="245"/>
                  </a:lnTo>
                  <a:lnTo>
                    <a:pt x="539" y="241"/>
                  </a:lnTo>
                  <a:lnTo>
                    <a:pt x="536" y="235"/>
                  </a:lnTo>
                  <a:lnTo>
                    <a:pt x="536" y="232"/>
                  </a:lnTo>
                  <a:lnTo>
                    <a:pt x="536" y="232"/>
                  </a:lnTo>
                  <a:lnTo>
                    <a:pt x="535" y="224"/>
                  </a:lnTo>
                  <a:lnTo>
                    <a:pt x="534" y="221"/>
                  </a:lnTo>
                  <a:lnTo>
                    <a:pt x="532" y="218"/>
                  </a:lnTo>
                  <a:lnTo>
                    <a:pt x="532" y="218"/>
                  </a:lnTo>
                  <a:lnTo>
                    <a:pt x="532" y="217"/>
                  </a:lnTo>
                  <a:lnTo>
                    <a:pt x="532" y="217"/>
                  </a:lnTo>
                  <a:lnTo>
                    <a:pt x="535" y="214"/>
                  </a:lnTo>
                  <a:lnTo>
                    <a:pt x="542" y="211"/>
                  </a:lnTo>
                  <a:lnTo>
                    <a:pt x="542" y="211"/>
                  </a:lnTo>
                  <a:lnTo>
                    <a:pt x="546" y="211"/>
                  </a:lnTo>
                  <a:lnTo>
                    <a:pt x="550" y="210"/>
                  </a:lnTo>
                  <a:lnTo>
                    <a:pt x="553" y="209"/>
                  </a:lnTo>
                  <a:lnTo>
                    <a:pt x="556" y="209"/>
                  </a:lnTo>
                  <a:lnTo>
                    <a:pt x="556" y="209"/>
                  </a:lnTo>
                  <a:lnTo>
                    <a:pt x="561" y="211"/>
                  </a:lnTo>
                  <a:lnTo>
                    <a:pt x="567" y="211"/>
                  </a:lnTo>
                  <a:lnTo>
                    <a:pt x="567" y="211"/>
                  </a:lnTo>
                  <a:lnTo>
                    <a:pt x="570" y="211"/>
                  </a:lnTo>
                  <a:lnTo>
                    <a:pt x="570" y="209"/>
                  </a:lnTo>
                  <a:lnTo>
                    <a:pt x="568" y="207"/>
                  </a:lnTo>
                  <a:lnTo>
                    <a:pt x="567" y="204"/>
                  </a:lnTo>
                  <a:lnTo>
                    <a:pt x="567" y="204"/>
                  </a:lnTo>
                  <a:lnTo>
                    <a:pt x="567" y="203"/>
                  </a:lnTo>
                  <a:lnTo>
                    <a:pt x="567" y="200"/>
                  </a:lnTo>
                  <a:lnTo>
                    <a:pt x="571" y="192"/>
                  </a:lnTo>
                  <a:lnTo>
                    <a:pt x="577" y="174"/>
                  </a:lnTo>
                  <a:lnTo>
                    <a:pt x="577" y="174"/>
                  </a:lnTo>
                  <a:lnTo>
                    <a:pt x="578" y="171"/>
                  </a:lnTo>
                  <a:lnTo>
                    <a:pt x="581" y="171"/>
                  </a:lnTo>
                  <a:lnTo>
                    <a:pt x="584" y="174"/>
                  </a:lnTo>
                  <a:lnTo>
                    <a:pt x="588" y="174"/>
                  </a:lnTo>
                  <a:lnTo>
                    <a:pt x="588" y="174"/>
                  </a:lnTo>
                  <a:lnTo>
                    <a:pt x="595" y="175"/>
                  </a:lnTo>
                  <a:lnTo>
                    <a:pt x="602" y="175"/>
                  </a:lnTo>
                  <a:lnTo>
                    <a:pt x="602" y="175"/>
                  </a:lnTo>
                  <a:lnTo>
                    <a:pt x="606" y="177"/>
                  </a:lnTo>
                  <a:lnTo>
                    <a:pt x="610" y="175"/>
                  </a:lnTo>
                  <a:lnTo>
                    <a:pt x="614" y="173"/>
                  </a:lnTo>
                  <a:lnTo>
                    <a:pt x="617" y="170"/>
                  </a:lnTo>
                  <a:lnTo>
                    <a:pt x="617" y="170"/>
                  </a:lnTo>
                  <a:lnTo>
                    <a:pt x="617" y="168"/>
                  </a:lnTo>
                  <a:lnTo>
                    <a:pt x="616" y="166"/>
                  </a:lnTo>
                  <a:lnTo>
                    <a:pt x="616" y="163"/>
                  </a:lnTo>
                  <a:lnTo>
                    <a:pt x="614" y="157"/>
                  </a:lnTo>
                  <a:lnTo>
                    <a:pt x="614" y="157"/>
                  </a:lnTo>
                  <a:lnTo>
                    <a:pt x="616" y="153"/>
                  </a:lnTo>
                  <a:lnTo>
                    <a:pt x="618" y="149"/>
                  </a:lnTo>
                  <a:lnTo>
                    <a:pt x="621" y="146"/>
                  </a:lnTo>
                  <a:lnTo>
                    <a:pt x="625" y="146"/>
                  </a:lnTo>
                  <a:lnTo>
                    <a:pt x="625" y="146"/>
                  </a:lnTo>
                  <a:lnTo>
                    <a:pt x="628" y="145"/>
                  </a:lnTo>
                  <a:lnTo>
                    <a:pt x="629" y="143"/>
                  </a:lnTo>
                  <a:lnTo>
                    <a:pt x="631" y="141"/>
                  </a:lnTo>
                  <a:lnTo>
                    <a:pt x="631" y="138"/>
                  </a:lnTo>
                  <a:lnTo>
                    <a:pt x="631" y="138"/>
                  </a:lnTo>
                  <a:lnTo>
                    <a:pt x="632" y="135"/>
                  </a:lnTo>
                  <a:lnTo>
                    <a:pt x="634" y="132"/>
                  </a:lnTo>
                  <a:lnTo>
                    <a:pt x="635" y="131"/>
                  </a:lnTo>
                  <a:lnTo>
                    <a:pt x="636" y="127"/>
                  </a:lnTo>
                  <a:lnTo>
                    <a:pt x="636" y="127"/>
                  </a:lnTo>
                  <a:lnTo>
                    <a:pt x="635" y="124"/>
                  </a:lnTo>
                  <a:lnTo>
                    <a:pt x="634" y="121"/>
                  </a:lnTo>
                  <a:lnTo>
                    <a:pt x="634" y="121"/>
                  </a:lnTo>
                  <a:close/>
                  <a:moveTo>
                    <a:pt x="238" y="189"/>
                  </a:moveTo>
                  <a:lnTo>
                    <a:pt x="238" y="189"/>
                  </a:lnTo>
                  <a:lnTo>
                    <a:pt x="234" y="191"/>
                  </a:lnTo>
                  <a:lnTo>
                    <a:pt x="227" y="189"/>
                  </a:lnTo>
                  <a:lnTo>
                    <a:pt x="220" y="186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6" y="182"/>
                  </a:lnTo>
                  <a:lnTo>
                    <a:pt x="218" y="182"/>
                  </a:lnTo>
                  <a:lnTo>
                    <a:pt x="227" y="182"/>
                  </a:lnTo>
                  <a:lnTo>
                    <a:pt x="235" y="185"/>
                  </a:lnTo>
                  <a:lnTo>
                    <a:pt x="238" y="188"/>
                  </a:lnTo>
                  <a:lnTo>
                    <a:pt x="238" y="189"/>
                  </a:lnTo>
                  <a:lnTo>
                    <a:pt x="238" y="189"/>
                  </a:lnTo>
                  <a:close/>
                  <a:moveTo>
                    <a:pt x="500" y="188"/>
                  </a:moveTo>
                  <a:lnTo>
                    <a:pt x="500" y="188"/>
                  </a:lnTo>
                  <a:lnTo>
                    <a:pt x="488" y="186"/>
                  </a:lnTo>
                  <a:lnTo>
                    <a:pt x="473" y="186"/>
                  </a:lnTo>
                  <a:lnTo>
                    <a:pt x="466" y="186"/>
                  </a:lnTo>
                  <a:lnTo>
                    <a:pt x="459" y="188"/>
                  </a:lnTo>
                  <a:lnTo>
                    <a:pt x="452" y="189"/>
                  </a:lnTo>
                  <a:lnTo>
                    <a:pt x="448" y="193"/>
                  </a:lnTo>
                  <a:lnTo>
                    <a:pt x="448" y="193"/>
                  </a:lnTo>
                  <a:lnTo>
                    <a:pt x="443" y="197"/>
                  </a:lnTo>
                  <a:lnTo>
                    <a:pt x="442" y="202"/>
                  </a:lnTo>
                  <a:lnTo>
                    <a:pt x="441" y="209"/>
                  </a:lnTo>
                  <a:lnTo>
                    <a:pt x="441" y="211"/>
                  </a:lnTo>
                  <a:lnTo>
                    <a:pt x="441" y="213"/>
                  </a:lnTo>
                  <a:lnTo>
                    <a:pt x="439" y="214"/>
                  </a:lnTo>
                  <a:lnTo>
                    <a:pt x="439" y="214"/>
                  </a:lnTo>
                  <a:lnTo>
                    <a:pt x="436" y="213"/>
                  </a:lnTo>
                  <a:lnTo>
                    <a:pt x="435" y="211"/>
                  </a:lnTo>
                  <a:lnTo>
                    <a:pt x="434" y="203"/>
                  </a:lnTo>
                  <a:lnTo>
                    <a:pt x="434" y="195"/>
                  </a:lnTo>
                  <a:lnTo>
                    <a:pt x="435" y="191"/>
                  </a:lnTo>
                  <a:lnTo>
                    <a:pt x="436" y="188"/>
                  </a:lnTo>
                  <a:lnTo>
                    <a:pt x="436" y="188"/>
                  </a:lnTo>
                  <a:lnTo>
                    <a:pt x="439" y="186"/>
                  </a:lnTo>
                  <a:lnTo>
                    <a:pt x="443" y="184"/>
                  </a:lnTo>
                  <a:lnTo>
                    <a:pt x="454" y="181"/>
                  </a:lnTo>
                  <a:lnTo>
                    <a:pt x="466" y="181"/>
                  </a:lnTo>
                  <a:lnTo>
                    <a:pt x="477" y="182"/>
                  </a:lnTo>
                  <a:lnTo>
                    <a:pt x="477" y="182"/>
                  </a:lnTo>
                  <a:lnTo>
                    <a:pt x="488" y="184"/>
                  </a:lnTo>
                  <a:lnTo>
                    <a:pt x="500" y="182"/>
                  </a:lnTo>
                  <a:lnTo>
                    <a:pt x="510" y="181"/>
                  </a:lnTo>
                  <a:lnTo>
                    <a:pt x="517" y="181"/>
                  </a:lnTo>
                  <a:lnTo>
                    <a:pt x="517" y="181"/>
                  </a:lnTo>
                  <a:lnTo>
                    <a:pt x="517" y="181"/>
                  </a:lnTo>
                  <a:lnTo>
                    <a:pt x="517" y="182"/>
                  </a:lnTo>
                  <a:lnTo>
                    <a:pt x="514" y="184"/>
                  </a:lnTo>
                  <a:lnTo>
                    <a:pt x="509" y="186"/>
                  </a:lnTo>
                  <a:lnTo>
                    <a:pt x="500" y="188"/>
                  </a:lnTo>
                  <a:lnTo>
                    <a:pt x="500" y="188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0" name="Freeform 169">
              <a:extLst>
                <a:ext uri="{FF2B5EF4-FFF2-40B4-BE49-F238E27FC236}">
                  <a16:creationId xmlns:a16="http://schemas.microsoft.com/office/drawing/2014/main" id="{BC537458-D002-411A-A274-D82AB4592B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2213" y="2905125"/>
              <a:ext cx="188913" cy="125413"/>
            </a:xfrm>
            <a:custGeom>
              <a:avLst/>
              <a:gdLst>
                <a:gd name="T0" fmla="*/ 100 w 119"/>
                <a:gd name="T1" fmla="*/ 68 h 79"/>
                <a:gd name="T2" fmla="*/ 103 w 119"/>
                <a:gd name="T3" fmla="*/ 69 h 79"/>
                <a:gd name="T4" fmla="*/ 114 w 119"/>
                <a:gd name="T5" fmla="*/ 72 h 79"/>
                <a:gd name="T6" fmla="*/ 117 w 119"/>
                <a:gd name="T7" fmla="*/ 51 h 79"/>
                <a:gd name="T8" fmla="*/ 114 w 119"/>
                <a:gd name="T9" fmla="*/ 47 h 79"/>
                <a:gd name="T10" fmla="*/ 99 w 119"/>
                <a:gd name="T11" fmla="*/ 28 h 79"/>
                <a:gd name="T12" fmla="*/ 82 w 119"/>
                <a:gd name="T13" fmla="*/ 29 h 79"/>
                <a:gd name="T14" fmla="*/ 75 w 119"/>
                <a:gd name="T15" fmla="*/ 28 h 79"/>
                <a:gd name="T16" fmla="*/ 65 w 119"/>
                <a:gd name="T17" fmla="*/ 26 h 79"/>
                <a:gd name="T18" fmla="*/ 63 w 119"/>
                <a:gd name="T19" fmla="*/ 25 h 79"/>
                <a:gd name="T20" fmla="*/ 53 w 119"/>
                <a:gd name="T21" fmla="*/ 26 h 79"/>
                <a:gd name="T22" fmla="*/ 49 w 119"/>
                <a:gd name="T23" fmla="*/ 25 h 79"/>
                <a:gd name="T24" fmla="*/ 32 w 119"/>
                <a:gd name="T25" fmla="*/ 25 h 79"/>
                <a:gd name="T26" fmla="*/ 28 w 119"/>
                <a:gd name="T27" fmla="*/ 23 h 79"/>
                <a:gd name="T28" fmla="*/ 36 w 119"/>
                <a:gd name="T29" fmla="*/ 15 h 79"/>
                <a:gd name="T30" fmla="*/ 44 w 119"/>
                <a:gd name="T31" fmla="*/ 14 h 79"/>
                <a:gd name="T32" fmla="*/ 50 w 119"/>
                <a:gd name="T33" fmla="*/ 4 h 79"/>
                <a:gd name="T34" fmla="*/ 49 w 119"/>
                <a:gd name="T35" fmla="*/ 0 h 79"/>
                <a:gd name="T36" fmla="*/ 39 w 119"/>
                <a:gd name="T37" fmla="*/ 4 h 79"/>
                <a:gd name="T38" fmla="*/ 29 w 119"/>
                <a:gd name="T39" fmla="*/ 5 h 79"/>
                <a:gd name="T40" fmla="*/ 25 w 119"/>
                <a:gd name="T41" fmla="*/ 12 h 79"/>
                <a:gd name="T42" fmla="*/ 19 w 119"/>
                <a:gd name="T43" fmla="*/ 15 h 79"/>
                <a:gd name="T44" fmla="*/ 17 w 119"/>
                <a:gd name="T45" fmla="*/ 22 h 79"/>
                <a:gd name="T46" fmla="*/ 6 w 119"/>
                <a:gd name="T47" fmla="*/ 26 h 79"/>
                <a:gd name="T48" fmla="*/ 0 w 119"/>
                <a:gd name="T49" fmla="*/ 29 h 79"/>
                <a:gd name="T50" fmla="*/ 4 w 119"/>
                <a:gd name="T51" fmla="*/ 35 h 79"/>
                <a:gd name="T52" fmla="*/ 10 w 119"/>
                <a:gd name="T53" fmla="*/ 42 h 79"/>
                <a:gd name="T54" fmla="*/ 11 w 119"/>
                <a:gd name="T55" fmla="*/ 48 h 79"/>
                <a:gd name="T56" fmla="*/ 11 w 119"/>
                <a:gd name="T57" fmla="*/ 55 h 79"/>
                <a:gd name="T58" fmla="*/ 7 w 119"/>
                <a:gd name="T59" fmla="*/ 61 h 79"/>
                <a:gd name="T60" fmla="*/ 6 w 119"/>
                <a:gd name="T61" fmla="*/ 72 h 79"/>
                <a:gd name="T62" fmla="*/ 13 w 119"/>
                <a:gd name="T63" fmla="*/ 72 h 79"/>
                <a:gd name="T64" fmla="*/ 15 w 119"/>
                <a:gd name="T65" fmla="*/ 71 h 79"/>
                <a:gd name="T66" fmla="*/ 28 w 119"/>
                <a:gd name="T67" fmla="*/ 69 h 79"/>
                <a:gd name="T68" fmla="*/ 29 w 119"/>
                <a:gd name="T69" fmla="*/ 67 h 79"/>
                <a:gd name="T70" fmla="*/ 40 w 119"/>
                <a:gd name="T71" fmla="*/ 62 h 79"/>
                <a:gd name="T72" fmla="*/ 43 w 119"/>
                <a:gd name="T73" fmla="*/ 61 h 79"/>
                <a:gd name="T74" fmla="*/ 53 w 119"/>
                <a:gd name="T75" fmla="*/ 48 h 79"/>
                <a:gd name="T76" fmla="*/ 58 w 119"/>
                <a:gd name="T77" fmla="*/ 47 h 79"/>
                <a:gd name="T78" fmla="*/ 61 w 119"/>
                <a:gd name="T79" fmla="*/ 57 h 79"/>
                <a:gd name="T80" fmla="*/ 64 w 119"/>
                <a:gd name="T81" fmla="*/ 60 h 79"/>
                <a:gd name="T82" fmla="*/ 65 w 119"/>
                <a:gd name="T83" fmla="*/ 69 h 79"/>
                <a:gd name="T84" fmla="*/ 64 w 119"/>
                <a:gd name="T85" fmla="*/ 79 h 79"/>
                <a:gd name="T86" fmla="*/ 72 w 119"/>
                <a:gd name="T87" fmla="*/ 79 h 79"/>
                <a:gd name="T88" fmla="*/ 81 w 119"/>
                <a:gd name="T89" fmla="*/ 76 h 79"/>
                <a:gd name="T90" fmla="*/ 97 w 119"/>
                <a:gd name="T91" fmla="*/ 6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9" h="79">
                  <a:moveTo>
                    <a:pt x="97" y="65"/>
                  </a:moveTo>
                  <a:lnTo>
                    <a:pt x="97" y="65"/>
                  </a:lnTo>
                  <a:lnTo>
                    <a:pt x="100" y="68"/>
                  </a:lnTo>
                  <a:lnTo>
                    <a:pt x="101" y="69"/>
                  </a:lnTo>
                  <a:lnTo>
                    <a:pt x="103" y="69"/>
                  </a:lnTo>
                  <a:lnTo>
                    <a:pt x="103" y="69"/>
                  </a:lnTo>
                  <a:lnTo>
                    <a:pt x="108" y="69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9" y="72"/>
                  </a:lnTo>
                  <a:lnTo>
                    <a:pt x="119" y="72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5" y="48"/>
                  </a:lnTo>
                  <a:lnTo>
                    <a:pt x="114" y="47"/>
                  </a:lnTo>
                  <a:lnTo>
                    <a:pt x="108" y="44"/>
                  </a:lnTo>
                  <a:lnTo>
                    <a:pt x="100" y="42"/>
                  </a:lnTo>
                  <a:lnTo>
                    <a:pt x="99" y="28"/>
                  </a:lnTo>
                  <a:lnTo>
                    <a:pt x="99" y="28"/>
                  </a:lnTo>
                  <a:lnTo>
                    <a:pt x="89" y="28"/>
                  </a:lnTo>
                  <a:lnTo>
                    <a:pt x="82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5" y="28"/>
                  </a:lnTo>
                  <a:lnTo>
                    <a:pt x="71" y="29"/>
                  </a:lnTo>
                  <a:lnTo>
                    <a:pt x="68" y="28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4" y="25"/>
                  </a:lnTo>
                  <a:lnTo>
                    <a:pt x="63" y="25"/>
                  </a:lnTo>
                  <a:lnTo>
                    <a:pt x="58" y="25"/>
                  </a:lnTo>
                  <a:lnTo>
                    <a:pt x="54" y="26"/>
                  </a:lnTo>
                  <a:lnTo>
                    <a:pt x="53" y="26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49" y="25"/>
                  </a:lnTo>
                  <a:lnTo>
                    <a:pt x="44" y="23"/>
                  </a:lnTo>
                  <a:lnTo>
                    <a:pt x="38" y="25"/>
                  </a:lnTo>
                  <a:lnTo>
                    <a:pt x="32" y="25"/>
                  </a:lnTo>
                  <a:lnTo>
                    <a:pt x="29" y="25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9" y="21"/>
                  </a:lnTo>
                  <a:lnTo>
                    <a:pt x="32" y="18"/>
                  </a:lnTo>
                  <a:lnTo>
                    <a:pt x="36" y="15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9" y="7"/>
                  </a:lnTo>
                  <a:lnTo>
                    <a:pt x="50" y="4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49" y="0"/>
                  </a:lnTo>
                  <a:lnTo>
                    <a:pt x="46" y="1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6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5" y="12"/>
                  </a:lnTo>
                  <a:lnTo>
                    <a:pt x="22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8" y="17"/>
                  </a:lnTo>
                  <a:lnTo>
                    <a:pt x="17" y="19"/>
                  </a:lnTo>
                  <a:lnTo>
                    <a:pt x="17" y="22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6" y="26"/>
                  </a:lnTo>
                  <a:lnTo>
                    <a:pt x="1" y="28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30"/>
                  </a:lnTo>
                  <a:lnTo>
                    <a:pt x="1" y="32"/>
                  </a:lnTo>
                  <a:lnTo>
                    <a:pt x="4" y="35"/>
                  </a:lnTo>
                  <a:lnTo>
                    <a:pt x="8" y="37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6"/>
                  </a:lnTo>
                  <a:lnTo>
                    <a:pt x="11" y="48"/>
                  </a:lnTo>
                  <a:lnTo>
                    <a:pt x="13" y="53"/>
                  </a:lnTo>
                  <a:lnTo>
                    <a:pt x="13" y="54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8" y="58"/>
                  </a:lnTo>
                  <a:lnTo>
                    <a:pt x="7" y="61"/>
                  </a:lnTo>
                  <a:lnTo>
                    <a:pt x="6" y="65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10" y="73"/>
                  </a:lnTo>
                  <a:lnTo>
                    <a:pt x="11" y="73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4" y="71"/>
                  </a:lnTo>
                  <a:lnTo>
                    <a:pt x="15" y="71"/>
                  </a:lnTo>
                  <a:lnTo>
                    <a:pt x="21" y="69"/>
                  </a:lnTo>
                  <a:lnTo>
                    <a:pt x="26" y="69"/>
                  </a:lnTo>
                  <a:lnTo>
                    <a:pt x="28" y="69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9" y="67"/>
                  </a:lnTo>
                  <a:lnTo>
                    <a:pt x="31" y="65"/>
                  </a:lnTo>
                  <a:lnTo>
                    <a:pt x="36" y="64"/>
                  </a:lnTo>
                  <a:lnTo>
                    <a:pt x="40" y="62"/>
                  </a:lnTo>
                  <a:lnTo>
                    <a:pt x="43" y="62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4" y="57"/>
                  </a:lnTo>
                  <a:lnTo>
                    <a:pt x="49" y="53"/>
                  </a:lnTo>
                  <a:lnTo>
                    <a:pt x="53" y="48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8" y="47"/>
                  </a:lnTo>
                  <a:lnTo>
                    <a:pt x="60" y="48"/>
                  </a:lnTo>
                  <a:lnTo>
                    <a:pt x="60" y="53"/>
                  </a:lnTo>
                  <a:lnTo>
                    <a:pt x="61" y="57"/>
                  </a:lnTo>
                  <a:lnTo>
                    <a:pt x="61" y="58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5" y="61"/>
                  </a:lnTo>
                  <a:lnTo>
                    <a:pt x="67" y="64"/>
                  </a:lnTo>
                  <a:lnTo>
                    <a:pt x="65" y="69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4" y="79"/>
                  </a:lnTo>
                  <a:lnTo>
                    <a:pt x="64" y="79"/>
                  </a:lnTo>
                  <a:lnTo>
                    <a:pt x="67" y="79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81" y="76"/>
                  </a:lnTo>
                  <a:lnTo>
                    <a:pt x="81" y="76"/>
                  </a:lnTo>
                  <a:lnTo>
                    <a:pt x="90" y="68"/>
                  </a:lnTo>
                  <a:lnTo>
                    <a:pt x="94" y="65"/>
                  </a:lnTo>
                  <a:lnTo>
                    <a:pt x="97" y="65"/>
                  </a:lnTo>
                  <a:lnTo>
                    <a:pt x="97" y="65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1" name="Freeform 174">
              <a:extLst>
                <a:ext uri="{FF2B5EF4-FFF2-40B4-BE49-F238E27FC236}">
                  <a16:creationId xmlns:a16="http://schemas.microsoft.com/office/drawing/2014/main" id="{84433DEC-6C82-4FC1-AE55-969C2BB11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6001" y="2979738"/>
              <a:ext cx="352425" cy="250825"/>
            </a:xfrm>
            <a:custGeom>
              <a:avLst/>
              <a:gdLst>
                <a:gd name="T0" fmla="*/ 211 w 222"/>
                <a:gd name="T1" fmla="*/ 21 h 158"/>
                <a:gd name="T2" fmla="*/ 201 w 222"/>
                <a:gd name="T3" fmla="*/ 21 h 158"/>
                <a:gd name="T4" fmla="*/ 183 w 222"/>
                <a:gd name="T5" fmla="*/ 32 h 158"/>
                <a:gd name="T6" fmla="*/ 175 w 222"/>
                <a:gd name="T7" fmla="*/ 29 h 158"/>
                <a:gd name="T8" fmla="*/ 176 w 222"/>
                <a:gd name="T9" fmla="*/ 14 h 158"/>
                <a:gd name="T10" fmla="*/ 172 w 222"/>
                <a:gd name="T11" fmla="*/ 10 h 158"/>
                <a:gd name="T12" fmla="*/ 168 w 222"/>
                <a:gd name="T13" fmla="*/ 0 h 158"/>
                <a:gd name="T14" fmla="*/ 155 w 222"/>
                <a:gd name="T15" fmla="*/ 10 h 158"/>
                <a:gd name="T16" fmla="*/ 151 w 222"/>
                <a:gd name="T17" fmla="*/ 15 h 158"/>
                <a:gd name="T18" fmla="*/ 139 w 222"/>
                <a:gd name="T19" fmla="*/ 21 h 158"/>
                <a:gd name="T20" fmla="*/ 132 w 222"/>
                <a:gd name="T21" fmla="*/ 22 h 158"/>
                <a:gd name="T22" fmla="*/ 124 w 222"/>
                <a:gd name="T23" fmla="*/ 25 h 158"/>
                <a:gd name="T24" fmla="*/ 114 w 222"/>
                <a:gd name="T25" fmla="*/ 22 h 158"/>
                <a:gd name="T26" fmla="*/ 104 w 222"/>
                <a:gd name="T27" fmla="*/ 18 h 158"/>
                <a:gd name="T28" fmla="*/ 93 w 222"/>
                <a:gd name="T29" fmla="*/ 18 h 158"/>
                <a:gd name="T30" fmla="*/ 81 w 222"/>
                <a:gd name="T31" fmla="*/ 15 h 158"/>
                <a:gd name="T32" fmla="*/ 71 w 222"/>
                <a:gd name="T33" fmla="*/ 22 h 158"/>
                <a:gd name="T34" fmla="*/ 65 w 222"/>
                <a:gd name="T35" fmla="*/ 26 h 158"/>
                <a:gd name="T36" fmla="*/ 58 w 222"/>
                <a:gd name="T37" fmla="*/ 42 h 158"/>
                <a:gd name="T38" fmla="*/ 40 w 222"/>
                <a:gd name="T39" fmla="*/ 50 h 158"/>
                <a:gd name="T40" fmla="*/ 33 w 222"/>
                <a:gd name="T41" fmla="*/ 57 h 158"/>
                <a:gd name="T42" fmla="*/ 26 w 222"/>
                <a:gd name="T43" fmla="*/ 56 h 158"/>
                <a:gd name="T44" fmla="*/ 15 w 222"/>
                <a:gd name="T45" fmla="*/ 53 h 158"/>
                <a:gd name="T46" fmla="*/ 8 w 222"/>
                <a:gd name="T47" fmla="*/ 60 h 158"/>
                <a:gd name="T48" fmla="*/ 3 w 222"/>
                <a:gd name="T49" fmla="*/ 72 h 158"/>
                <a:gd name="T50" fmla="*/ 0 w 222"/>
                <a:gd name="T51" fmla="*/ 86 h 158"/>
                <a:gd name="T52" fmla="*/ 0 w 222"/>
                <a:gd name="T53" fmla="*/ 97 h 158"/>
                <a:gd name="T54" fmla="*/ 3 w 222"/>
                <a:gd name="T55" fmla="*/ 113 h 158"/>
                <a:gd name="T56" fmla="*/ 10 w 222"/>
                <a:gd name="T57" fmla="*/ 122 h 158"/>
                <a:gd name="T58" fmla="*/ 18 w 222"/>
                <a:gd name="T59" fmla="*/ 129 h 158"/>
                <a:gd name="T60" fmla="*/ 6 w 222"/>
                <a:gd name="T61" fmla="*/ 147 h 158"/>
                <a:gd name="T62" fmla="*/ 6 w 222"/>
                <a:gd name="T63" fmla="*/ 156 h 158"/>
                <a:gd name="T64" fmla="*/ 29 w 222"/>
                <a:gd name="T65" fmla="*/ 158 h 158"/>
                <a:gd name="T66" fmla="*/ 93 w 222"/>
                <a:gd name="T67" fmla="*/ 151 h 158"/>
                <a:gd name="T68" fmla="*/ 92 w 222"/>
                <a:gd name="T69" fmla="*/ 135 h 158"/>
                <a:gd name="T70" fmla="*/ 104 w 222"/>
                <a:gd name="T71" fmla="*/ 128 h 158"/>
                <a:gd name="T72" fmla="*/ 114 w 222"/>
                <a:gd name="T73" fmla="*/ 125 h 158"/>
                <a:gd name="T74" fmla="*/ 122 w 222"/>
                <a:gd name="T75" fmla="*/ 119 h 158"/>
                <a:gd name="T76" fmla="*/ 130 w 222"/>
                <a:gd name="T77" fmla="*/ 119 h 158"/>
                <a:gd name="T78" fmla="*/ 139 w 222"/>
                <a:gd name="T79" fmla="*/ 113 h 158"/>
                <a:gd name="T80" fmla="*/ 143 w 222"/>
                <a:gd name="T81" fmla="*/ 96 h 158"/>
                <a:gd name="T82" fmla="*/ 153 w 222"/>
                <a:gd name="T83" fmla="*/ 92 h 158"/>
                <a:gd name="T84" fmla="*/ 149 w 222"/>
                <a:gd name="T85" fmla="*/ 81 h 158"/>
                <a:gd name="T86" fmla="*/ 158 w 222"/>
                <a:gd name="T87" fmla="*/ 81 h 158"/>
                <a:gd name="T88" fmla="*/ 167 w 222"/>
                <a:gd name="T89" fmla="*/ 79 h 158"/>
                <a:gd name="T90" fmla="*/ 168 w 222"/>
                <a:gd name="T91" fmla="*/ 67 h 158"/>
                <a:gd name="T92" fmla="*/ 175 w 222"/>
                <a:gd name="T93" fmla="*/ 56 h 158"/>
                <a:gd name="T94" fmla="*/ 172 w 222"/>
                <a:gd name="T95" fmla="*/ 47 h 158"/>
                <a:gd name="T96" fmla="*/ 172 w 222"/>
                <a:gd name="T97" fmla="*/ 40 h 158"/>
                <a:gd name="T98" fmla="*/ 178 w 222"/>
                <a:gd name="T99" fmla="*/ 38 h 158"/>
                <a:gd name="T100" fmla="*/ 190 w 222"/>
                <a:gd name="T101" fmla="*/ 32 h 158"/>
                <a:gd name="T102" fmla="*/ 207 w 222"/>
                <a:gd name="T103" fmla="*/ 29 h 158"/>
                <a:gd name="T104" fmla="*/ 222 w 222"/>
                <a:gd name="T105" fmla="*/ 24 h 158"/>
                <a:gd name="T106" fmla="*/ 214 w 222"/>
                <a:gd name="T107" fmla="*/ 2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2" h="158">
                  <a:moveTo>
                    <a:pt x="214" y="22"/>
                  </a:moveTo>
                  <a:lnTo>
                    <a:pt x="214" y="22"/>
                  </a:lnTo>
                  <a:lnTo>
                    <a:pt x="212" y="22"/>
                  </a:lnTo>
                  <a:lnTo>
                    <a:pt x="211" y="21"/>
                  </a:lnTo>
                  <a:lnTo>
                    <a:pt x="208" y="18"/>
                  </a:lnTo>
                  <a:lnTo>
                    <a:pt x="208" y="18"/>
                  </a:lnTo>
                  <a:lnTo>
                    <a:pt x="205" y="18"/>
                  </a:lnTo>
                  <a:lnTo>
                    <a:pt x="201" y="21"/>
                  </a:lnTo>
                  <a:lnTo>
                    <a:pt x="192" y="29"/>
                  </a:lnTo>
                  <a:lnTo>
                    <a:pt x="192" y="29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78" y="32"/>
                  </a:lnTo>
                  <a:lnTo>
                    <a:pt x="175" y="32"/>
                  </a:lnTo>
                  <a:lnTo>
                    <a:pt x="175" y="32"/>
                  </a:lnTo>
                  <a:lnTo>
                    <a:pt x="175" y="29"/>
                  </a:lnTo>
                  <a:lnTo>
                    <a:pt x="175" y="28"/>
                  </a:lnTo>
                  <a:lnTo>
                    <a:pt x="176" y="22"/>
                  </a:lnTo>
                  <a:lnTo>
                    <a:pt x="178" y="17"/>
                  </a:lnTo>
                  <a:lnTo>
                    <a:pt x="176" y="14"/>
                  </a:lnTo>
                  <a:lnTo>
                    <a:pt x="175" y="13"/>
                  </a:lnTo>
                  <a:lnTo>
                    <a:pt x="175" y="13"/>
                  </a:lnTo>
                  <a:lnTo>
                    <a:pt x="172" y="11"/>
                  </a:lnTo>
                  <a:lnTo>
                    <a:pt x="172" y="10"/>
                  </a:lnTo>
                  <a:lnTo>
                    <a:pt x="171" y="6"/>
                  </a:lnTo>
                  <a:lnTo>
                    <a:pt x="171" y="1"/>
                  </a:lnTo>
                  <a:lnTo>
                    <a:pt x="169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4" y="1"/>
                  </a:lnTo>
                  <a:lnTo>
                    <a:pt x="160" y="6"/>
                  </a:lnTo>
                  <a:lnTo>
                    <a:pt x="155" y="10"/>
                  </a:lnTo>
                  <a:lnTo>
                    <a:pt x="154" y="14"/>
                  </a:lnTo>
                  <a:lnTo>
                    <a:pt x="154" y="14"/>
                  </a:lnTo>
                  <a:lnTo>
                    <a:pt x="154" y="15"/>
                  </a:lnTo>
                  <a:lnTo>
                    <a:pt x="151" y="15"/>
                  </a:lnTo>
                  <a:lnTo>
                    <a:pt x="147" y="17"/>
                  </a:lnTo>
                  <a:lnTo>
                    <a:pt x="142" y="18"/>
                  </a:lnTo>
                  <a:lnTo>
                    <a:pt x="140" y="20"/>
                  </a:lnTo>
                  <a:lnTo>
                    <a:pt x="139" y="21"/>
                  </a:lnTo>
                  <a:lnTo>
                    <a:pt x="139" y="21"/>
                  </a:lnTo>
                  <a:lnTo>
                    <a:pt x="139" y="22"/>
                  </a:lnTo>
                  <a:lnTo>
                    <a:pt x="137" y="22"/>
                  </a:lnTo>
                  <a:lnTo>
                    <a:pt x="132" y="22"/>
                  </a:lnTo>
                  <a:lnTo>
                    <a:pt x="126" y="24"/>
                  </a:lnTo>
                  <a:lnTo>
                    <a:pt x="125" y="24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2" y="26"/>
                  </a:lnTo>
                  <a:lnTo>
                    <a:pt x="121" y="26"/>
                  </a:lnTo>
                  <a:lnTo>
                    <a:pt x="117" y="25"/>
                  </a:lnTo>
                  <a:lnTo>
                    <a:pt x="114" y="22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07" y="21"/>
                  </a:lnTo>
                  <a:lnTo>
                    <a:pt x="104" y="18"/>
                  </a:lnTo>
                  <a:lnTo>
                    <a:pt x="100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3" y="18"/>
                  </a:lnTo>
                  <a:lnTo>
                    <a:pt x="90" y="17"/>
                  </a:lnTo>
                  <a:lnTo>
                    <a:pt x="83" y="15"/>
                  </a:lnTo>
                  <a:lnTo>
                    <a:pt x="83" y="15"/>
                  </a:lnTo>
                  <a:lnTo>
                    <a:pt x="81" y="15"/>
                  </a:lnTo>
                  <a:lnTo>
                    <a:pt x="78" y="20"/>
                  </a:lnTo>
                  <a:lnTo>
                    <a:pt x="75" y="22"/>
                  </a:lnTo>
                  <a:lnTo>
                    <a:pt x="74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69" y="22"/>
                  </a:lnTo>
                  <a:lnTo>
                    <a:pt x="68" y="24"/>
                  </a:lnTo>
                  <a:lnTo>
                    <a:pt x="65" y="26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1" y="40"/>
                  </a:lnTo>
                  <a:lnTo>
                    <a:pt x="58" y="42"/>
                  </a:lnTo>
                  <a:lnTo>
                    <a:pt x="50" y="44"/>
                  </a:lnTo>
                  <a:lnTo>
                    <a:pt x="43" y="47"/>
                  </a:lnTo>
                  <a:lnTo>
                    <a:pt x="40" y="49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39" y="53"/>
                  </a:lnTo>
                  <a:lnTo>
                    <a:pt x="39" y="56"/>
                  </a:lnTo>
                  <a:lnTo>
                    <a:pt x="33" y="57"/>
                  </a:lnTo>
                  <a:lnTo>
                    <a:pt x="29" y="57"/>
                  </a:lnTo>
                  <a:lnTo>
                    <a:pt x="28" y="57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5" y="53"/>
                  </a:lnTo>
                  <a:lnTo>
                    <a:pt x="21" y="53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4" y="53"/>
                  </a:lnTo>
                  <a:lnTo>
                    <a:pt x="11" y="53"/>
                  </a:lnTo>
                  <a:lnTo>
                    <a:pt x="8" y="56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6" y="68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0" y="79"/>
                  </a:lnTo>
                  <a:lnTo>
                    <a:pt x="0" y="82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1" y="89"/>
                  </a:lnTo>
                  <a:lnTo>
                    <a:pt x="0" y="93"/>
                  </a:lnTo>
                  <a:lnTo>
                    <a:pt x="0" y="97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1" y="108"/>
                  </a:lnTo>
                  <a:lnTo>
                    <a:pt x="3" y="113"/>
                  </a:lnTo>
                  <a:lnTo>
                    <a:pt x="3" y="121"/>
                  </a:lnTo>
                  <a:lnTo>
                    <a:pt x="3" y="121"/>
                  </a:lnTo>
                  <a:lnTo>
                    <a:pt x="6" y="122"/>
                  </a:lnTo>
                  <a:lnTo>
                    <a:pt x="10" y="122"/>
                  </a:lnTo>
                  <a:lnTo>
                    <a:pt x="15" y="125"/>
                  </a:lnTo>
                  <a:lnTo>
                    <a:pt x="17" y="126"/>
                  </a:lnTo>
                  <a:lnTo>
                    <a:pt x="18" y="129"/>
                  </a:lnTo>
                  <a:lnTo>
                    <a:pt x="18" y="129"/>
                  </a:lnTo>
                  <a:lnTo>
                    <a:pt x="18" y="132"/>
                  </a:lnTo>
                  <a:lnTo>
                    <a:pt x="17" y="135"/>
                  </a:lnTo>
                  <a:lnTo>
                    <a:pt x="11" y="140"/>
                  </a:lnTo>
                  <a:lnTo>
                    <a:pt x="6" y="147"/>
                  </a:lnTo>
                  <a:lnTo>
                    <a:pt x="3" y="151"/>
                  </a:lnTo>
                  <a:lnTo>
                    <a:pt x="3" y="151"/>
                  </a:lnTo>
                  <a:lnTo>
                    <a:pt x="3" y="153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17" y="157"/>
                  </a:lnTo>
                  <a:lnTo>
                    <a:pt x="29" y="158"/>
                  </a:lnTo>
                  <a:lnTo>
                    <a:pt x="29" y="158"/>
                  </a:lnTo>
                  <a:lnTo>
                    <a:pt x="43" y="158"/>
                  </a:lnTo>
                  <a:lnTo>
                    <a:pt x="64" y="156"/>
                  </a:lnTo>
                  <a:lnTo>
                    <a:pt x="83" y="153"/>
                  </a:lnTo>
                  <a:lnTo>
                    <a:pt x="93" y="151"/>
                  </a:lnTo>
                  <a:lnTo>
                    <a:pt x="93" y="151"/>
                  </a:lnTo>
                  <a:lnTo>
                    <a:pt x="92" y="143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3" y="133"/>
                  </a:lnTo>
                  <a:lnTo>
                    <a:pt x="96" y="131"/>
                  </a:lnTo>
                  <a:lnTo>
                    <a:pt x="99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11" y="128"/>
                  </a:lnTo>
                  <a:lnTo>
                    <a:pt x="114" y="128"/>
                  </a:lnTo>
                  <a:lnTo>
                    <a:pt x="114" y="125"/>
                  </a:lnTo>
                  <a:lnTo>
                    <a:pt x="114" y="125"/>
                  </a:lnTo>
                  <a:lnTo>
                    <a:pt x="115" y="124"/>
                  </a:lnTo>
                  <a:lnTo>
                    <a:pt x="117" y="122"/>
                  </a:lnTo>
                  <a:lnTo>
                    <a:pt x="122" y="119"/>
                  </a:lnTo>
                  <a:lnTo>
                    <a:pt x="128" y="118"/>
                  </a:lnTo>
                  <a:lnTo>
                    <a:pt x="129" y="118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2" y="121"/>
                  </a:lnTo>
                  <a:lnTo>
                    <a:pt x="135" y="121"/>
                  </a:lnTo>
                  <a:lnTo>
                    <a:pt x="137" y="118"/>
                  </a:lnTo>
                  <a:lnTo>
                    <a:pt x="139" y="113"/>
                  </a:lnTo>
                  <a:lnTo>
                    <a:pt x="139" y="113"/>
                  </a:lnTo>
                  <a:lnTo>
                    <a:pt x="139" y="101"/>
                  </a:lnTo>
                  <a:lnTo>
                    <a:pt x="140" y="97"/>
                  </a:lnTo>
                  <a:lnTo>
                    <a:pt x="143" y="96"/>
                  </a:lnTo>
                  <a:lnTo>
                    <a:pt x="143" y="96"/>
                  </a:lnTo>
                  <a:lnTo>
                    <a:pt x="147" y="94"/>
                  </a:lnTo>
                  <a:lnTo>
                    <a:pt x="151" y="93"/>
                  </a:lnTo>
                  <a:lnTo>
                    <a:pt x="153" y="92"/>
                  </a:lnTo>
                  <a:lnTo>
                    <a:pt x="154" y="89"/>
                  </a:lnTo>
                  <a:lnTo>
                    <a:pt x="154" y="89"/>
                  </a:lnTo>
                  <a:lnTo>
                    <a:pt x="150" y="83"/>
                  </a:lnTo>
                  <a:lnTo>
                    <a:pt x="149" y="81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53" y="79"/>
                  </a:lnTo>
                  <a:lnTo>
                    <a:pt x="158" y="81"/>
                  </a:lnTo>
                  <a:lnTo>
                    <a:pt x="164" y="81"/>
                  </a:lnTo>
                  <a:lnTo>
                    <a:pt x="165" y="81"/>
                  </a:lnTo>
                  <a:lnTo>
                    <a:pt x="167" y="79"/>
                  </a:lnTo>
                  <a:lnTo>
                    <a:pt x="167" y="79"/>
                  </a:lnTo>
                  <a:lnTo>
                    <a:pt x="167" y="76"/>
                  </a:lnTo>
                  <a:lnTo>
                    <a:pt x="167" y="74"/>
                  </a:lnTo>
                  <a:lnTo>
                    <a:pt x="167" y="69"/>
                  </a:lnTo>
                  <a:lnTo>
                    <a:pt x="168" y="67"/>
                  </a:lnTo>
                  <a:lnTo>
                    <a:pt x="168" y="67"/>
                  </a:lnTo>
                  <a:lnTo>
                    <a:pt x="172" y="61"/>
                  </a:lnTo>
                  <a:lnTo>
                    <a:pt x="175" y="58"/>
                  </a:lnTo>
                  <a:lnTo>
                    <a:pt x="175" y="56"/>
                  </a:lnTo>
                  <a:lnTo>
                    <a:pt x="175" y="56"/>
                  </a:lnTo>
                  <a:lnTo>
                    <a:pt x="175" y="51"/>
                  </a:lnTo>
                  <a:lnTo>
                    <a:pt x="174" y="49"/>
                  </a:lnTo>
                  <a:lnTo>
                    <a:pt x="172" y="47"/>
                  </a:lnTo>
                  <a:lnTo>
                    <a:pt x="172" y="47"/>
                  </a:lnTo>
                  <a:lnTo>
                    <a:pt x="171" y="44"/>
                  </a:lnTo>
                  <a:lnTo>
                    <a:pt x="171" y="42"/>
                  </a:lnTo>
                  <a:lnTo>
                    <a:pt x="172" y="40"/>
                  </a:lnTo>
                  <a:lnTo>
                    <a:pt x="175" y="39"/>
                  </a:lnTo>
                  <a:lnTo>
                    <a:pt x="175" y="39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82" y="36"/>
                  </a:lnTo>
                  <a:lnTo>
                    <a:pt x="185" y="35"/>
                  </a:lnTo>
                  <a:lnTo>
                    <a:pt x="185" y="35"/>
                  </a:lnTo>
                  <a:lnTo>
                    <a:pt x="190" y="32"/>
                  </a:lnTo>
                  <a:lnTo>
                    <a:pt x="196" y="29"/>
                  </a:lnTo>
                  <a:lnTo>
                    <a:pt x="203" y="28"/>
                  </a:lnTo>
                  <a:lnTo>
                    <a:pt x="207" y="29"/>
                  </a:lnTo>
                  <a:lnTo>
                    <a:pt x="207" y="29"/>
                  </a:lnTo>
                  <a:lnTo>
                    <a:pt x="210" y="29"/>
                  </a:lnTo>
                  <a:lnTo>
                    <a:pt x="214" y="29"/>
                  </a:lnTo>
                  <a:lnTo>
                    <a:pt x="218" y="26"/>
                  </a:lnTo>
                  <a:lnTo>
                    <a:pt x="222" y="24"/>
                  </a:lnTo>
                  <a:lnTo>
                    <a:pt x="222" y="24"/>
                  </a:lnTo>
                  <a:lnTo>
                    <a:pt x="218" y="22"/>
                  </a:lnTo>
                  <a:lnTo>
                    <a:pt x="214" y="22"/>
                  </a:lnTo>
                  <a:lnTo>
                    <a:pt x="214" y="22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2" name="Freeform 175">
              <a:extLst>
                <a:ext uri="{FF2B5EF4-FFF2-40B4-BE49-F238E27FC236}">
                  <a16:creationId xmlns:a16="http://schemas.microsoft.com/office/drawing/2014/main" id="{A542E06F-8BA4-4E66-839F-F2E6CD3D2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5526" y="3017838"/>
              <a:ext cx="409575" cy="369888"/>
            </a:xfrm>
            <a:custGeom>
              <a:avLst/>
              <a:gdLst>
                <a:gd name="T0" fmla="*/ 238 w 258"/>
                <a:gd name="T1" fmla="*/ 12 h 233"/>
                <a:gd name="T2" fmla="*/ 224 w 258"/>
                <a:gd name="T3" fmla="*/ 1 h 233"/>
                <a:gd name="T4" fmla="*/ 212 w 258"/>
                <a:gd name="T5" fmla="*/ 2 h 233"/>
                <a:gd name="T6" fmla="*/ 197 w 258"/>
                <a:gd name="T7" fmla="*/ 4 h 233"/>
                <a:gd name="T8" fmla="*/ 176 w 258"/>
                <a:gd name="T9" fmla="*/ 12 h 233"/>
                <a:gd name="T10" fmla="*/ 166 w 258"/>
                <a:gd name="T11" fmla="*/ 16 h 233"/>
                <a:gd name="T12" fmla="*/ 168 w 258"/>
                <a:gd name="T13" fmla="*/ 25 h 233"/>
                <a:gd name="T14" fmla="*/ 166 w 258"/>
                <a:gd name="T15" fmla="*/ 37 h 233"/>
                <a:gd name="T16" fmla="*/ 161 w 258"/>
                <a:gd name="T17" fmla="*/ 52 h 233"/>
                <a:gd name="T18" fmla="*/ 152 w 258"/>
                <a:gd name="T19" fmla="*/ 57 h 233"/>
                <a:gd name="T20" fmla="*/ 144 w 258"/>
                <a:gd name="T21" fmla="*/ 59 h 233"/>
                <a:gd name="T22" fmla="*/ 141 w 258"/>
                <a:gd name="T23" fmla="*/ 70 h 233"/>
                <a:gd name="T24" fmla="*/ 133 w 258"/>
                <a:gd name="T25" fmla="*/ 89 h 233"/>
                <a:gd name="T26" fmla="*/ 124 w 258"/>
                <a:gd name="T27" fmla="*/ 95 h 233"/>
                <a:gd name="T28" fmla="*/ 111 w 258"/>
                <a:gd name="T29" fmla="*/ 98 h 233"/>
                <a:gd name="T30" fmla="*/ 105 w 258"/>
                <a:gd name="T31" fmla="*/ 104 h 233"/>
                <a:gd name="T32" fmla="*/ 87 w 258"/>
                <a:gd name="T33" fmla="*/ 109 h 233"/>
                <a:gd name="T34" fmla="*/ 87 w 258"/>
                <a:gd name="T35" fmla="*/ 127 h 233"/>
                <a:gd name="T36" fmla="*/ 23 w 258"/>
                <a:gd name="T37" fmla="*/ 134 h 233"/>
                <a:gd name="T38" fmla="*/ 6 w 258"/>
                <a:gd name="T39" fmla="*/ 140 h 233"/>
                <a:gd name="T40" fmla="*/ 23 w 258"/>
                <a:gd name="T41" fmla="*/ 154 h 233"/>
                <a:gd name="T42" fmla="*/ 29 w 258"/>
                <a:gd name="T43" fmla="*/ 169 h 233"/>
                <a:gd name="T44" fmla="*/ 36 w 258"/>
                <a:gd name="T45" fmla="*/ 177 h 233"/>
                <a:gd name="T46" fmla="*/ 27 w 258"/>
                <a:gd name="T47" fmla="*/ 184 h 233"/>
                <a:gd name="T48" fmla="*/ 11 w 258"/>
                <a:gd name="T49" fmla="*/ 198 h 233"/>
                <a:gd name="T50" fmla="*/ 29 w 258"/>
                <a:gd name="T51" fmla="*/ 207 h 233"/>
                <a:gd name="T52" fmla="*/ 45 w 258"/>
                <a:gd name="T53" fmla="*/ 202 h 233"/>
                <a:gd name="T54" fmla="*/ 63 w 258"/>
                <a:gd name="T55" fmla="*/ 205 h 233"/>
                <a:gd name="T56" fmla="*/ 86 w 258"/>
                <a:gd name="T57" fmla="*/ 202 h 233"/>
                <a:gd name="T58" fmla="*/ 91 w 258"/>
                <a:gd name="T59" fmla="*/ 211 h 233"/>
                <a:gd name="T60" fmla="*/ 98 w 258"/>
                <a:gd name="T61" fmla="*/ 223 h 233"/>
                <a:gd name="T62" fmla="*/ 113 w 258"/>
                <a:gd name="T63" fmla="*/ 231 h 233"/>
                <a:gd name="T64" fmla="*/ 116 w 258"/>
                <a:gd name="T65" fmla="*/ 233 h 233"/>
                <a:gd name="T66" fmla="*/ 137 w 258"/>
                <a:gd name="T67" fmla="*/ 223 h 233"/>
                <a:gd name="T68" fmla="*/ 152 w 258"/>
                <a:gd name="T69" fmla="*/ 222 h 233"/>
                <a:gd name="T70" fmla="*/ 156 w 258"/>
                <a:gd name="T71" fmla="*/ 212 h 233"/>
                <a:gd name="T72" fmla="*/ 145 w 258"/>
                <a:gd name="T73" fmla="*/ 188 h 233"/>
                <a:gd name="T74" fmla="*/ 137 w 258"/>
                <a:gd name="T75" fmla="*/ 180 h 233"/>
                <a:gd name="T76" fmla="*/ 140 w 258"/>
                <a:gd name="T77" fmla="*/ 169 h 233"/>
                <a:gd name="T78" fmla="*/ 156 w 258"/>
                <a:gd name="T79" fmla="*/ 165 h 233"/>
                <a:gd name="T80" fmla="*/ 163 w 258"/>
                <a:gd name="T81" fmla="*/ 162 h 233"/>
                <a:gd name="T82" fmla="*/ 177 w 258"/>
                <a:gd name="T83" fmla="*/ 155 h 233"/>
                <a:gd name="T84" fmla="*/ 184 w 258"/>
                <a:gd name="T85" fmla="*/ 145 h 233"/>
                <a:gd name="T86" fmla="*/ 197 w 258"/>
                <a:gd name="T87" fmla="*/ 127 h 233"/>
                <a:gd name="T88" fmla="*/ 206 w 258"/>
                <a:gd name="T89" fmla="*/ 119 h 233"/>
                <a:gd name="T90" fmla="*/ 213 w 258"/>
                <a:gd name="T91" fmla="*/ 111 h 233"/>
                <a:gd name="T92" fmla="*/ 218 w 258"/>
                <a:gd name="T93" fmla="*/ 100 h 233"/>
                <a:gd name="T94" fmla="*/ 224 w 258"/>
                <a:gd name="T95" fmla="*/ 87 h 233"/>
                <a:gd name="T96" fmla="*/ 218 w 258"/>
                <a:gd name="T97" fmla="*/ 80 h 233"/>
                <a:gd name="T98" fmla="*/ 208 w 258"/>
                <a:gd name="T99" fmla="*/ 65 h 233"/>
                <a:gd name="T100" fmla="*/ 205 w 258"/>
                <a:gd name="T101" fmla="*/ 51 h 233"/>
                <a:gd name="T102" fmla="*/ 213 w 258"/>
                <a:gd name="T103" fmla="*/ 43 h 233"/>
                <a:gd name="T104" fmla="*/ 237 w 258"/>
                <a:gd name="T105" fmla="*/ 47 h 233"/>
                <a:gd name="T106" fmla="*/ 256 w 258"/>
                <a:gd name="T107" fmla="*/ 3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8" h="233">
                  <a:moveTo>
                    <a:pt x="247" y="25"/>
                  </a:moveTo>
                  <a:lnTo>
                    <a:pt x="247" y="25"/>
                  </a:lnTo>
                  <a:lnTo>
                    <a:pt x="241" y="20"/>
                  </a:lnTo>
                  <a:lnTo>
                    <a:pt x="240" y="18"/>
                  </a:lnTo>
                  <a:lnTo>
                    <a:pt x="238" y="12"/>
                  </a:lnTo>
                  <a:lnTo>
                    <a:pt x="238" y="12"/>
                  </a:lnTo>
                  <a:lnTo>
                    <a:pt x="237" y="11"/>
                  </a:lnTo>
                  <a:lnTo>
                    <a:pt x="233" y="8"/>
                  </a:lnTo>
                  <a:lnTo>
                    <a:pt x="224" y="1"/>
                  </a:lnTo>
                  <a:lnTo>
                    <a:pt x="224" y="1"/>
                  </a:lnTo>
                  <a:lnTo>
                    <a:pt x="219" y="1"/>
                  </a:lnTo>
                  <a:lnTo>
                    <a:pt x="219" y="1"/>
                  </a:lnTo>
                  <a:lnTo>
                    <a:pt x="216" y="0"/>
                  </a:lnTo>
                  <a:lnTo>
                    <a:pt x="216" y="0"/>
                  </a:lnTo>
                  <a:lnTo>
                    <a:pt x="212" y="2"/>
                  </a:lnTo>
                  <a:lnTo>
                    <a:pt x="208" y="5"/>
                  </a:lnTo>
                  <a:lnTo>
                    <a:pt x="204" y="5"/>
                  </a:lnTo>
                  <a:lnTo>
                    <a:pt x="201" y="5"/>
                  </a:lnTo>
                  <a:lnTo>
                    <a:pt x="201" y="5"/>
                  </a:lnTo>
                  <a:lnTo>
                    <a:pt x="197" y="4"/>
                  </a:lnTo>
                  <a:lnTo>
                    <a:pt x="190" y="5"/>
                  </a:lnTo>
                  <a:lnTo>
                    <a:pt x="184" y="8"/>
                  </a:lnTo>
                  <a:lnTo>
                    <a:pt x="179" y="11"/>
                  </a:lnTo>
                  <a:lnTo>
                    <a:pt x="179" y="11"/>
                  </a:lnTo>
                  <a:lnTo>
                    <a:pt x="176" y="12"/>
                  </a:lnTo>
                  <a:lnTo>
                    <a:pt x="172" y="14"/>
                  </a:lnTo>
                  <a:lnTo>
                    <a:pt x="172" y="14"/>
                  </a:lnTo>
                  <a:lnTo>
                    <a:pt x="169" y="15"/>
                  </a:lnTo>
                  <a:lnTo>
                    <a:pt x="169" y="15"/>
                  </a:lnTo>
                  <a:lnTo>
                    <a:pt x="166" y="16"/>
                  </a:lnTo>
                  <a:lnTo>
                    <a:pt x="165" y="18"/>
                  </a:lnTo>
                  <a:lnTo>
                    <a:pt x="165" y="20"/>
                  </a:lnTo>
                  <a:lnTo>
                    <a:pt x="166" y="23"/>
                  </a:lnTo>
                  <a:lnTo>
                    <a:pt x="166" y="23"/>
                  </a:lnTo>
                  <a:lnTo>
                    <a:pt x="168" y="25"/>
                  </a:lnTo>
                  <a:lnTo>
                    <a:pt x="169" y="27"/>
                  </a:lnTo>
                  <a:lnTo>
                    <a:pt x="169" y="32"/>
                  </a:lnTo>
                  <a:lnTo>
                    <a:pt x="169" y="32"/>
                  </a:lnTo>
                  <a:lnTo>
                    <a:pt x="169" y="34"/>
                  </a:lnTo>
                  <a:lnTo>
                    <a:pt x="166" y="37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1" y="45"/>
                  </a:lnTo>
                  <a:lnTo>
                    <a:pt x="161" y="50"/>
                  </a:lnTo>
                  <a:lnTo>
                    <a:pt x="161" y="52"/>
                  </a:lnTo>
                  <a:lnTo>
                    <a:pt x="161" y="55"/>
                  </a:lnTo>
                  <a:lnTo>
                    <a:pt x="161" y="55"/>
                  </a:lnTo>
                  <a:lnTo>
                    <a:pt x="159" y="57"/>
                  </a:lnTo>
                  <a:lnTo>
                    <a:pt x="158" y="57"/>
                  </a:lnTo>
                  <a:lnTo>
                    <a:pt x="152" y="57"/>
                  </a:lnTo>
                  <a:lnTo>
                    <a:pt x="147" y="55"/>
                  </a:lnTo>
                  <a:lnTo>
                    <a:pt x="143" y="55"/>
                  </a:lnTo>
                  <a:lnTo>
                    <a:pt x="143" y="55"/>
                  </a:lnTo>
                  <a:lnTo>
                    <a:pt x="143" y="57"/>
                  </a:lnTo>
                  <a:lnTo>
                    <a:pt x="144" y="59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7" y="68"/>
                  </a:lnTo>
                  <a:lnTo>
                    <a:pt x="145" y="69"/>
                  </a:lnTo>
                  <a:lnTo>
                    <a:pt x="141" y="70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4" y="73"/>
                  </a:lnTo>
                  <a:lnTo>
                    <a:pt x="133" y="77"/>
                  </a:lnTo>
                  <a:lnTo>
                    <a:pt x="133" y="89"/>
                  </a:lnTo>
                  <a:lnTo>
                    <a:pt x="133" y="89"/>
                  </a:lnTo>
                  <a:lnTo>
                    <a:pt x="131" y="94"/>
                  </a:lnTo>
                  <a:lnTo>
                    <a:pt x="129" y="97"/>
                  </a:lnTo>
                  <a:lnTo>
                    <a:pt x="126" y="97"/>
                  </a:lnTo>
                  <a:lnTo>
                    <a:pt x="124" y="95"/>
                  </a:lnTo>
                  <a:lnTo>
                    <a:pt x="124" y="95"/>
                  </a:lnTo>
                  <a:lnTo>
                    <a:pt x="123" y="94"/>
                  </a:lnTo>
                  <a:lnTo>
                    <a:pt x="122" y="94"/>
                  </a:lnTo>
                  <a:lnTo>
                    <a:pt x="116" y="95"/>
                  </a:lnTo>
                  <a:lnTo>
                    <a:pt x="111" y="98"/>
                  </a:lnTo>
                  <a:lnTo>
                    <a:pt x="109" y="100"/>
                  </a:lnTo>
                  <a:lnTo>
                    <a:pt x="108" y="101"/>
                  </a:lnTo>
                  <a:lnTo>
                    <a:pt x="108" y="101"/>
                  </a:lnTo>
                  <a:lnTo>
                    <a:pt x="108" y="104"/>
                  </a:lnTo>
                  <a:lnTo>
                    <a:pt x="105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3" y="104"/>
                  </a:lnTo>
                  <a:lnTo>
                    <a:pt x="90" y="107"/>
                  </a:lnTo>
                  <a:lnTo>
                    <a:pt x="87" y="109"/>
                  </a:lnTo>
                  <a:lnTo>
                    <a:pt x="86" y="111"/>
                  </a:lnTo>
                  <a:lnTo>
                    <a:pt x="86" y="111"/>
                  </a:lnTo>
                  <a:lnTo>
                    <a:pt x="86" y="119"/>
                  </a:lnTo>
                  <a:lnTo>
                    <a:pt x="87" y="127"/>
                  </a:lnTo>
                  <a:lnTo>
                    <a:pt x="87" y="127"/>
                  </a:lnTo>
                  <a:lnTo>
                    <a:pt x="77" y="129"/>
                  </a:lnTo>
                  <a:lnTo>
                    <a:pt x="58" y="132"/>
                  </a:lnTo>
                  <a:lnTo>
                    <a:pt x="37" y="134"/>
                  </a:lnTo>
                  <a:lnTo>
                    <a:pt x="23" y="134"/>
                  </a:lnTo>
                  <a:lnTo>
                    <a:pt x="23" y="134"/>
                  </a:lnTo>
                  <a:lnTo>
                    <a:pt x="11" y="133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4" y="136"/>
                  </a:lnTo>
                  <a:lnTo>
                    <a:pt x="6" y="140"/>
                  </a:lnTo>
                  <a:lnTo>
                    <a:pt x="6" y="140"/>
                  </a:lnTo>
                  <a:lnTo>
                    <a:pt x="9" y="144"/>
                  </a:lnTo>
                  <a:lnTo>
                    <a:pt x="13" y="148"/>
                  </a:lnTo>
                  <a:lnTo>
                    <a:pt x="18" y="151"/>
                  </a:lnTo>
                  <a:lnTo>
                    <a:pt x="23" y="154"/>
                  </a:lnTo>
                  <a:lnTo>
                    <a:pt x="23" y="154"/>
                  </a:lnTo>
                  <a:lnTo>
                    <a:pt x="25" y="155"/>
                  </a:lnTo>
                  <a:lnTo>
                    <a:pt x="26" y="158"/>
                  </a:lnTo>
                  <a:lnTo>
                    <a:pt x="27" y="163"/>
                  </a:lnTo>
                  <a:lnTo>
                    <a:pt x="29" y="169"/>
                  </a:lnTo>
                  <a:lnTo>
                    <a:pt x="29" y="170"/>
                  </a:lnTo>
                  <a:lnTo>
                    <a:pt x="30" y="172"/>
                  </a:lnTo>
                  <a:lnTo>
                    <a:pt x="30" y="172"/>
                  </a:lnTo>
                  <a:lnTo>
                    <a:pt x="33" y="173"/>
                  </a:lnTo>
                  <a:lnTo>
                    <a:pt x="36" y="177"/>
                  </a:lnTo>
                  <a:lnTo>
                    <a:pt x="36" y="182"/>
                  </a:lnTo>
                  <a:lnTo>
                    <a:pt x="36" y="183"/>
                  </a:lnTo>
                  <a:lnTo>
                    <a:pt x="34" y="183"/>
                  </a:lnTo>
                  <a:lnTo>
                    <a:pt x="34" y="183"/>
                  </a:lnTo>
                  <a:lnTo>
                    <a:pt x="27" y="184"/>
                  </a:lnTo>
                  <a:lnTo>
                    <a:pt x="20" y="187"/>
                  </a:lnTo>
                  <a:lnTo>
                    <a:pt x="20" y="187"/>
                  </a:lnTo>
                  <a:lnTo>
                    <a:pt x="16" y="190"/>
                  </a:lnTo>
                  <a:lnTo>
                    <a:pt x="12" y="194"/>
                  </a:lnTo>
                  <a:lnTo>
                    <a:pt x="11" y="198"/>
                  </a:lnTo>
                  <a:lnTo>
                    <a:pt x="9" y="204"/>
                  </a:lnTo>
                  <a:lnTo>
                    <a:pt x="9" y="204"/>
                  </a:lnTo>
                  <a:lnTo>
                    <a:pt x="11" y="208"/>
                  </a:lnTo>
                  <a:lnTo>
                    <a:pt x="11" y="208"/>
                  </a:lnTo>
                  <a:lnTo>
                    <a:pt x="29" y="207"/>
                  </a:lnTo>
                  <a:lnTo>
                    <a:pt x="36" y="207"/>
                  </a:lnTo>
                  <a:lnTo>
                    <a:pt x="40" y="205"/>
                  </a:lnTo>
                  <a:lnTo>
                    <a:pt x="40" y="205"/>
                  </a:lnTo>
                  <a:lnTo>
                    <a:pt x="41" y="204"/>
                  </a:lnTo>
                  <a:lnTo>
                    <a:pt x="45" y="202"/>
                  </a:lnTo>
                  <a:lnTo>
                    <a:pt x="48" y="202"/>
                  </a:lnTo>
                  <a:lnTo>
                    <a:pt x="51" y="204"/>
                  </a:lnTo>
                  <a:lnTo>
                    <a:pt x="51" y="204"/>
                  </a:lnTo>
                  <a:lnTo>
                    <a:pt x="56" y="205"/>
                  </a:lnTo>
                  <a:lnTo>
                    <a:pt x="63" y="205"/>
                  </a:lnTo>
                  <a:lnTo>
                    <a:pt x="70" y="205"/>
                  </a:lnTo>
                  <a:lnTo>
                    <a:pt x="77" y="204"/>
                  </a:lnTo>
                  <a:lnTo>
                    <a:pt x="77" y="204"/>
                  </a:lnTo>
                  <a:lnTo>
                    <a:pt x="81" y="201"/>
                  </a:lnTo>
                  <a:lnTo>
                    <a:pt x="86" y="202"/>
                  </a:lnTo>
                  <a:lnTo>
                    <a:pt x="88" y="204"/>
                  </a:lnTo>
                  <a:lnTo>
                    <a:pt x="90" y="207"/>
                  </a:lnTo>
                  <a:lnTo>
                    <a:pt x="90" y="207"/>
                  </a:lnTo>
                  <a:lnTo>
                    <a:pt x="90" y="209"/>
                  </a:lnTo>
                  <a:lnTo>
                    <a:pt x="91" y="211"/>
                  </a:lnTo>
                  <a:lnTo>
                    <a:pt x="97" y="215"/>
                  </a:lnTo>
                  <a:lnTo>
                    <a:pt x="97" y="215"/>
                  </a:lnTo>
                  <a:lnTo>
                    <a:pt x="98" y="218"/>
                  </a:lnTo>
                  <a:lnTo>
                    <a:pt x="98" y="220"/>
                  </a:lnTo>
                  <a:lnTo>
                    <a:pt x="98" y="223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2" y="229"/>
                  </a:lnTo>
                  <a:lnTo>
                    <a:pt x="105" y="229"/>
                  </a:lnTo>
                  <a:lnTo>
                    <a:pt x="113" y="231"/>
                  </a:lnTo>
                  <a:lnTo>
                    <a:pt x="113" y="231"/>
                  </a:lnTo>
                  <a:lnTo>
                    <a:pt x="116" y="233"/>
                  </a:lnTo>
                  <a:lnTo>
                    <a:pt x="116" y="233"/>
                  </a:lnTo>
                  <a:lnTo>
                    <a:pt x="116" y="233"/>
                  </a:lnTo>
                  <a:lnTo>
                    <a:pt x="116" y="233"/>
                  </a:lnTo>
                  <a:lnTo>
                    <a:pt x="122" y="225"/>
                  </a:lnTo>
                  <a:lnTo>
                    <a:pt x="124" y="223"/>
                  </a:lnTo>
                  <a:lnTo>
                    <a:pt x="131" y="223"/>
                  </a:lnTo>
                  <a:lnTo>
                    <a:pt x="131" y="223"/>
                  </a:lnTo>
                  <a:lnTo>
                    <a:pt x="137" y="223"/>
                  </a:lnTo>
                  <a:lnTo>
                    <a:pt x="140" y="222"/>
                  </a:lnTo>
                  <a:lnTo>
                    <a:pt x="143" y="222"/>
                  </a:lnTo>
                  <a:lnTo>
                    <a:pt x="145" y="222"/>
                  </a:lnTo>
                  <a:lnTo>
                    <a:pt x="145" y="222"/>
                  </a:lnTo>
                  <a:lnTo>
                    <a:pt x="152" y="222"/>
                  </a:lnTo>
                  <a:lnTo>
                    <a:pt x="155" y="220"/>
                  </a:lnTo>
                  <a:lnTo>
                    <a:pt x="158" y="219"/>
                  </a:lnTo>
                  <a:lnTo>
                    <a:pt x="158" y="219"/>
                  </a:lnTo>
                  <a:lnTo>
                    <a:pt x="158" y="215"/>
                  </a:lnTo>
                  <a:lnTo>
                    <a:pt x="156" y="212"/>
                  </a:lnTo>
                  <a:lnTo>
                    <a:pt x="152" y="205"/>
                  </a:lnTo>
                  <a:lnTo>
                    <a:pt x="152" y="205"/>
                  </a:lnTo>
                  <a:lnTo>
                    <a:pt x="147" y="198"/>
                  </a:lnTo>
                  <a:lnTo>
                    <a:pt x="145" y="193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5" y="187"/>
                  </a:lnTo>
                  <a:lnTo>
                    <a:pt x="144" y="184"/>
                  </a:lnTo>
                  <a:lnTo>
                    <a:pt x="140" y="183"/>
                  </a:lnTo>
                  <a:lnTo>
                    <a:pt x="137" y="180"/>
                  </a:lnTo>
                  <a:lnTo>
                    <a:pt x="136" y="179"/>
                  </a:lnTo>
                  <a:lnTo>
                    <a:pt x="136" y="177"/>
                  </a:lnTo>
                  <a:lnTo>
                    <a:pt x="136" y="177"/>
                  </a:lnTo>
                  <a:lnTo>
                    <a:pt x="137" y="173"/>
                  </a:lnTo>
                  <a:lnTo>
                    <a:pt x="140" y="169"/>
                  </a:lnTo>
                  <a:lnTo>
                    <a:pt x="147" y="162"/>
                  </a:lnTo>
                  <a:lnTo>
                    <a:pt x="147" y="162"/>
                  </a:lnTo>
                  <a:lnTo>
                    <a:pt x="149" y="162"/>
                  </a:lnTo>
                  <a:lnTo>
                    <a:pt x="152" y="163"/>
                  </a:lnTo>
                  <a:lnTo>
                    <a:pt x="156" y="165"/>
                  </a:lnTo>
                  <a:lnTo>
                    <a:pt x="158" y="165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61" y="162"/>
                  </a:lnTo>
                  <a:lnTo>
                    <a:pt x="163" y="162"/>
                  </a:lnTo>
                  <a:lnTo>
                    <a:pt x="169" y="163"/>
                  </a:lnTo>
                  <a:lnTo>
                    <a:pt x="169" y="163"/>
                  </a:lnTo>
                  <a:lnTo>
                    <a:pt x="172" y="162"/>
                  </a:lnTo>
                  <a:lnTo>
                    <a:pt x="174" y="159"/>
                  </a:lnTo>
                  <a:lnTo>
                    <a:pt x="177" y="155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9" y="150"/>
                  </a:lnTo>
                  <a:lnTo>
                    <a:pt x="180" y="148"/>
                  </a:lnTo>
                  <a:lnTo>
                    <a:pt x="184" y="145"/>
                  </a:lnTo>
                  <a:lnTo>
                    <a:pt x="191" y="144"/>
                  </a:lnTo>
                  <a:lnTo>
                    <a:pt x="191" y="144"/>
                  </a:lnTo>
                  <a:lnTo>
                    <a:pt x="194" y="136"/>
                  </a:lnTo>
                  <a:lnTo>
                    <a:pt x="197" y="127"/>
                  </a:lnTo>
                  <a:lnTo>
                    <a:pt x="197" y="127"/>
                  </a:lnTo>
                  <a:lnTo>
                    <a:pt x="199" y="126"/>
                  </a:lnTo>
                  <a:lnTo>
                    <a:pt x="202" y="125"/>
                  </a:lnTo>
                  <a:lnTo>
                    <a:pt x="205" y="123"/>
                  </a:lnTo>
                  <a:lnTo>
                    <a:pt x="206" y="122"/>
                  </a:lnTo>
                  <a:lnTo>
                    <a:pt x="206" y="119"/>
                  </a:lnTo>
                  <a:lnTo>
                    <a:pt x="206" y="119"/>
                  </a:lnTo>
                  <a:lnTo>
                    <a:pt x="206" y="115"/>
                  </a:lnTo>
                  <a:lnTo>
                    <a:pt x="209" y="112"/>
                  </a:lnTo>
                  <a:lnTo>
                    <a:pt x="211" y="111"/>
                  </a:lnTo>
                  <a:lnTo>
                    <a:pt x="213" y="111"/>
                  </a:lnTo>
                  <a:lnTo>
                    <a:pt x="213" y="111"/>
                  </a:lnTo>
                  <a:lnTo>
                    <a:pt x="216" y="109"/>
                  </a:lnTo>
                  <a:lnTo>
                    <a:pt x="216" y="107"/>
                  </a:lnTo>
                  <a:lnTo>
                    <a:pt x="218" y="100"/>
                  </a:lnTo>
                  <a:lnTo>
                    <a:pt x="218" y="100"/>
                  </a:lnTo>
                  <a:lnTo>
                    <a:pt x="218" y="95"/>
                  </a:lnTo>
                  <a:lnTo>
                    <a:pt x="219" y="91"/>
                  </a:lnTo>
                  <a:lnTo>
                    <a:pt x="222" y="89"/>
                  </a:lnTo>
                  <a:lnTo>
                    <a:pt x="224" y="87"/>
                  </a:lnTo>
                  <a:lnTo>
                    <a:pt x="224" y="87"/>
                  </a:lnTo>
                  <a:lnTo>
                    <a:pt x="226" y="87"/>
                  </a:lnTo>
                  <a:lnTo>
                    <a:pt x="227" y="86"/>
                  </a:lnTo>
                  <a:lnTo>
                    <a:pt x="224" y="83"/>
                  </a:lnTo>
                  <a:lnTo>
                    <a:pt x="222" y="80"/>
                  </a:lnTo>
                  <a:lnTo>
                    <a:pt x="218" y="80"/>
                  </a:lnTo>
                  <a:lnTo>
                    <a:pt x="218" y="80"/>
                  </a:lnTo>
                  <a:lnTo>
                    <a:pt x="216" y="80"/>
                  </a:lnTo>
                  <a:lnTo>
                    <a:pt x="213" y="79"/>
                  </a:lnTo>
                  <a:lnTo>
                    <a:pt x="211" y="73"/>
                  </a:lnTo>
                  <a:lnTo>
                    <a:pt x="208" y="65"/>
                  </a:lnTo>
                  <a:lnTo>
                    <a:pt x="208" y="65"/>
                  </a:lnTo>
                  <a:lnTo>
                    <a:pt x="208" y="59"/>
                  </a:lnTo>
                  <a:lnTo>
                    <a:pt x="208" y="54"/>
                  </a:lnTo>
                  <a:lnTo>
                    <a:pt x="205" y="51"/>
                  </a:lnTo>
                  <a:lnTo>
                    <a:pt x="205" y="51"/>
                  </a:lnTo>
                  <a:lnTo>
                    <a:pt x="205" y="48"/>
                  </a:lnTo>
                  <a:lnTo>
                    <a:pt x="206" y="45"/>
                  </a:lnTo>
                  <a:lnTo>
                    <a:pt x="209" y="43"/>
                  </a:lnTo>
                  <a:lnTo>
                    <a:pt x="213" y="43"/>
                  </a:lnTo>
                  <a:lnTo>
                    <a:pt x="213" y="43"/>
                  </a:lnTo>
                  <a:lnTo>
                    <a:pt x="220" y="43"/>
                  </a:lnTo>
                  <a:lnTo>
                    <a:pt x="226" y="45"/>
                  </a:lnTo>
                  <a:lnTo>
                    <a:pt x="233" y="47"/>
                  </a:lnTo>
                  <a:lnTo>
                    <a:pt x="236" y="47"/>
                  </a:lnTo>
                  <a:lnTo>
                    <a:pt x="237" y="47"/>
                  </a:lnTo>
                  <a:lnTo>
                    <a:pt x="237" y="47"/>
                  </a:lnTo>
                  <a:lnTo>
                    <a:pt x="245" y="43"/>
                  </a:lnTo>
                  <a:lnTo>
                    <a:pt x="252" y="40"/>
                  </a:lnTo>
                  <a:lnTo>
                    <a:pt x="252" y="40"/>
                  </a:lnTo>
                  <a:lnTo>
                    <a:pt x="256" y="36"/>
                  </a:lnTo>
                  <a:lnTo>
                    <a:pt x="258" y="30"/>
                  </a:lnTo>
                  <a:lnTo>
                    <a:pt x="258" y="30"/>
                  </a:lnTo>
                  <a:lnTo>
                    <a:pt x="247" y="25"/>
                  </a:lnTo>
                  <a:lnTo>
                    <a:pt x="247" y="25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3" name="Freeform 182">
              <a:extLst>
                <a:ext uri="{FF2B5EF4-FFF2-40B4-BE49-F238E27FC236}">
                  <a16:creationId xmlns:a16="http://schemas.microsoft.com/office/drawing/2014/main" id="{E2FFD81E-AADB-4B51-BB73-97DDA7E60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5538" y="3370313"/>
              <a:ext cx="46038" cy="80963"/>
            </a:xfrm>
            <a:custGeom>
              <a:avLst/>
              <a:gdLst>
                <a:gd name="T0" fmla="*/ 2 w 29"/>
                <a:gd name="T1" fmla="*/ 23 h 51"/>
                <a:gd name="T2" fmla="*/ 2 w 29"/>
                <a:gd name="T3" fmla="*/ 23 h 51"/>
                <a:gd name="T4" fmla="*/ 0 w 29"/>
                <a:gd name="T5" fmla="*/ 30 h 51"/>
                <a:gd name="T6" fmla="*/ 0 w 29"/>
                <a:gd name="T7" fmla="*/ 36 h 51"/>
                <a:gd name="T8" fmla="*/ 2 w 29"/>
                <a:gd name="T9" fmla="*/ 40 h 51"/>
                <a:gd name="T10" fmla="*/ 3 w 29"/>
                <a:gd name="T11" fmla="*/ 44 h 51"/>
                <a:gd name="T12" fmla="*/ 7 w 29"/>
                <a:gd name="T13" fmla="*/ 50 h 51"/>
                <a:gd name="T14" fmla="*/ 10 w 29"/>
                <a:gd name="T15" fmla="*/ 51 h 51"/>
                <a:gd name="T16" fmla="*/ 10 w 29"/>
                <a:gd name="T17" fmla="*/ 51 h 51"/>
                <a:gd name="T18" fmla="*/ 16 w 29"/>
                <a:gd name="T19" fmla="*/ 43 h 51"/>
                <a:gd name="T20" fmla="*/ 23 w 29"/>
                <a:gd name="T21" fmla="*/ 28 h 51"/>
                <a:gd name="T22" fmla="*/ 28 w 29"/>
                <a:gd name="T23" fmla="*/ 11 h 51"/>
                <a:gd name="T24" fmla="*/ 29 w 29"/>
                <a:gd name="T25" fmla="*/ 5 h 51"/>
                <a:gd name="T26" fmla="*/ 29 w 29"/>
                <a:gd name="T27" fmla="*/ 3 h 51"/>
                <a:gd name="T28" fmla="*/ 29 w 29"/>
                <a:gd name="T29" fmla="*/ 3 h 51"/>
                <a:gd name="T30" fmla="*/ 27 w 29"/>
                <a:gd name="T31" fmla="*/ 1 h 51"/>
                <a:gd name="T32" fmla="*/ 24 w 29"/>
                <a:gd name="T33" fmla="*/ 0 h 51"/>
                <a:gd name="T34" fmla="*/ 20 w 29"/>
                <a:gd name="T35" fmla="*/ 1 h 51"/>
                <a:gd name="T36" fmla="*/ 16 w 29"/>
                <a:gd name="T37" fmla="*/ 4 h 51"/>
                <a:gd name="T38" fmla="*/ 11 w 29"/>
                <a:gd name="T39" fmla="*/ 7 h 51"/>
                <a:gd name="T40" fmla="*/ 7 w 29"/>
                <a:gd name="T41" fmla="*/ 12 h 51"/>
                <a:gd name="T42" fmla="*/ 4 w 29"/>
                <a:gd name="T43" fmla="*/ 18 h 51"/>
                <a:gd name="T44" fmla="*/ 2 w 29"/>
                <a:gd name="T45" fmla="*/ 23 h 51"/>
                <a:gd name="T46" fmla="*/ 2 w 29"/>
                <a:gd name="T47" fmla="*/ 2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51">
                  <a:moveTo>
                    <a:pt x="2" y="23"/>
                  </a:moveTo>
                  <a:lnTo>
                    <a:pt x="2" y="23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3" y="44"/>
                  </a:lnTo>
                  <a:lnTo>
                    <a:pt x="7" y="50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6" y="43"/>
                  </a:lnTo>
                  <a:lnTo>
                    <a:pt x="23" y="28"/>
                  </a:lnTo>
                  <a:lnTo>
                    <a:pt x="28" y="11"/>
                  </a:lnTo>
                  <a:lnTo>
                    <a:pt x="29" y="5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7" y="1"/>
                  </a:lnTo>
                  <a:lnTo>
                    <a:pt x="24" y="0"/>
                  </a:lnTo>
                  <a:lnTo>
                    <a:pt x="20" y="1"/>
                  </a:lnTo>
                  <a:lnTo>
                    <a:pt x="16" y="4"/>
                  </a:lnTo>
                  <a:lnTo>
                    <a:pt x="11" y="7"/>
                  </a:lnTo>
                  <a:lnTo>
                    <a:pt x="7" y="12"/>
                  </a:lnTo>
                  <a:lnTo>
                    <a:pt x="4" y="18"/>
                  </a:lnTo>
                  <a:lnTo>
                    <a:pt x="2" y="23"/>
                  </a:lnTo>
                  <a:lnTo>
                    <a:pt x="2" y="23"/>
                  </a:lnTo>
                  <a:close/>
                </a:path>
              </a:pathLst>
            </a:custGeom>
            <a:grpFill/>
            <a:ln w="6350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44" name="Freeform 9">
            <a:extLst>
              <a:ext uri="{FF2B5EF4-FFF2-40B4-BE49-F238E27FC236}">
                <a16:creationId xmlns:a16="http://schemas.microsoft.com/office/drawing/2014/main" id="{C15DF0A1-7B7F-4F13-8593-C0EA59E36B30}"/>
              </a:ext>
            </a:extLst>
          </p:cNvPr>
          <p:cNvSpPr>
            <a:spLocks noChangeAspect="1"/>
          </p:cNvSpPr>
          <p:nvPr/>
        </p:nvSpPr>
        <p:spPr bwMode="auto">
          <a:xfrm>
            <a:off x="5372987" y="1395171"/>
            <a:ext cx="4132950" cy="2347693"/>
          </a:xfrm>
          <a:custGeom>
            <a:avLst/>
            <a:gdLst/>
            <a:ahLst/>
            <a:cxnLst>
              <a:cxn ang="0">
                <a:pos x="312" y="0"/>
              </a:cxn>
              <a:cxn ang="0">
                <a:pos x="344" y="24"/>
              </a:cxn>
              <a:cxn ang="0">
                <a:pos x="352" y="40"/>
              </a:cxn>
              <a:cxn ang="0">
                <a:pos x="376" y="48"/>
              </a:cxn>
              <a:cxn ang="0">
                <a:pos x="408" y="48"/>
              </a:cxn>
              <a:cxn ang="0">
                <a:pos x="424" y="64"/>
              </a:cxn>
              <a:cxn ang="0">
                <a:pos x="392" y="72"/>
              </a:cxn>
              <a:cxn ang="0">
                <a:pos x="384" y="120"/>
              </a:cxn>
              <a:cxn ang="0">
                <a:pos x="400" y="88"/>
              </a:cxn>
              <a:cxn ang="0">
                <a:pos x="408" y="64"/>
              </a:cxn>
              <a:cxn ang="0">
                <a:pos x="424" y="96"/>
              </a:cxn>
              <a:cxn ang="0">
                <a:pos x="448" y="104"/>
              </a:cxn>
              <a:cxn ang="0">
                <a:pos x="448" y="120"/>
              </a:cxn>
              <a:cxn ang="0">
                <a:pos x="504" y="96"/>
              </a:cxn>
              <a:cxn ang="0">
                <a:pos x="552" y="72"/>
              </a:cxn>
              <a:cxn ang="0">
                <a:pos x="584" y="40"/>
              </a:cxn>
              <a:cxn ang="0">
                <a:pos x="600" y="64"/>
              </a:cxn>
              <a:cxn ang="0">
                <a:pos x="600" y="80"/>
              </a:cxn>
              <a:cxn ang="0">
                <a:pos x="568" y="120"/>
              </a:cxn>
              <a:cxn ang="0">
                <a:pos x="552" y="120"/>
              </a:cxn>
              <a:cxn ang="0">
                <a:pos x="528" y="160"/>
              </a:cxn>
              <a:cxn ang="0">
                <a:pos x="512" y="184"/>
              </a:cxn>
              <a:cxn ang="0">
                <a:pos x="504" y="152"/>
              </a:cxn>
              <a:cxn ang="0">
                <a:pos x="512" y="208"/>
              </a:cxn>
              <a:cxn ang="0">
                <a:pos x="456" y="256"/>
              </a:cxn>
              <a:cxn ang="0">
                <a:pos x="464" y="336"/>
              </a:cxn>
              <a:cxn ang="0">
                <a:pos x="440" y="312"/>
              </a:cxn>
              <a:cxn ang="0">
                <a:pos x="408" y="280"/>
              </a:cxn>
              <a:cxn ang="0">
                <a:pos x="368" y="280"/>
              </a:cxn>
              <a:cxn ang="0">
                <a:pos x="344" y="280"/>
              </a:cxn>
              <a:cxn ang="0">
                <a:pos x="288" y="304"/>
              </a:cxn>
              <a:cxn ang="0">
                <a:pos x="240" y="280"/>
              </a:cxn>
              <a:cxn ang="0">
                <a:pos x="216" y="288"/>
              </a:cxn>
              <a:cxn ang="0">
                <a:pos x="192" y="256"/>
              </a:cxn>
              <a:cxn ang="0">
                <a:pos x="80" y="248"/>
              </a:cxn>
              <a:cxn ang="0">
                <a:pos x="64" y="224"/>
              </a:cxn>
              <a:cxn ang="0">
                <a:pos x="24" y="200"/>
              </a:cxn>
              <a:cxn ang="0">
                <a:pos x="16" y="176"/>
              </a:cxn>
              <a:cxn ang="0">
                <a:pos x="8" y="168"/>
              </a:cxn>
              <a:cxn ang="0">
                <a:pos x="8" y="152"/>
              </a:cxn>
              <a:cxn ang="0">
                <a:pos x="0" y="104"/>
              </a:cxn>
              <a:cxn ang="0">
                <a:pos x="8" y="24"/>
              </a:cxn>
              <a:cxn ang="0">
                <a:pos x="16" y="8"/>
              </a:cxn>
            </a:cxnLst>
            <a:rect l="0" t="0" r="r" b="b"/>
            <a:pathLst>
              <a:path w="609" h="337">
                <a:moveTo>
                  <a:pt x="16" y="8"/>
                </a:moveTo>
                <a:lnTo>
                  <a:pt x="304" y="8"/>
                </a:lnTo>
                <a:lnTo>
                  <a:pt x="312" y="0"/>
                </a:lnTo>
                <a:lnTo>
                  <a:pt x="320" y="16"/>
                </a:lnTo>
                <a:lnTo>
                  <a:pt x="328" y="16"/>
                </a:lnTo>
                <a:lnTo>
                  <a:pt x="344" y="24"/>
                </a:lnTo>
                <a:lnTo>
                  <a:pt x="368" y="24"/>
                </a:lnTo>
                <a:lnTo>
                  <a:pt x="336" y="48"/>
                </a:lnTo>
                <a:lnTo>
                  <a:pt x="352" y="40"/>
                </a:lnTo>
                <a:lnTo>
                  <a:pt x="360" y="48"/>
                </a:lnTo>
                <a:lnTo>
                  <a:pt x="376" y="40"/>
                </a:lnTo>
                <a:lnTo>
                  <a:pt x="376" y="48"/>
                </a:lnTo>
                <a:lnTo>
                  <a:pt x="384" y="40"/>
                </a:lnTo>
                <a:lnTo>
                  <a:pt x="392" y="48"/>
                </a:lnTo>
                <a:lnTo>
                  <a:pt x="408" y="48"/>
                </a:lnTo>
                <a:lnTo>
                  <a:pt x="416" y="48"/>
                </a:lnTo>
                <a:lnTo>
                  <a:pt x="424" y="56"/>
                </a:lnTo>
                <a:lnTo>
                  <a:pt x="424" y="64"/>
                </a:lnTo>
                <a:lnTo>
                  <a:pt x="392" y="64"/>
                </a:lnTo>
                <a:lnTo>
                  <a:pt x="384" y="80"/>
                </a:lnTo>
                <a:lnTo>
                  <a:pt x="392" y="72"/>
                </a:lnTo>
                <a:lnTo>
                  <a:pt x="384" y="104"/>
                </a:lnTo>
                <a:lnTo>
                  <a:pt x="384" y="120"/>
                </a:lnTo>
                <a:lnTo>
                  <a:pt x="384" y="120"/>
                </a:lnTo>
                <a:lnTo>
                  <a:pt x="392" y="120"/>
                </a:lnTo>
                <a:lnTo>
                  <a:pt x="400" y="120"/>
                </a:lnTo>
                <a:lnTo>
                  <a:pt x="400" y="88"/>
                </a:lnTo>
                <a:lnTo>
                  <a:pt x="408" y="72"/>
                </a:lnTo>
                <a:lnTo>
                  <a:pt x="408" y="72"/>
                </a:lnTo>
                <a:lnTo>
                  <a:pt x="408" y="64"/>
                </a:lnTo>
                <a:lnTo>
                  <a:pt x="432" y="72"/>
                </a:lnTo>
                <a:lnTo>
                  <a:pt x="432" y="80"/>
                </a:lnTo>
                <a:lnTo>
                  <a:pt x="424" y="96"/>
                </a:lnTo>
                <a:lnTo>
                  <a:pt x="440" y="88"/>
                </a:lnTo>
                <a:lnTo>
                  <a:pt x="440" y="104"/>
                </a:lnTo>
                <a:lnTo>
                  <a:pt x="448" y="104"/>
                </a:lnTo>
                <a:lnTo>
                  <a:pt x="432" y="120"/>
                </a:lnTo>
                <a:lnTo>
                  <a:pt x="440" y="120"/>
                </a:lnTo>
                <a:lnTo>
                  <a:pt x="448" y="120"/>
                </a:lnTo>
                <a:lnTo>
                  <a:pt x="480" y="104"/>
                </a:lnTo>
                <a:lnTo>
                  <a:pt x="480" y="96"/>
                </a:lnTo>
                <a:lnTo>
                  <a:pt x="504" y="96"/>
                </a:lnTo>
                <a:lnTo>
                  <a:pt x="504" y="80"/>
                </a:lnTo>
                <a:lnTo>
                  <a:pt x="520" y="72"/>
                </a:lnTo>
                <a:lnTo>
                  <a:pt x="552" y="72"/>
                </a:lnTo>
                <a:lnTo>
                  <a:pt x="568" y="72"/>
                </a:lnTo>
                <a:lnTo>
                  <a:pt x="576" y="32"/>
                </a:lnTo>
                <a:lnTo>
                  <a:pt x="584" y="40"/>
                </a:lnTo>
                <a:lnTo>
                  <a:pt x="592" y="32"/>
                </a:lnTo>
                <a:lnTo>
                  <a:pt x="592" y="40"/>
                </a:lnTo>
                <a:lnTo>
                  <a:pt x="600" y="64"/>
                </a:lnTo>
                <a:lnTo>
                  <a:pt x="608" y="72"/>
                </a:lnTo>
                <a:lnTo>
                  <a:pt x="608" y="72"/>
                </a:lnTo>
                <a:lnTo>
                  <a:pt x="600" y="80"/>
                </a:lnTo>
                <a:lnTo>
                  <a:pt x="584" y="80"/>
                </a:lnTo>
                <a:lnTo>
                  <a:pt x="560" y="112"/>
                </a:lnTo>
                <a:lnTo>
                  <a:pt x="568" y="120"/>
                </a:lnTo>
                <a:lnTo>
                  <a:pt x="568" y="120"/>
                </a:lnTo>
                <a:lnTo>
                  <a:pt x="568" y="128"/>
                </a:lnTo>
                <a:lnTo>
                  <a:pt x="552" y="120"/>
                </a:lnTo>
                <a:lnTo>
                  <a:pt x="536" y="128"/>
                </a:lnTo>
                <a:lnTo>
                  <a:pt x="528" y="136"/>
                </a:lnTo>
                <a:lnTo>
                  <a:pt x="528" y="160"/>
                </a:lnTo>
                <a:lnTo>
                  <a:pt x="520" y="160"/>
                </a:lnTo>
                <a:lnTo>
                  <a:pt x="520" y="160"/>
                </a:lnTo>
                <a:lnTo>
                  <a:pt x="512" y="184"/>
                </a:lnTo>
                <a:lnTo>
                  <a:pt x="512" y="168"/>
                </a:lnTo>
                <a:lnTo>
                  <a:pt x="504" y="160"/>
                </a:lnTo>
                <a:lnTo>
                  <a:pt x="504" y="152"/>
                </a:lnTo>
                <a:lnTo>
                  <a:pt x="496" y="160"/>
                </a:lnTo>
                <a:lnTo>
                  <a:pt x="504" y="184"/>
                </a:lnTo>
                <a:lnTo>
                  <a:pt x="512" y="208"/>
                </a:lnTo>
                <a:lnTo>
                  <a:pt x="504" y="216"/>
                </a:lnTo>
                <a:lnTo>
                  <a:pt x="480" y="232"/>
                </a:lnTo>
                <a:lnTo>
                  <a:pt x="456" y="256"/>
                </a:lnTo>
                <a:lnTo>
                  <a:pt x="448" y="264"/>
                </a:lnTo>
                <a:lnTo>
                  <a:pt x="464" y="312"/>
                </a:lnTo>
                <a:lnTo>
                  <a:pt x="464" y="336"/>
                </a:lnTo>
                <a:lnTo>
                  <a:pt x="456" y="336"/>
                </a:lnTo>
                <a:lnTo>
                  <a:pt x="448" y="328"/>
                </a:lnTo>
                <a:lnTo>
                  <a:pt x="440" y="312"/>
                </a:lnTo>
                <a:lnTo>
                  <a:pt x="440" y="288"/>
                </a:lnTo>
                <a:lnTo>
                  <a:pt x="424" y="272"/>
                </a:lnTo>
                <a:lnTo>
                  <a:pt x="408" y="280"/>
                </a:lnTo>
                <a:lnTo>
                  <a:pt x="408" y="272"/>
                </a:lnTo>
                <a:lnTo>
                  <a:pt x="368" y="272"/>
                </a:lnTo>
                <a:lnTo>
                  <a:pt x="368" y="280"/>
                </a:lnTo>
                <a:lnTo>
                  <a:pt x="368" y="288"/>
                </a:lnTo>
                <a:lnTo>
                  <a:pt x="352" y="288"/>
                </a:lnTo>
                <a:lnTo>
                  <a:pt x="344" y="280"/>
                </a:lnTo>
                <a:lnTo>
                  <a:pt x="328" y="280"/>
                </a:lnTo>
                <a:lnTo>
                  <a:pt x="312" y="288"/>
                </a:lnTo>
                <a:lnTo>
                  <a:pt x="288" y="304"/>
                </a:lnTo>
                <a:lnTo>
                  <a:pt x="288" y="328"/>
                </a:lnTo>
                <a:lnTo>
                  <a:pt x="264" y="320"/>
                </a:lnTo>
                <a:lnTo>
                  <a:pt x="240" y="280"/>
                </a:lnTo>
                <a:lnTo>
                  <a:pt x="232" y="280"/>
                </a:lnTo>
                <a:lnTo>
                  <a:pt x="224" y="288"/>
                </a:lnTo>
                <a:lnTo>
                  <a:pt x="216" y="288"/>
                </a:lnTo>
                <a:lnTo>
                  <a:pt x="208" y="280"/>
                </a:lnTo>
                <a:lnTo>
                  <a:pt x="208" y="264"/>
                </a:lnTo>
                <a:lnTo>
                  <a:pt x="192" y="256"/>
                </a:lnTo>
                <a:lnTo>
                  <a:pt x="136" y="256"/>
                </a:lnTo>
                <a:lnTo>
                  <a:pt x="96" y="248"/>
                </a:lnTo>
                <a:lnTo>
                  <a:pt x="80" y="248"/>
                </a:lnTo>
                <a:lnTo>
                  <a:pt x="72" y="232"/>
                </a:lnTo>
                <a:lnTo>
                  <a:pt x="64" y="232"/>
                </a:lnTo>
                <a:lnTo>
                  <a:pt x="64" y="224"/>
                </a:lnTo>
                <a:lnTo>
                  <a:pt x="40" y="216"/>
                </a:lnTo>
                <a:lnTo>
                  <a:pt x="40" y="208"/>
                </a:lnTo>
                <a:lnTo>
                  <a:pt x="24" y="200"/>
                </a:lnTo>
                <a:lnTo>
                  <a:pt x="24" y="184"/>
                </a:lnTo>
                <a:lnTo>
                  <a:pt x="16" y="184"/>
                </a:lnTo>
                <a:lnTo>
                  <a:pt x="16" y="176"/>
                </a:lnTo>
                <a:lnTo>
                  <a:pt x="24" y="176"/>
                </a:lnTo>
                <a:lnTo>
                  <a:pt x="24" y="168"/>
                </a:lnTo>
                <a:lnTo>
                  <a:pt x="8" y="168"/>
                </a:lnTo>
                <a:lnTo>
                  <a:pt x="16" y="168"/>
                </a:lnTo>
                <a:lnTo>
                  <a:pt x="8" y="160"/>
                </a:lnTo>
                <a:lnTo>
                  <a:pt x="8" y="152"/>
                </a:lnTo>
                <a:lnTo>
                  <a:pt x="0" y="144"/>
                </a:lnTo>
                <a:lnTo>
                  <a:pt x="8" y="120"/>
                </a:lnTo>
                <a:lnTo>
                  <a:pt x="0" y="104"/>
                </a:lnTo>
                <a:lnTo>
                  <a:pt x="8" y="56"/>
                </a:lnTo>
                <a:lnTo>
                  <a:pt x="0" y="24"/>
                </a:lnTo>
                <a:lnTo>
                  <a:pt x="8" y="24"/>
                </a:lnTo>
                <a:lnTo>
                  <a:pt x="8" y="32"/>
                </a:lnTo>
                <a:lnTo>
                  <a:pt x="16" y="32"/>
                </a:lnTo>
                <a:lnTo>
                  <a:pt x="16" y="8"/>
                </a:lnTo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bg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55" name="Rektangel 60">
            <a:extLst>
              <a:ext uri="{FF2B5EF4-FFF2-40B4-BE49-F238E27FC236}">
                <a16:creationId xmlns:a16="http://schemas.microsoft.com/office/drawing/2014/main" id="{31B03809-8D40-484E-AB98-27B99DC932D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740512" y="1596713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808080"/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sv-SE" sz="700" b="1" dirty="0">
                <a:latin typeface="Arial"/>
              </a:rPr>
              <a:t>Horns Rev 1 (40%)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sv-SE" sz="700" dirty="0">
                <a:latin typeface="Arial"/>
              </a:rPr>
              <a:t>160 MW (2006)</a:t>
            </a:r>
            <a:endParaRPr lang="pl-PL" sz="500" dirty="0"/>
          </a:p>
        </p:txBody>
      </p:sp>
      <p:pic>
        <p:nvPicPr>
          <p:cNvPr id="656" name="Picture 655">
            <a:extLst>
              <a:ext uri="{FF2B5EF4-FFF2-40B4-BE49-F238E27FC236}">
                <a16:creationId xmlns:a16="http://schemas.microsoft.com/office/drawing/2014/main" id="{2B6F2CA8-D440-490F-9224-318DEDF88FC0}"/>
              </a:ext>
            </a:extLst>
          </p:cNvPr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1794" y="1878157"/>
            <a:ext cx="652818" cy="171795"/>
          </a:xfrm>
          <a:prstGeom prst="rect">
            <a:avLst/>
          </a:prstGeom>
          <a:noFill/>
        </p:spPr>
      </p:pic>
      <p:cxnSp>
        <p:nvCxnSpPr>
          <p:cNvPr id="658" name="Elbow Connector 570">
            <a:extLst>
              <a:ext uri="{FF2B5EF4-FFF2-40B4-BE49-F238E27FC236}">
                <a16:creationId xmlns:a16="http://schemas.microsoft.com/office/drawing/2014/main" id="{CAFFAFB0-4B46-4261-9924-187516F4C913}"/>
              </a:ext>
            </a:extLst>
          </p:cNvPr>
          <p:cNvCxnSpPr>
            <a:cxnSpLocks/>
          </p:cNvCxnSpPr>
          <p:nvPr/>
        </p:nvCxnSpPr>
        <p:spPr>
          <a:xfrm rot="10800000" flipV="1">
            <a:off x="3619564" y="1715277"/>
            <a:ext cx="121881" cy="1830234"/>
          </a:xfrm>
          <a:prstGeom prst="bentConnector2">
            <a:avLst/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663" name="Rektangel 60">
            <a:extLst>
              <a:ext uri="{FF2B5EF4-FFF2-40B4-BE49-F238E27FC236}">
                <a16:creationId xmlns:a16="http://schemas.microsoft.com/office/drawing/2014/main" id="{E05FB41A-1F36-47CF-BA82-A71B77245877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740512" y="2698294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da-DK" sz="700" b="1" dirty="0">
                <a:latin typeface="Arial"/>
              </a:rPr>
              <a:t>Anholt (50%)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da-DK" sz="700" dirty="0">
                <a:latin typeface="Arial"/>
              </a:rPr>
              <a:t>400 MW (2011)</a:t>
            </a:r>
          </a:p>
        </p:txBody>
      </p:sp>
      <p:pic>
        <p:nvPicPr>
          <p:cNvPr id="664" name="Picture 663">
            <a:extLst>
              <a:ext uri="{FF2B5EF4-FFF2-40B4-BE49-F238E27FC236}">
                <a16:creationId xmlns:a16="http://schemas.microsoft.com/office/drawing/2014/main" id="{24872799-8AF3-4010-B6C2-15BAF2A8E2FE}"/>
              </a:ext>
            </a:extLst>
          </p:cNvPr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6312" y="3016602"/>
            <a:ext cx="815933" cy="78351"/>
          </a:xfrm>
          <a:prstGeom prst="rect">
            <a:avLst/>
          </a:prstGeom>
          <a:noFill/>
        </p:spPr>
      </p:pic>
      <p:pic>
        <p:nvPicPr>
          <p:cNvPr id="665" name="Picture 4">
            <a:extLst>
              <a:ext uri="{FF2B5EF4-FFF2-40B4-BE49-F238E27FC236}">
                <a16:creationId xmlns:a16="http://schemas.microsoft.com/office/drawing/2014/main" id="{595D16E6-4833-4BC2-93F8-17841E8FB4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36683" y="2718016"/>
            <a:ext cx="222858" cy="360000"/>
          </a:xfrm>
          <a:prstGeom prst="rect">
            <a:avLst/>
          </a:prstGeom>
          <a:noFill/>
          <a:ln>
            <a:noFill/>
          </a:ln>
          <a:extLst/>
        </p:spPr>
      </p:pic>
      <p:cxnSp>
        <p:nvCxnSpPr>
          <p:cNvPr id="666" name="Elbow Connector 570">
            <a:extLst>
              <a:ext uri="{FF2B5EF4-FFF2-40B4-BE49-F238E27FC236}">
                <a16:creationId xmlns:a16="http://schemas.microsoft.com/office/drawing/2014/main" id="{BBEC0E6C-98F1-40F1-BBFB-C238230B9FEC}"/>
              </a:ext>
            </a:extLst>
          </p:cNvPr>
          <p:cNvCxnSpPr>
            <a:cxnSpLocks/>
            <a:stCxn id="663" idx="2"/>
          </p:cNvCxnSpPr>
          <p:nvPr/>
        </p:nvCxnSpPr>
        <p:spPr>
          <a:xfrm rot="5400000">
            <a:off x="4135473" y="3299435"/>
            <a:ext cx="332181" cy="13789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677" name="Rektangel 60">
            <a:extLst>
              <a:ext uri="{FF2B5EF4-FFF2-40B4-BE49-F238E27FC236}">
                <a16:creationId xmlns:a16="http://schemas.microsoft.com/office/drawing/2014/main" id="{CE09F7B7-E525-4198-BEDE-A81A3E17259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740512" y="2147504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en-US" sz="700" b="1" dirty="0">
                <a:latin typeface="Arial"/>
              </a:rPr>
              <a:t>Nysted (42.7%)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en-US" sz="700" dirty="0">
                <a:latin typeface="Arial"/>
              </a:rPr>
              <a:t>166 MW (2010)</a:t>
            </a:r>
          </a:p>
        </p:txBody>
      </p:sp>
      <p:pic>
        <p:nvPicPr>
          <p:cNvPr id="678" name="Picture 677">
            <a:extLst>
              <a:ext uri="{FF2B5EF4-FFF2-40B4-BE49-F238E27FC236}">
                <a16:creationId xmlns:a16="http://schemas.microsoft.com/office/drawing/2014/main" id="{EB9C07F2-407D-4AC8-A583-339465F57EAD}"/>
              </a:ext>
            </a:extLst>
          </p:cNvPr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264" y="2251143"/>
            <a:ext cx="456889" cy="153626"/>
          </a:xfrm>
          <a:prstGeom prst="rect">
            <a:avLst/>
          </a:prstGeom>
          <a:noFill/>
        </p:spPr>
      </p:pic>
      <p:pic>
        <p:nvPicPr>
          <p:cNvPr id="679" name="Picture 678">
            <a:extLst>
              <a:ext uri="{FF2B5EF4-FFF2-40B4-BE49-F238E27FC236}">
                <a16:creationId xmlns:a16="http://schemas.microsoft.com/office/drawing/2014/main" id="{BF6CE930-1D72-46F2-B06B-FD9303A80E34}"/>
              </a:ext>
            </a:extLst>
          </p:cNvPr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6312" y="2477057"/>
            <a:ext cx="815933" cy="78351"/>
          </a:xfrm>
          <a:prstGeom prst="rect">
            <a:avLst/>
          </a:prstGeom>
          <a:noFill/>
        </p:spPr>
      </p:pic>
      <p:cxnSp>
        <p:nvCxnSpPr>
          <p:cNvPr id="683" name="Elbow Connector 570">
            <a:extLst>
              <a:ext uri="{FF2B5EF4-FFF2-40B4-BE49-F238E27FC236}">
                <a16:creationId xmlns:a16="http://schemas.microsoft.com/office/drawing/2014/main" id="{6AF29C79-959A-44BD-9B84-91AD5B590C22}"/>
              </a:ext>
            </a:extLst>
          </p:cNvPr>
          <p:cNvCxnSpPr>
            <a:cxnSpLocks/>
            <a:stCxn id="677" idx="3"/>
            <a:endCxn id="314" idx="6"/>
          </p:cNvCxnSpPr>
          <p:nvPr/>
        </p:nvCxnSpPr>
        <p:spPr>
          <a:xfrm flipH="1">
            <a:off x="4373450" y="2399504"/>
            <a:ext cx="627062" cy="1617549"/>
          </a:xfrm>
          <a:prstGeom prst="bentConnector3">
            <a:avLst>
              <a:gd name="adj1" fmla="val -6474"/>
            </a:avLst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697" name="Rektangel 60">
            <a:extLst>
              <a:ext uri="{FF2B5EF4-FFF2-40B4-BE49-F238E27FC236}">
                <a16:creationId xmlns:a16="http://schemas.microsoft.com/office/drawing/2014/main" id="{FFB3ABA3-9FE9-4D96-AC48-3E15BE4B1301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40512" y="4216006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l-NL" sz="700" b="1" dirty="0">
                <a:latin typeface="Arial"/>
              </a:rPr>
              <a:t>Gode Wind 2 (50%)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l-NL" sz="700" dirty="0">
                <a:latin typeface="Arial"/>
              </a:rPr>
              <a:t>263 MW (2014)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endParaRPr lang="en-US" sz="700" dirty="0">
              <a:latin typeface="Arial"/>
            </a:endParaRPr>
          </a:p>
        </p:txBody>
      </p:sp>
      <p:pic>
        <p:nvPicPr>
          <p:cNvPr id="698" name="Picture 2">
            <a:extLst>
              <a:ext uri="{FF2B5EF4-FFF2-40B4-BE49-F238E27FC236}">
                <a16:creationId xmlns:a16="http://schemas.microsoft.com/office/drawing/2014/main" id="{AA13135B-4595-487C-8F7F-4CE577FF3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797543" y="4471456"/>
            <a:ext cx="704538" cy="105993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699" name="Picture 3">
            <a:extLst>
              <a:ext uri="{FF2B5EF4-FFF2-40B4-BE49-F238E27FC236}">
                <a16:creationId xmlns:a16="http://schemas.microsoft.com/office/drawing/2014/main" id="{57C3342C-98CF-42CB-A002-C8437D7365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532106" y="4564644"/>
            <a:ext cx="243159" cy="135088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702" name="Rektangel 60">
            <a:extLst>
              <a:ext uri="{FF2B5EF4-FFF2-40B4-BE49-F238E27FC236}">
                <a16:creationId xmlns:a16="http://schemas.microsoft.com/office/drawing/2014/main" id="{8A89DAB4-F833-4691-AD57-8DFDCF8B385C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749490" y="4779010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b="1" dirty="0">
                <a:latin typeface="Arial"/>
              </a:rPr>
              <a:t>Gode Wind 1 (50%)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dirty="0">
                <a:latin typeface="Arial"/>
              </a:rPr>
              <a:t>344 MW (2015)</a:t>
            </a:r>
          </a:p>
        </p:txBody>
      </p:sp>
      <p:pic>
        <p:nvPicPr>
          <p:cNvPr id="703" name="Picture 702">
            <a:extLst>
              <a:ext uri="{FF2B5EF4-FFF2-40B4-BE49-F238E27FC236}">
                <a16:creationId xmlns:a16="http://schemas.microsoft.com/office/drawing/2014/main" id="{6EB8E985-1D67-4719-8751-2F03F6E1181D}"/>
              </a:ext>
            </a:extLst>
          </p:cNvPr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6764" y="4945353"/>
            <a:ext cx="530352" cy="149352"/>
          </a:xfrm>
          <a:prstGeom prst="rect">
            <a:avLst/>
          </a:prstGeom>
          <a:noFill/>
        </p:spPr>
      </p:pic>
      <p:pic>
        <p:nvPicPr>
          <p:cNvPr id="704" name="Picture 703">
            <a:extLst>
              <a:ext uri="{FF2B5EF4-FFF2-40B4-BE49-F238E27FC236}">
                <a16:creationId xmlns:a16="http://schemas.microsoft.com/office/drawing/2014/main" id="{D3563F98-7345-4783-80B1-1B7751E5CCC5}"/>
              </a:ext>
            </a:extLst>
          </p:cNvPr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6652" y="5034931"/>
            <a:ext cx="850432" cy="197520"/>
          </a:xfrm>
          <a:prstGeom prst="rect">
            <a:avLst/>
          </a:prstGeom>
          <a:noFill/>
        </p:spPr>
      </p:pic>
      <p:sp>
        <p:nvSpPr>
          <p:cNvPr id="705" name="Rektangel 60">
            <a:extLst>
              <a:ext uri="{FF2B5EF4-FFF2-40B4-BE49-F238E27FC236}">
                <a16:creationId xmlns:a16="http://schemas.microsoft.com/office/drawing/2014/main" id="{5E922F6D-94DE-48FF-BE0E-1FF4A3C5B9BF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740512" y="5342014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en-US" sz="700" b="1" dirty="0">
                <a:latin typeface="Arial"/>
              </a:rPr>
              <a:t>Borkum Riffgrund 1 (50%) 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en-US" sz="700" dirty="0">
                <a:latin typeface="Arial"/>
              </a:rPr>
              <a:t>312 MW (2012)</a:t>
            </a:r>
            <a:endParaRPr lang="nl-NL" sz="700" dirty="0">
              <a:latin typeface="Arial"/>
            </a:endParaRPr>
          </a:p>
        </p:txBody>
      </p:sp>
      <p:pic>
        <p:nvPicPr>
          <p:cNvPr id="706" name="Picture 705">
            <a:extLst>
              <a:ext uri="{FF2B5EF4-FFF2-40B4-BE49-F238E27FC236}">
                <a16:creationId xmlns:a16="http://schemas.microsoft.com/office/drawing/2014/main" id="{247F059C-C829-40E1-9C6D-213942D7A70C}"/>
              </a:ext>
            </a:extLst>
          </p:cNvPr>
          <p:cNvPicPr>
            <a:picLocks noChangeAspect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8537" y="5516152"/>
            <a:ext cx="285750" cy="28575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07" name="Picture 706">
            <a:extLst>
              <a:ext uri="{FF2B5EF4-FFF2-40B4-BE49-F238E27FC236}">
                <a16:creationId xmlns:a16="http://schemas.microsoft.com/office/drawing/2014/main" id="{FCD1809D-96E4-48BA-8694-DE6B41689266}"/>
              </a:ext>
            </a:extLst>
          </p:cNvPr>
          <p:cNvPicPr>
            <a:picLocks noChangeAspect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5345" y="5598062"/>
            <a:ext cx="680471" cy="209034"/>
          </a:xfrm>
          <a:prstGeom prst="rect">
            <a:avLst/>
          </a:prstGeom>
          <a:noFill/>
        </p:spPr>
      </p:pic>
      <p:sp>
        <p:nvSpPr>
          <p:cNvPr id="708" name="Rektangel 60">
            <a:extLst>
              <a:ext uri="{FF2B5EF4-FFF2-40B4-BE49-F238E27FC236}">
                <a16:creationId xmlns:a16="http://schemas.microsoft.com/office/drawing/2014/main" id="{FA6DAE74-7DEC-4FE3-82AD-AAF2BC56BE04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40512" y="5905018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b="1" dirty="0">
                <a:latin typeface="Arial"/>
              </a:rPr>
              <a:t>Borkum Riffgrund 2 (50%)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dirty="0">
                <a:latin typeface="Arial"/>
              </a:rPr>
              <a:t>450 MW (2017)</a:t>
            </a:r>
          </a:p>
        </p:txBody>
      </p:sp>
      <p:pic>
        <p:nvPicPr>
          <p:cNvPr id="719" name="Picture 4">
            <a:extLst>
              <a:ext uri="{FF2B5EF4-FFF2-40B4-BE49-F238E27FC236}">
                <a16:creationId xmlns:a16="http://schemas.microsoft.com/office/drawing/2014/main" id="{D0855C73-7E13-4B8B-9AC4-C4422253F4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36683" y="4280753"/>
            <a:ext cx="222858" cy="360000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720" name="Picture 719">
            <a:extLst>
              <a:ext uri="{FF2B5EF4-FFF2-40B4-BE49-F238E27FC236}">
                <a16:creationId xmlns:a16="http://schemas.microsoft.com/office/drawing/2014/main" id="{B1821AC7-8DF3-4156-B839-ABFB8E9674FC}"/>
              </a:ext>
            </a:extLst>
          </p:cNvPr>
          <p:cNvPicPr>
            <a:picLocks noChangeAspect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7543" y="4585978"/>
            <a:ext cx="660478" cy="107655"/>
          </a:xfrm>
          <a:prstGeom prst="rect">
            <a:avLst/>
          </a:prstGeom>
        </p:spPr>
      </p:pic>
      <p:pic>
        <p:nvPicPr>
          <p:cNvPr id="722" name="Picture 721">
            <a:extLst>
              <a:ext uri="{FF2B5EF4-FFF2-40B4-BE49-F238E27FC236}">
                <a16:creationId xmlns:a16="http://schemas.microsoft.com/office/drawing/2014/main" id="{575B3387-DC28-4032-8A1E-61672F739320}"/>
              </a:ext>
            </a:extLst>
          </p:cNvPr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6764" y="6090620"/>
            <a:ext cx="530352" cy="149352"/>
          </a:xfrm>
          <a:prstGeom prst="rect">
            <a:avLst/>
          </a:prstGeom>
          <a:noFill/>
        </p:spPr>
      </p:pic>
      <p:pic>
        <p:nvPicPr>
          <p:cNvPr id="723" name="Picture 722">
            <a:extLst>
              <a:ext uri="{FF2B5EF4-FFF2-40B4-BE49-F238E27FC236}">
                <a16:creationId xmlns:a16="http://schemas.microsoft.com/office/drawing/2014/main" id="{9E8B5FF2-6E6E-4C8B-B063-DE02067E5F40}"/>
              </a:ext>
            </a:extLst>
          </p:cNvPr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739" y="6180198"/>
            <a:ext cx="850432" cy="197520"/>
          </a:xfrm>
          <a:prstGeom prst="rect">
            <a:avLst/>
          </a:prstGeom>
          <a:noFill/>
        </p:spPr>
      </p:pic>
      <p:cxnSp>
        <p:nvCxnSpPr>
          <p:cNvPr id="729" name="Elbow Connector 565">
            <a:extLst>
              <a:ext uri="{FF2B5EF4-FFF2-40B4-BE49-F238E27FC236}">
                <a16:creationId xmlns:a16="http://schemas.microsoft.com/office/drawing/2014/main" id="{769DC758-64FD-47CA-9C62-B2BAA4B05F96}"/>
              </a:ext>
            </a:extLst>
          </p:cNvPr>
          <p:cNvCxnSpPr>
            <a:cxnSpLocks/>
            <a:stCxn id="697" idx="1"/>
          </p:cNvCxnSpPr>
          <p:nvPr/>
        </p:nvCxnSpPr>
        <p:spPr>
          <a:xfrm rot="10800000">
            <a:off x="3445604" y="4244124"/>
            <a:ext cx="294908" cy="223883"/>
          </a:xfrm>
          <a:prstGeom prst="bentConnector3">
            <a:avLst>
              <a:gd name="adj1" fmla="val 42761"/>
            </a:avLst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cxnSp>
        <p:nvCxnSpPr>
          <p:cNvPr id="1018" name="Elbow Connector 565">
            <a:extLst>
              <a:ext uri="{FF2B5EF4-FFF2-40B4-BE49-F238E27FC236}">
                <a16:creationId xmlns:a16="http://schemas.microsoft.com/office/drawing/2014/main" id="{269F32FF-CAD1-4D9F-898E-C9DBC9DE4DC2}"/>
              </a:ext>
            </a:extLst>
          </p:cNvPr>
          <p:cNvCxnSpPr>
            <a:cxnSpLocks/>
            <a:stCxn id="702" idx="1"/>
          </p:cNvCxnSpPr>
          <p:nvPr/>
        </p:nvCxnSpPr>
        <p:spPr>
          <a:xfrm rot="10800000">
            <a:off x="3357076" y="4241960"/>
            <a:ext cx="392414" cy="789051"/>
          </a:xfrm>
          <a:prstGeom prst="bentConnector2">
            <a:avLst/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cxnSp>
        <p:nvCxnSpPr>
          <p:cNvPr id="1025" name="Elbow Connector 565">
            <a:extLst>
              <a:ext uri="{FF2B5EF4-FFF2-40B4-BE49-F238E27FC236}">
                <a16:creationId xmlns:a16="http://schemas.microsoft.com/office/drawing/2014/main" id="{2EE0DA91-05A0-4572-860F-A4B2B71CBBB4}"/>
              </a:ext>
            </a:extLst>
          </p:cNvPr>
          <p:cNvCxnSpPr>
            <a:cxnSpLocks/>
            <a:stCxn id="705" idx="1"/>
          </p:cNvCxnSpPr>
          <p:nvPr/>
        </p:nvCxnSpPr>
        <p:spPr>
          <a:xfrm rot="10800000">
            <a:off x="3247240" y="4244124"/>
            <a:ext cx="493273" cy="1349890"/>
          </a:xfrm>
          <a:prstGeom prst="bentConnector2">
            <a:avLst/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cxnSp>
        <p:nvCxnSpPr>
          <p:cNvPr id="1029" name="Elbow Connector 565">
            <a:extLst>
              <a:ext uri="{FF2B5EF4-FFF2-40B4-BE49-F238E27FC236}">
                <a16:creationId xmlns:a16="http://schemas.microsoft.com/office/drawing/2014/main" id="{B2361D04-A160-412E-A3D9-B5AA037A1799}"/>
              </a:ext>
            </a:extLst>
          </p:cNvPr>
          <p:cNvCxnSpPr>
            <a:cxnSpLocks/>
            <a:stCxn id="708" idx="1"/>
          </p:cNvCxnSpPr>
          <p:nvPr/>
        </p:nvCxnSpPr>
        <p:spPr>
          <a:xfrm rot="10800000">
            <a:off x="3152372" y="4246106"/>
            <a:ext cx="588141" cy="1910912"/>
          </a:xfrm>
          <a:prstGeom prst="bentConnector2">
            <a:avLst/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grpSp>
        <p:nvGrpSpPr>
          <p:cNvPr id="1036" name="Group 1035">
            <a:extLst>
              <a:ext uri="{FF2B5EF4-FFF2-40B4-BE49-F238E27FC236}">
                <a16:creationId xmlns:a16="http://schemas.microsoft.com/office/drawing/2014/main" id="{685FD879-4F51-43F7-8C2F-777F1A750CE7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4774849" y="4039486"/>
            <a:ext cx="218451" cy="136800"/>
            <a:chOff x="1165860" y="1930718"/>
            <a:chExt cx="608400" cy="38099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37" name="Rectangle 1036">
              <a:extLst>
                <a:ext uri="{FF2B5EF4-FFF2-40B4-BE49-F238E27FC236}">
                  <a16:creationId xmlns:a16="http://schemas.microsoft.com/office/drawing/2014/main" id="{F9E6022C-CDCB-4F07-BA93-51CC085DD290}"/>
                </a:ext>
              </a:extLst>
            </p:cNvPr>
            <p:cNvSpPr/>
            <p:nvPr/>
          </p:nvSpPr>
          <p:spPr bwMode="auto">
            <a:xfrm>
              <a:off x="1165860" y="1930718"/>
              <a:ext cx="608400" cy="129063"/>
            </a:xfrm>
            <a:prstGeom prst="rect">
              <a:avLst/>
            </a:prstGeom>
            <a:solidFill>
              <a:schemeClr val="tx1"/>
            </a:solidFill>
            <a:ln w="3175" cap="flat" cmpd="sng" algn="ctr">
              <a:solidFill>
                <a:srgbClr val="0852A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38" name="Rectangle 1037">
              <a:extLst>
                <a:ext uri="{FF2B5EF4-FFF2-40B4-BE49-F238E27FC236}">
                  <a16:creationId xmlns:a16="http://schemas.microsoft.com/office/drawing/2014/main" id="{01A85E0C-4764-407B-B868-00A354244CBC}"/>
                </a:ext>
              </a:extLst>
            </p:cNvPr>
            <p:cNvSpPr/>
            <p:nvPr/>
          </p:nvSpPr>
          <p:spPr bwMode="auto">
            <a:xfrm>
              <a:off x="1165860" y="2182654"/>
              <a:ext cx="608400" cy="129063"/>
            </a:xfrm>
            <a:prstGeom prst="rect">
              <a:avLst/>
            </a:prstGeom>
            <a:solidFill>
              <a:srgbClr val="FFDE08"/>
            </a:solidFill>
            <a:ln w="3175" cap="flat" cmpd="sng" algn="ctr">
              <a:solidFill>
                <a:srgbClr val="FFDE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39" name="Rectangle 1038">
              <a:extLst>
                <a:ext uri="{FF2B5EF4-FFF2-40B4-BE49-F238E27FC236}">
                  <a16:creationId xmlns:a16="http://schemas.microsoft.com/office/drawing/2014/main" id="{CD6B1BCC-2FB4-442E-BD60-C7DFD375C067}"/>
                </a:ext>
              </a:extLst>
            </p:cNvPr>
            <p:cNvSpPr/>
            <p:nvPr/>
          </p:nvSpPr>
          <p:spPr bwMode="auto">
            <a:xfrm>
              <a:off x="1165860" y="2056686"/>
              <a:ext cx="608400" cy="129063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1040" name="Group 1039">
            <a:extLst>
              <a:ext uri="{FF2B5EF4-FFF2-40B4-BE49-F238E27FC236}">
                <a16:creationId xmlns:a16="http://schemas.microsoft.com/office/drawing/2014/main" id="{4397845C-0176-46B7-B3F1-4760603C0512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4774849" y="1423547"/>
            <a:ext cx="218880" cy="136800"/>
            <a:chOff x="3260131" y="4980868"/>
            <a:chExt cx="609600" cy="381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41" name="Rectangle 1040">
              <a:extLst>
                <a:ext uri="{FF2B5EF4-FFF2-40B4-BE49-F238E27FC236}">
                  <a16:creationId xmlns:a16="http://schemas.microsoft.com/office/drawing/2014/main" id="{007F9DD2-DF27-4013-811F-E09BA2BF2DC3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 bwMode="auto">
            <a:xfrm>
              <a:off x="3260131" y="4980868"/>
              <a:ext cx="609600" cy="3810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42" name="Rectangle 1041">
              <a:extLst>
                <a:ext uri="{FF2B5EF4-FFF2-40B4-BE49-F238E27FC236}">
                  <a16:creationId xmlns:a16="http://schemas.microsoft.com/office/drawing/2014/main" id="{8CBD7DEC-BB69-48FC-8908-D57691BC094C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 bwMode="auto">
            <a:xfrm>
              <a:off x="3260131" y="4980868"/>
              <a:ext cx="2105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43" name="Rectangle 1042">
              <a:extLst>
                <a:ext uri="{FF2B5EF4-FFF2-40B4-BE49-F238E27FC236}">
                  <a16:creationId xmlns:a16="http://schemas.microsoft.com/office/drawing/2014/main" id="{6C44F44C-3601-41E6-BE7D-E84281766958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 bwMode="auto">
            <a:xfrm>
              <a:off x="3544929" y="4980868"/>
              <a:ext cx="3248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44" name="Rectangle 1043">
              <a:extLst>
                <a:ext uri="{FF2B5EF4-FFF2-40B4-BE49-F238E27FC236}">
                  <a16:creationId xmlns:a16="http://schemas.microsoft.com/office/drawing/2014/main" id="{C4EAA330-E809-4CC2-A368-D393D6C4D898}"/>
                </a:ext>
              </a:extLst>
            </p:cNvPr>
            <p:cNvSpPr/>
            <p:nvPr>
              <p:custDataLst>
                <p:tags r:id="rId40"/>
              </p:custDataLst>
            </p:nvPr>
          </p:nvSpPr>
          <p:spPr bwMode="auto">
            <a:xfrm>
              <a:off x="3260131" y="5197561"/>
              <a:ext cx="2105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45" name="Rectangle 1044">
              <a:extLst>
                <a:ext uri="{FF2B5EF4-FFF2-40B4-BE49-F238E27FC236}">
                  <a16:creationId xmlns:a16="http://schemas.microsoft.com/office/drawing/2014/main" id="{2E2B23BF-3072-4A09-8589-15347DEE8857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 bwMode="auto">
            <a:xfrm>
              <a:off x="3544929" y="5197561"/>
              <a:ext cx="324802" cy="164307"/>
            </a:xfrm>
            <a:prstGeom prst="rect">
              <a:avLst/>
            </a:prstGeom>
            <a:solidFill>
              <a:srgbClr val="DE0008"/>
            </a:solidFill>
            <a:ln w="3175" cap="flat" cmpd="sng" algn="ctr">
              <a:solidFill>
                <a:srgbClr val="DE000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053" name="Rektangel 60">
            <a:extLst>
              <a:ext uri="{FF2B5EF4-FFF2-40B4-BE49-F238E27FC236}">
                <a16:creationId xmlns:a16="http://schemas.microsoft.com/office/drawing/2014/main" id="{E6A43F4E-D041-424D-A340-5DBECD563720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55867" y="5905018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b="1" dirty="0">
                <a:latin typeface="Arial"/>
              </a:rPr>
              <a:t>London Array (25%)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dirty="0">
                <a:latin typeface="Arial"/>
              </a:rPr>
              <a:t>630 MW (2009 / 2014)</a:t>
            </a:r>
          </a:p>
        </p:txBody>
      </p:sp>
      <p:sp>
        <p:nvSpPr>
          <p:cNvPr id="1054" name="Rektangel 60">
            <a:extLst>
              <a:ext uri="{FF2B5EF4-FFF2-40B4-BE49-F238E27FC236}">
                <a16:creationId xmlns:a16="http://schemas.microsoft.com/office/drawing/2014/main" id="{2451D9BE-0452-4034-96C8-A566D735BB4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0024" y="5905018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b="1" dirty="0">
                <a:latin typeface="Arial"/>
              </a:rPr>
              <a:t>Gunfleet Sands (50%)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dirty="0">
                <a:latin typeface="Arial"/>
              </a:rPr>
              <a:t>173 MW (2011)</a:t>
            </a:r>
          </a:p>
        </p:txBody>
      </p:sp>
      <p:sp>
        <p:nvSpPr>
          <p:cNvPr id="1055" name="Rektangel 60">
            <a:extLst>
              <a:ext uri="{FF2B5EF4-FFF2-40B4-BE49-F238E27FC236}">
                <a16:creationId xmlns:a16="http://schemas.microsoft.com/office/drawing/2014/main" id="{588CBA21-2DCC-4688-BE23-76C99B8565E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0024" y="5297902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36000" tIns="36000" rIns="0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b="1" dirty="0">
                <a:latin typeface="Arial"/>
              </a:rPr>
              <a:t>Burbo Bank Extension (50%)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dirty="0">
                <a:latin typeface="Arial"/>
              </a:rPr>
              <a:t>258 MW (2016)</a:t>
            </a:r>
          </a:p>
        </p:txBody>
      </p:sp>
      <p:sp>
        <p:nvSpPr>
          <p:cNvPr id="1057" name="Rektangel 60">
            <a:extLst>
              <a:ext uri="{FF2B5EF4-FFF2-40B4-BE49-F238E27FC236}">
                <a16:creationId xmlns:a16="http://schemas.microsoft.com/office/drawing/2014/main" id="{84B77F54-D088-4BA6-B494-6FF25751BE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55867" y="1596713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b="1" dirty="0">
                <a:latin typeface="Arial"/>
              </a:rPr>
              <a:t>Lincs (25%)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dirty="0">
                <a:latin typeface="Arial"/>
              </a:rPr>
              <a:t>270 MW (2017)</a:t>
            </a:r>
          </a:p>
        </p:txBody>
      </p:sp>
      <p:sp>
        <p:nvSpPr>
          <p:cNvPr id="1058" name="Rektangel 60">
            <a:extLst>
              <a:ext uri="{FF2B5EF4-FFF2-40B4-BE49-F238E27FC236}">
                <a16:creationId xmlns:a16="http://schemas.microsoft.com/office/drawing/2014/main" id="{A373FBFE-FC27-4DC1-982C-80E8F22087CF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0024" y="1596713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b="1" dirty="0">
                <a:latin typeface="Arial"/>
              </a:rPr>
              <a:t>Walney Extension (50%)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dirty="0">
                <a:latin typeface="Arial"/>
              </a:rPr>
              <a:t>659 MW (2017)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endParaRPr lang="nb-NO" sz="700" dirty="0">
              <a:latin typeface="Arial"/>
            </a:endParaRPr>
          </a:p>
        </p:txBody>
      </p:sp>
      <p:sp>
        <p:nvSpPr>
          <p:cNvPr id="1059" name="Rektangel 60">
            <a:extLst>
              <a:ext uri="{FF2B5EF4-FFF2-40B4-BE49-F238E27FC236}">
                <a16:creationId xmlns:a16="http://schemas.microsoft.com/office/drawing/2014/main" id="{1F752E2C-2872-4AAF-8434-BF37CA63526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6680" y="2147504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0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b="1" dirty="0">
                <a:latin typeface="Arial"/>
              </a:rPr>
              <a:t>Walney 1&amp;2 (50.1%)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dirty="0">
                <a:latin typeface="Arial"/>
              </a:rPr>
              <a:t>367 MW (2009 / 2010)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endParaRPr lang="nb-NO" sz="700" dirty="0">
              <a:latin typeface="Arial"/>
            </a:endParaRPr>
          </a:p>
        </p:txBody>
      </p:sp>
      <p:sp>
        <p:nvSpPr>
          <p:cNvPr id="1060" name="Rektangel 60">
            <a:extLst>
              <a:ext uri="{FF2B5EF4-FFF2-40B4-BE49-F238E27FC236}">
                <a16:creationId xmlns:a16="http://schemas.microsoft.com/office/drawing/2014/main" id="{4C38A102-32A4-448B-ABF6-A24120F02205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0024" y="2698294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b="1" dirty="0">
                <a:latin typeface="Arial"/>
              </a:rPr>
              <a:t>West Duddon Sands (50%)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dirty="0">
                <a:latin typeface="Arial"/>
              </a:rPr>
              <a:t>389 MW (2010)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endParaRPr lang="nb-NO" sz="700" dirty="0">
              <a:latin typeface="Arial"/>
            </a:endParaRPr>
          </a:p>
        </p:txBody>
      </p:sp>
      <p:sp>
        <p:nvSpPr>
          <p:cNvPr id="1061" name="Rektangel 60">
            <a:extLst>
              <a:ext uri="{FF2B5EF4-FFF2-40B4-BE49-F238E27FC236}">
                <a16:creationId xmlns:a16="http://schemas.microsoft.com/office/drawing/2014/main" id="{AE21EB69-99A7-49A1-A892-A1B70DA8C632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55197" y="2147504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b="1" dirty="0">
                <a:latin typeface="Arial"/>
              </a:rPr>
              <a:t>Race Bank (50%)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dirty="0">
                <a:latin typeface="Arial"/>
              </a:rPr>
              <a:t>573 MW (2016)</a:t>
            </a:r>
          </a:p>
        </p:txBody>
      </p:sp>
      <p:sp>
        <p:nvSpPr>
          <p:cNvPr id="1062" name="Rektangel 60">
            <a:extLst>
              <a:ext uri="{FF2B5EF4-FFF2-40B4-BE49-F238E27FC236}">
                <a16:creationId xmlns:a16="http://schemas.microsoft.com/office/drawing/2014/main" id="{7A101911-62B7-4C08-A9E4-D6D5B7EDA68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48541" y="2698294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b="1" dirty="0">
                <a:latin typeface="Arial"/>
              </a:rPr>
              <a:t>Westermost Rough (50%)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dirty="0">
                <a:latin typeface="Arial"/>
              </a:rPr>
              <a:t>210 MW (2014)</a:t>
            </a:r>
          </a:p>
        </p:txBody>
      </p:sp>
      <p:cxnSp>
        <p:nvCxnSpPr>
          <p:cNvPr id="1063" name="Elbow Connector 565">
            <a:extLst>
              <a:ext uri="{FF2B5EF4-FFF2-40B4-BE49-F238E27FC236}">
                <a16:creationId xmlns:a16="http://schemas.microsoft.com/office/drawing/2014/main" id="{E276CF0B-1497-4137-B498-FB0070DA083E}"/>
              </a:ext>
            </a:extLst>
          </p:cNvPr>
          <p:cNvCxnSpPr>
            <a:cxnSpLocks/>
            <a:stCxn id="1057" idx="3"/>
          </p:cNvCxnSpPr>
          <p:nvPr/>
        </p:nvCxnSpPr>
        <p:spPr>
          <a:xfrm flipH="1">
            <a:off x="2347343" y="1848713"/>
            <a:ext cx="668524" cy="2534507"/>
          </a:xfrm>
          <a:prstGeom prst="bentConnector4">
            <a:avLst>
              <a:gd name="adj1" fmla="val -13742"/>
              <a:gd name="adj2" fmla="val 100153"/>
            </a:avLst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cxnSp>
        <p:nvCxnSpPr>
          <p:cNvPr id="1068" name="Elbow Connector 565">
            <a:extLst>
              <a:ext uri="{FF2B5EF4-FFF2-40B4-BE49-F238E27FC236}">
                <a16:creationId xmlns:a16="http://schemas.microsoft.com/office/drawing/2014/main" id="{CF7C123E-728C-4473-A4EC-E30E431539AC}"/>
              </a:ext>
            </a:extLst>
          </p:cNvPr>
          <p:cNvCxnSpPr>
            <a:cxnSpLocks/>
            <a:stCxn id="1053" idx="0"/>
          </p:cNvCxnSpPr>
          <p:nvPr/>
        </p:nvCxnSpPr>
        <p:spPr>
          <a:xfrm rot="5400000" flipH="1" flipV="1">
            <a:off x="1959879" y="5285738"/>
            <a:ext cx="1045268" cy="193293"/>
          </a:xfrm>
          <a:prstGeom prst="bentConnector3">
            <a:avLst>
              <a:gd name="adj1" fmla="val 9121"/>
            </a:avLst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cxnSp>
        <p:nvCxnSpPr>
          <p:cNvPr id="1072" name="Elbow Connector 565">
            <a:extLst>
              <a:ext uri="{FF2B5EF4-FFF2-40B4-BE49-F238E27FC236}">
                <a16:creationId xmlns:a16="http://schemas.microsoft.com/office/drawing/2014/main" id="{71199E00-9993-4AC8-BBEF-A0C5AF45883F}"/>
              </a:ext>
            </a:extLst>
          </p:cNvPr>
          <p:cNvCxnSpPr>
            <a:cxnSpLocks/>
            <a:stCxn id="1054" idx="3"/>
            <a:endCxn id="213" idx="6"/>
          </p:cNvCxnSpPr>
          <p:nvPr/>
        </p:nvCxnSpPr>
        <p:spPr>
          <a:xfrm flipV="1">
            <a:off x="1650024" y="4908879"/>
            <a:ext cx="781681" cy="1248139"/>
          </a:xfrm>
          <a:prstGeom prst="bentConnector3">
            <a:avLst>
              <a:gd name="adj1" fmla="val 8610"/>
            </a:avLst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cxnSp>
        <p:nvCxnSpPr>
          <p:cNvPr id="1085" name="Elbow Connector 565">
            <a:extLst>
              <a:ext uri="{FF2B5EF4-FFF2-40B4-BE49-F238E27FC236}">
                <a16:creationId xmlns:a16="http://schemas.microsoft.com/office/drawing/2014/main" id="{FE5A3402-0CC4-4C6E-97D4-99C39185447E}"/>
              </a:ext>
            </a:extLst>
          </p:cNvPr>
          <p:cNvCxnSpPr>
            <a:cxnSpLocks/>
            <a:stCxn id="1061" idx="3"/>
          </p:cNvCxnSpPr>
          <p:nvPr/>
        </p:nvCxnSpPr>
        <p:spPr>
          <a:xfrm flipH="1">
            <a:off x="2444729" y="2399504"/>
            <a:ext cx="570468" cy="1923548"/>
          </a:xfrm>
          <a:prstGeom prst="bentConnector4">
            <a:avLst>
              <a:gd name="adj1" fmla="val -8613"/>
              <a:gd name="adj2" fmla="val 100532"/>
            </a:avLst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1105" name="Line 60">
            <a:extLst>
              <a:ext uri="{FF2B5EF4-FFF2-40B4-BE49-F238E27FC236}">
                <a16:creationId xmlns:a16="http://schemas.microsoft.com/office/drawing/2014/main" id="{46C669A5-F1E5-491B-A4C0-480FFA296E0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357831" y="3202293"/>
            <a:ext cx="6451" cy="1039667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 sz="900" dirty="0">
              <a:solidFill>
                <a:srgbClr val="000000"/>
              </a:solidFill>
            </a:endParaRPr>
          </a:p>
        </p:txBody>
      </p:sp>
      <p:cxnSp>
        <p:nvCxnSpPr>
          <p:cNvPr id="1108" name="Elbow Connector 565">
            <a:extLst>
              <a:ext uri="{FF2B5EF4-FFF2-40B4-BE49-F238E27FC236}">
                <a16:creationId xmlns:a16="http://schemas.microsoft.com/office/drawing/2014/main" id="{BA1C88F9-8926-400F-8C75-25982FFE0998}"/>
              </a:ext>
            </a:extLst>
          </p:cNvPr>
          <p:cNvCxnSpPr>
            <a:cxnSpLocks/>
            <a:stCxn id="1055" idx="0"/>
          </p:cNvCxnSpPr>
          <p:nvPr/>
        </p:nvCxnSpPr>
        <p:spPr>
          <a:xfrm rot="5400000" flipH="1" flipV="1">
            <a:off x="872301" y="4526097"/>
            <a:ext cx="919528" cy="62408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cxnSp>
        <p:nvCxnSpPr>
          <p:cNvPr id="1112" name="Elbow Connector 565">
            <a:extLst>
              <a:ext uri="{FF2B5EF4-FFF2-40B4-BE49-F238E27FC236}">
                <a16:creationId xmlns:a16="http://schemas.microsoft.com/office/drawing/2014/main" id="{E42F176D-0626-41BE-9E87-78E7D7AA12C4}"/>
              </a:ext>
            </a:extLst>
          </p:cNvPr>
          <p:cNvCxnSpPr>
            <a:cxnSpLocks/>
            <a:stCxn id="1058" idx="1"/>
          </p:cNvCxnSpPr>
          <p:nvPr/>
        </p:nvCxnSpPr>
        <p:spPr>
          <a:xfrm rot="10800000" flipH="1" flipV="1">
            <a:off x="390024" y="1848713"/>
            <a:ext cx="1172690" cy="2466112"/>
          </a:xfrm>
          <a:prstGeom prst="bentConnector4">
            <a:avLst>
              <a:gd name="adj1" fmla="val -6383"/>
              <a:gd name="adj2" fmla="val 100390"/>
            </a:avLst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cxnSp>
        <p:nvCxnSpPr>
          <p:cNvPr id="1118" name="Elbow Connector 565">
            <a:extLst>
              <a:ext uri="{FF2B5EF4-FFF2-40B4-BE49-F238E27FC236}">
                <a16:creationId xmlns:a16="http://schemas.microsoft.com/office/drawing/2014/main" id="{CDAE6FBE-B809-4BC1-A0C9-F897D4D91993}"/>
              </a:ext>
            </a:extLst>
          </p:cNvPr>
          <p:cNvCxnSpPr>
            <a:cxnSpLocks/>
            <a:stCxn id="1059" idx="1"/>
          </p:cNvCxnSpPr>
          <p:nvPr/>
        </p:nvCxnSpPr>
        <p:spPr>
          <a:xfrm rot="10800000" flipH="1" flipV="1">
            <a:off x="396680" y="2399503"/>
            <a:ext cx="1243770" cy="1858745"/>
          </a:xfrm>
          <a:prstGeom prst="bentConnector4">
            <a:avLst>
              <a:gd name="adj1" fmla="val -3482"/>
              <a:gd name="adj2" fmla="val 100454"/>
            </a:avLst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cxnSp>
        <p:nvCxnSpPr>
          <p:cNvPr id="1124" name="Elbow Connector 565">
            <a:extLst>
              <a:ext uri="{FF2B5EF4-FFF2-40B4-BE49-F238E27FC236}">
                <a16:creationId xmlns:a16="http://schemas.microsoft.com/office/drawing/2014/main" id="{EF5C09AC-62FD-48A5-A6FD-71CDFDA828D0}"/>
              </a:ext>
            </a:extLst>
          </p:cNvPr>
          <p:cNvCxnSpPr>
            <a:cxnSpLocks/>
            <a:stCxn id="1060" idx="2"/>
          </p:cNvCxnSpPr>
          <p:nvPr/>
        </p:nvCxnSpPr>
        <p:spPr>
          <a:xfrm rot="16200000" flipH="1">
            <a:off x="820015" y="3402303"/>
            <a:ext cx="978634" cy="578616"/>
          </a:xfrm>
          <a:prstGeom prst="bentConnector3">
            <a:avLst>
              <a:gd name="adj1" fmla="val 100694"/>
            </a:avLst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pic>
        <p:nvPicPr>
          <p:cNvPr id="1145" name="Picture 1144">
            <a:extLst>
              <a:ext uri="{FF2B5EF4-FFF2-40B4-BE49-F238E27FC236}">
                <a16:creationId xmlns:a16="http://schemas.microsoft.com/office/drawing/2014/main" id="{092A3C03-CA8E-40DD-8FE7-41F309D9CF42}"/>
              </a:ext>
            </a:extLst>
          </p:cNvPr>
          <p:cNvPicPr>
            <a:picLocks noChangeAspect="1"/>
          </p:cNvPicPr>
          <p:nvPr/>
        </p:nvPicPr>
        <p:blipFill rotWithShape="1"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733" b="18079"/>
          <a:stretch/>
        </p:blipFill>
        <p:spPr>
          <a:xfrm>
            <a:off x="2455788" y="6232409"/>
            <a:ext cx="548667" cy="183272"/>
          </a:xfrm>
          <a:prstGeom prst="rect">
            <a:avLst/>
          </a:prstGeom>
        </p:spPr>
      </p:pic>
      <p:pic>
        <p:nvPicPr>
          <p:cNvPr id="1146" name="Picture 1145">
            <a:extLst>
              <a:ext uri="{FF2B5EF4-FFF2-40B4-BE49-F238E27FC236}">
                <a16:creationId xmlns:a16="http://schemas.microsoft.com/office/drawing/2014/main" id="{EF427FC7-4E01-43A0-8240-F02D5BD896D1}"/>
              </a:ext>
            </a:extLst>
          </p:cNvPr>
          <p:cNvPicPr>
            <a:picLocks noChangeAspect="1"/>
          </p:cNvPicPr>
          <p:nvPr/>
        </p:nvPicPr>
        <p:blipFill rotWithShape="1"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871"/>
          <a:stretch/>
        </p:blipFill>
        <p:spPr>
          <a:xfrm>
            <a:off x="1719251" y="6199194"/>
            <a:ext cx="890336" cy="182836"/>
          </a:xfrm>
          <a:prstGeom prst="rect">
            <a:avLst/>
          </a:prstGeom>
        </p:spPr>
      </p:pic>
      <p:pic>
        <p:nvPicPr>
          <p:cNvPr id="1147" name="Picture 1146">
            <a:extLst>
              <a:ext uri="{FF2B5EF4-FFF2-40B4-BE49-F238E27FC236}">
                <a16:creationId xmlns:a16="http://schemas.microsoft.com/office/drawing/2014/main" id="{6361C547-0810-4F13-8251-449B9A18FC42}"/>
              </a:ext>
            </a:extLst>
          </p:cNvPr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484" y="6146921"/>
            <a:ext cx="336682" cy="134672"/>
          </a:xfrm>
          <a:prstGeom prst="rect">
            <a:avLst/>
          </a:prstGeom>
        </p:spPr>
      </p:pic>
      <p:pic>
        <p:nvPicPr>
          <p:cNvPr id="1148" name="Picture 1147">
            <a:extLst>
              <a:ext uri="{FF2B5EF4-FFF2-40B4-BE49-F238E27FC236}">
                <a16:creationId xmlns:a16="http://schemas.microsoft.com/office/drawing/2014/main" id="{469CC478-2E8C-44D7-86C9-1E90C66337F2}"/>
              </a:ext>
            </a:extLst>
          </p:cNvPr>
          <p:cNvPicPr>
            <a:picLocks noChangeAspect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767" y="6256200"/>
            <a:ext cx="738206" cy="76481"/>
          </a:xfrm>
          <a:prstGeom prst="rect">
            <a:avLst/>
          </a:prstGeom>
        </p:spPr>
      </p:pic>
      <p:pic>
        <p:nvPicPr>
          <p:cNvPr id="1149" name="Picture 1148">
            <a:extLst>
              <a:ext uri="{FF2B5EF4-FFF2-40B4-BE49-F238E27FC236}">
                <a16:creationId xmlns:a16="http://schemas.microsoft.com/office/drawing/2014/main" id="{4D103ABE-E0D5-4423-9421-3B45E619B701}"/>
              </a:ext>
            </a:extLst>
          </p:cNvPr>
          <p:cNvPicPr>
            <a:picLocks noChangeAspect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7936" y="3041471"/>
            <a:ext cx="738206" cy="76481"/>
          </a:xfrm>
          <a:prstGeom prst="rect">
            <a:avLst/>
          </a:prstGeom>
        </p:spPr>
      </p:pic>
      <p:pic>
        <p:nvPicPr>
          <p:cNvPr id="1150" name="Picture 5">
            <a:extLst>
              <a:ext uri="{FF2B5EF4-FFF2-40B4-BE49-F238E27FC236}">
                <a16:creationId xmlns:a16="http://schemas.microsoft.com/office/drawing/2014/main" id="{DD54715F-D152-4119-8A0F-CD94CB11BFCC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72" t="21159" r="4466" b="18147"/>
          <a:stretch>
            <a:fillRect/>
          </a:stretch>
        </p:blipFill>
        <p:spPr bwMode="auto">
          <a:xfrm>
            <a:off x="2554912" y="2869335"/>
            <a:ext cx="439302" cy="311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1" name="Picture 1150">
            <a:extLst>
              <a:ext uri="{FF2B5EF4-FFF2-40B4-BE49-F238E27FC236}">
                <a16:creationId xmlns:a16="http://schemas.microsoft.com/office/drawing/2014/main" id="{AC1494CB-0680-4E5F-A039-DEB0942252AE}"/>
              </a:ext>
            </a:extLst>
          </p:cNvPr>
          <p:cNvPicPr>
            <a:picLocks noChangeAspect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716" y="5472242"/>
            <a:ext cx="285750" cy="28575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152" name="Picture 4">
            <a:extLst>
              <a:ext uri="{FF2B5EF4-FFF2-40B4-BE49-F238E27FC236}">
                <a16:creationId xmlns:a16="http://schemas.microsoft.com/office/drawing/2014/main" id="{5E3826BD-E294-44F8-847A-F4CD7B8D11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385606" y="5435117"/>
            <a:ext cx="222858" cy="360000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1153" name="Content Placeholder 3">
            <a:extLst>
              <a:ext uri="{FF2B5EF4-FFF2-40B4-BE49-F238E27FC236}">
                <a16:creationId xmlns:a16="http://schemas.microsoft.com/office/drawing/2014/main" id="{8388FC90-4968-42C4-BED9-4BA804927CAE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126" y="2947077"/>
            <a:ext cx="469583" cy="242888"/>
          </a:xfrm>
          <a:prstGeom prst="rect">
            <a:avLst/>
          </a:prstGeom>
        </p:spPr>
      </p:pic>
      <p:pic>
        <p:nvPicPr>
          <p:cNvPr id="1154" name="Picture 1153">
            <a:extLst>
              <a:ext uri="{FF2B5EF4-FFF2-40B4-BE49-F238E27FC236}">
                <a16:creationId xmlns:a16="http://schemas.microsoft.com/office/drawing/2014/main" id="{85CA3267-5CA4-4480-A370-831272F9EC8A}"/>
              </a:ext>
            </a:extLst>
          </p:cNvPr>
          <p:cNvPicPr>
            <a:picLocks noChangeAspect="1"/>
          </p:cNvPicPr>
          <p:nvPr/>
        </p:nvPicPr>
        <p:blipFill rotWithShape="1"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55" r="23140" b="32067"/>
          <a:stretch/>
        </p:blipFill>
        <p:spPr>
          <a:xfrm>
            <a:off x="717269" y="1843180"/>
            <a:ext cx="611297" cy="230034"/>
          </a:xfrm>
          <a:prstGeom prst="rect">
            <a:avLst/>
          </a:prstGeom>
        </p:spPr>
      </p:pic>
      <p:pic>
        <p:nvPicPr>
          <p:cNvPr id="1155" name="Picture 4">
            <a:extLst>
              <a:ext uri="{FF2B5EF4-FFF2-40B4-BE49-F238E27FC236}">
                <a16:creationId xmlns:a16="http://schemas.microsoft.com/office/drawing/2014/main" id="{8C20B158-AEB2-435C-AA3B-A57DF05C8B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385606" y="1736991"/>
            <a:ext cx="222858" cy="360000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1156" name="Picture 4" descr="https://pbs.twimg.com/profile_images/2360659984/fdp3jox0tfm79m99mic0.png">
            <a:hlinkClick r:id="rId63"/>
            <a:extLst>
              <a:ext uri="{FF2B5EF4-FFF2-40B4-BE49-F238E27FC236}">
                <a16:creationId xmlns:a16="http://schemas.microsoft.com/office/drawing/2014/main" id="{9346A4F4-D145-4564-B0E2-BBEA12A546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14" t="17333" b="1809"/>
          <a:stretch/>
        </p:blipFill>
        <p:spPr bwMode="auto">
          <a:xfrm>
            <a:off x="1307450" y="2274135"/>
            <a:ext cx="332643" cy="317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7" name="Picture 1156">
            <a:extLst>
              <a:ext uri="{FF2B5EF4-FFF2-40B4-BE49-F238E27FC236}">
                <a16:creationId xmlns:a16="http://schemas.microsoft.com/office/drawing/2014/main" id="{2164B072-BD51-4178-86F5-7BE395A71254}"/>
              </a:ext>
            </a:extLst>
          </p:cNvPr>
          <p:cNvPicPr>
            <a:picLocks noChangeAspect="1"/>
          </p:cNvPicPr>
          <p:nvPr/>
        </p:nvPicPr>
        <p:blipFill>
          <a:blip r:embed="rId65"/>
          <a:stretch>
            <a:fillRect/>
          </a:stretch>
        </p:blipFill>
        <p:spPr>
          <a:xfrm>
            <a:off x="611818" y="2548427"/>
            <a:ext cx="822198" cy="94107"/>
          </a:xfrm>
          <a:prstGeom prst="rect">
            <a:avLst/>
          </a:prstGeom>
        </p:spPr>
      </p:pic>
      <p:pic>
        <p:nvPicPr>
          <p:cNvPr id="1158" name="Picture 1157">
            <a:extLst>
              <a:ext uri="{FF2B5EF4-FFF2-40B4-BE49-F238E27FC236}">
                <a16:creationId xmlns:a16="http://schemas.microsoft.com/office/drawing/2014/main" id="{3402B5A4-7115-4A3F-8845-6CB53210C7E0}"/>
              </a:ext>
            </a:extLst>
          </p:cNvPr>
          <p:cNvPicPr>
            <a:picLocks noChangeAspect="1"/>
          </p:cNvPicPr>
          <p:nvPr/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536" y="2412022"/>
            <a:ext cx="380741" cy="136335"/>
          </a:xfrm>
          <a:prstGeom prst="rect">
            <a:avLst/>
          </a:prstGeom>
        </p:spPr>
      </p:pic>
      <p:pic>
        <p:nvPicPr>
          <p:cNvPr id="1159" name="Picture 5">
            <a:extLst>
              <a:ext uri="{FF2B5EF4-FFF2-40B4-BE49-F238E27FC236}">
                <a16:creationId xmlns:a16="http://schemas.microsoft.com/office/drawing/2014/main" id="{3E06D457-467A-4FBE-928F-E84A77124FB1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72" t="21159" r="4466" b="18147"/>
          <a:stretch>
            <a:fillRect/>
          </a:stretch>
        </p:blipFill>
        <p:spPr bwMode="auto">
          <a:xfrm>
            <a:off x="2554912" y="1726279"/>
            <a:ext cx="439302" cy="311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60" name="Picture 1159">
            <a:extLst>
              <a:ext uri="{FF2B5EF4-FFF2-40B4-BE49-F238E27FC236}">
                <a16:creationId xmlns:a16="http://schemas.microsoft.com/office/drawing/2014/main" id="{F3A5CC4C-CB3A-4E44-8813-E806A79FA8A9}"/>
              </a:ext>
            </a:extLst>
          </p:cNvPr>
          <p:cNvPicPr>
            <a:picLocks noChangeAspect="1"/>
          </p:cNvPicPr>
          <p:nvPr/>
        </p:nvPicPr>
        <p:blipFill rotWithShape="1">
          <a:blip r:embed="rId6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16" r="29271"/>
          <a:stretch/>
        </p:blipFill>
        <p:spPr>
          <a:xfrm>
            <a:off x="2656550" y="2179741"/>
            <a:ext cx="328760" cy="341669"/>
          </a:xfrm>
          <a:prstGeom prst="rect">
            <a:avLst/>
          </a:prstGeom>
        </p:spPr>
      </p:pic>
      <p:pic>
        <p:nvPicPr>
          <p:cNvPr id="1161" name="Picture 1160">
            <a:extLst>
              <a:ext uri="{FF2B5EF4-FFF2-40B4-BE49-F238E27FC236}">
                <a16:creationId xmlns:a16="http://schemas.microsoft.com/office/drawing/2014/main" id="{6BAF6E44-7A7B-4813-AFE5-2E6CA8F7F0D6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7544" y="2540194"/>
            <a:ext cx="960120" cy="86678"/>
          </a:xfrm>
          <a:prstGeom prst="rect">
            <a:avLst/>
          </a:prstGeom>
        </p:spPr>
      </p:pic>
      <p:grpSp>
        <p:nvGrpSpPr>
          <p:cNvPr id="1162" name="Group 1161">
            <a:extLst>
              <a:ext uri="{FF2B5EF4-FFF2-40B4-BE49-F238E27FC236}">
                <a16:creationId xmlns:a16="http://schemas.microsoft.com/office/drawing/2014/main" id="{378E495F-DDD5-4D66-ADAE-69BF5A73E6E1}"/>
              </a:ext>
            </a:extLst>
          </p:cNvPr>
          <p:cNvGrpSpPr>
            <a:grpSpLocks noChangeAspect="1"/>
          </p:cNvGrpSpPr>
          <p:nvPr/>
        </p:nvGrpSpPr>
        <p:grpSpPr>
          <a:xfrm>
            <a:off x="390024" y="1423547"/>
            <a:ext cx="216777" cy="138174"/>
            <a:chOff x="2680722" y="4368395"/>
            <a:chExt cx="609600" cy="3885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63" name="Rectangle 1162">
              <a:extLst>
                <a:ext uri="{FF2B5EF4-FFF2-40B4-BE49-F238E27FC236}">
                  <a16:creationId xmlns:a16="http://schemas.microsoft.com/office/drawing/2014/main" id="{BFE5E967-E019-44D2-92FD-E11AABC2879B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auto">
            <a:xfrm>
              <a:off x="2680722" y="4368699"/>
              <a:ext cx="609600" cy="3810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1164" name="Group 1163">
              <a:extLst>
                <a:ext uri="{FF2B5EF4-FFF2-40B4-BE49-F238E27FC236}">
                  <a16:creationId xmlns:a16="http://schemas.microsoft.com/office/drawing/2014/main" id="{C97789C6-808E-4ADE-B4D0-A6DA291E5031}"/>
                </a:ext>
              </a:extLst>
            </p:cNvPr>
            <p:cNvGrpSpPr/>
            <p:nvPr/>
          </p:nvGrpSpPr>
          <p:grpSpPr>
            <a:xfrm>
              <a:off x="2681921" y="4368395"/>
              <a:ext cx="608401" cy="388555"/>
              <a:chOff x="1165859" y="4374242"/>
              <a:chExt cx="608401" cy="387306"/>
            </a:xfrm>
          </p:grpSpPr>
          <p:sp>
            <p:nvSpPr>
              <p:cNvPr id="1166" name="Freeform 467">
                <a:extLst>
                  <a:ext uri="{FF2B5EF4-FFF2-40B4-BE49-F238E27FC236}">
                    <a16:creationId xmlns:a16="http://schemas.microsoft.com/office/drawing/2014/main" id="{1DEB9E36-77D1-4497-9A34-1EDCCC5418C5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 bwMode="auto">
              <a:xfrm>
                <a:off x="1165860" y="4374242"/>
                <a:ext cx="201820" cy="126382"/>
              </a:xfrm>
              <a:custGeom>
                <a:avLst/>
                <a:gdLst>
                  <a:gd name="connsiteX0" fmla="*/ 1519084 w 1519084"/>
                  <a:gd name="connsiteY0" fmla="*/ 752168 h 759542"/>
                  <a:gd name="connsiteX1" fmla="*/ 7374 w 1519084"/>
                  <a:gd name="connsiteY1" fmla="*/ 0 h 759542"/>
                  <a:gd name="connsiteX2" fmla="*/ 0 w 1519084"/>
                  <a:gd name="connsiteY2" fmla="*/ 162233 h 759542"/>
                  <a:gd name="connsiteX3" fmla="*/ 1194620 w 1519084"/>
                  <a:gd name="connsiteY3" fmla="*/ 759542 h 759542"/>
                  <a:gd name="connsiteX4" fmla="*/ 1519084 w 1519084"/>
                  <a:gd name="connsiteY4" fmla="*/ 752168 h 759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9084" h="759542">
                    <a:moveTo>
                      <a:pt x="1519084" y="752168"/>
                    </a:moveTo>
                    <a:lnTo>
                      <a:pt x="7374" y="0"/>
                    </a:lnTo>
                    <a:lnTo>
                      <a:pt x="0" y="162233"/>
                    </a:lnTo>
                    <a:lnTo>
                      <a:pt x="1194620" y="759542"/>
                    </a:lnTo>
                    <a:lnTo>
                      <a:pt x="1519084" y="752168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167" name="Freeform 468">
                <a:extLst>
                  <a:ext uri="{FF2B5EF4-FFF2-40B4-BE49-F238E27FC236}">
                    <a16:creationId xmlns:a16="http://schemas.microsoft.com/office/drawing/2014/main" id="{A767606F-7FE2-4915-91A7-56480CA83EB7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 bwMode="auto">
              <a:xfrm>
                <a:off x="1525414" y="4374242"/>
                <a:ext cx="248846" cy="127609"/>
              </a:xfrm>
              <a:custGeom>
                <a:avLst/>
                <a:gdLst>
                  <a:gd name="connsiteX0" fmla="*/ 0 w 1873045"/>
                  <a:gd name="connsiteY0" fmla="*/ 766916 h 766916"/>
                  <a:gd name="connsiteX1" fmla="*/ 1526458 w 1873045"/>
                  <a:gd name="connsiteY1" fmla="*/ 0 h 766916"/>
                  <a:gd name="connsiteX2" fmla="*/ 1873045 w 1873045"/>
                  <a:gd name="connsiteY2" fmla="*/ 0 h 766916"/>
                  <a:gd name="connsiteX3" fmla="*/ 339213 w 1873045"/>
                  <a:gd name="connsiteY3" fmla="*/ 766916 h 766916"/>
                  <a:gd name="connsiteX4" fmla="*/ 0 w 1873045"/>
                  <a:gd name="connsiteY4" fmla="*/ 766916 h 766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3045" h="766916">
                    <a:moveTo>
                      <a:pt x="0" y="766916"/>
                    </a:moveTo>
                    <a:lnTo>
                      <a:pt x="1526458" y="0"/>
                    </a:lnTo>
                    <a:lnTo>
                      <a:pt x="1873045" y="0"/>
                    </a:lnTo>
                    <a:lnTo>
                      <a:pt x="339213" y="766916"/>
                    </a:lnTo>
                    <a:lnTo>
                      <a:pt x="0" y="766916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168" name="Freeform 469">
                <a:extLst>
                  <a:ext uri="{FF2B5EF4-FFF2-40B4-BE49-F238E27FC236}">
                    <a16:creationId xmlns:a16="http://schemas.microsoft.com/office/drawing/2014/main" id="{A4938220-FF9D-4D35-A27A-0AD5AE0F6883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 bwMode="auto">
              <a:xfrm flipH="1" flipV="1">
                <a:off x="1572440" y="4628233"/>
                <a:ext cx="201820" cy="126382"/>
              </a:xfrm>
              <a:custGeom>
                <a:avLst/>
                <a:gdLst>
                  <a:gd name="connsiteX0" fmla="*/ 1519084 w 1519084"/>
                  <a:gd name="connsiteY0" fmla="*/ 752168 h 759542"/>
                  <a:gd name="connsiteX1" fmla="*/ 7374 w 1519084"/>
                  <a:gd name="connsiteY1" fmla="*/ 0 h 759542"/>
                  <a:gd name="connsiteX2" fmla="*/ 0 w 1519084"/>
                  <a:gd name="connsiteY2" fmla="*/ 162233 h 759542"/>
                  <a:gd name="connsiteX3" fmla="*/ 1194620 w 1519084"/>
                  <a:gd name="connsiteY3" fmla="*/ 759542 h 759542"/>
                  <a:gd name="connsiteX4" fmla="*/ 1519084 w 1519084"/>
                  <a:gd name="connsiteY4" fmla="*/ 752168 h 759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9084" h="759542">
                    <a:moveTo>
                      <a:pt x="1519084" y="752168"/>
                    </a:moveTo>
                    <a:lnTo>
                      <a:pt x="7374" y="0"/>
                    </a:lnTo>
                    <a:lnTo>
                      <a:pt x="0" y="162233"/>
                    </a:lnTo>
                    <a:lnTo>
                      <a:pt x="1194620" y="759542"/>
                    </a:lnTo>
                    <a:lnTo>
                      <a:pt x="1519084" y="752168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169" name="Freeform 470">
                <a:extLst>
                  <a:ext uri="{FF2B5EF4-FFF2-40B4-BE49-F238E27FC236}">
                    <a16:creationId xmlns:a16="http://schemas.microsoft.com/office/drawing/2014/main" id="{2EE5AFD8-778F-490E-933E-A9A022EC7189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 bwMode="auto">
              <a:xfrm flipH="1" flipV="1">
                <a:off x="1165860" y="4627006"/>
                <a:ext cx="248846" cy="127609"/>
              </a:xfrm>
              <a:custGeom>
                <a:avLst/>
                <a:gdLst>
                  <a:gd name="connsiteX0" fmla="*/ 0 w 1873045"/>
                  <a:gd name="connsiteY0" fmla="*/ 766916 h 766916"/>
                  <a:gd name="connsiteX1" fmla="*/ 1526458 w 1873045"/>
                  <a:gd name="connsiteY1" fmla="*/ 0 h 766916"/>
                  <a:gd name="connsiteX2" fmla="*/ 1873045 w 1873045"/>
                  <a:gd name="connsiteY2" fmla="*/ 0 h 766916"/>
                  <a:gd name="connsiteX3" fmla="*/ 339213 w 1873045"/>
                  <a:gd name="connsiteY3" fmla="*/ 766916 h 766916"/>
                  <a:gd name="connsiteX4" fmla="*/ 0 w 1873045"/>
                  <a:gd name="connsiteY4" fmla="*/ 766916 h 766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73045" h="766916">
                    <a:moveTo>
                      <a:pt x="0" y="766916"/>
                    </a:moveTo>
                    <a:lnTo>
                      <a:pt x="1526458" y="0"/>
                    </a:lnTo>
                    <a:lnTo>
                      <a:pt x="1873045" y="0"/>
                    </a:lnTo>
                    <a:lnTo>
                      <a:pt x="339213" y="766916"/>
                    </a:lnTo>
                    <a:lnTo>
                      <a:pt x="0" y="766916"/>
                    </a:lnTo>
                    <a:close/>
                  </a:path>
                </a:pathLst>
              </a:custGeom>
              <a:solidFill>
                <a:srgbClr val="DE000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170" name="Right Triangle 1169">
                <a:extLst>
                  <a:ext uri="{FF2B5EF4-FFF2-40B4-BE49-F238E27FC236}">
                    <a16:creationId xmlns:a16="http://schemas.microsoft.com/office/drawing/2014/main" id="{E8BB8900-5EFE-4FEE-BBAB-35FD561BC368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 bwMode="auto">
              <a:xfrm flipH="1" flipV="1">
                <a:off x="1236399" y="4374242"/>
                <a:ext cx="185165" cy="116566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171" name="Right Triangle 1170">
                <a:extLst>
                  <a:ext uri="{FF2B5EF4-FFF2-40B4-BE49-F238E27FC236}">
                    <a16:creationId xmlns:a16="http://schemas.microsoft.com/office/drawing/2014/main" id="{A85B95B9-BB32-48AB-A81C-E20F5E3ECE91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 bwMode="auto">
              <a:xfrm flipV="1">
                <a:off x="1522475" y="4374242"/>
                <a:ext cx="185165" cy="116566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172" name="Right Triangle 1171">
                <a:extLst>
                  <a:ext uri="{FF2B5EF4-FFF2-40B4-BE49-F238E27FC236}">
                    <a16:creationId xmlns:a16="http://schemas.microsoft.com/office/drawing/2014/main" id="{04F26BE0-27BA-481E-BEFA-20FDF6B230AB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 bwMode="auto">
              <a:xfrm flipH="1">
                <a:off x="1236398" y="4636822"/>
                <a:ext cx="185165" cy="118177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173" name="Right Triangle 1172">
                <a:extLst>
                  <a:ext uri="{FF2B5EF4-FFF2-40B4-BE49-F238E27FC236}">
                    <a16:creationId xmlns:a16="http://schemas.microsoft.com/office/drawing/2014/main" id="{CD9E0467-903E-480B-9CDA-1B98BADFC55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 bwMode="auto">
              <a:xfrm>
                <a:off x="1522475" y="4644982"/>
                <a:ext cx="185165" cy="116566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174" name="Right Triangle 1173">
                <a:extLst>
                  <a:ext uri="{FF2B5EF4-FFF2-40B4-BE49-F238E27FC236}">
                    <a16:creationId xmlns:a16="http://schemas.microsoft.com/office/drawing/2014/main" id="{6A0E7DF1-9966-46F3-BD48-F66011FB2829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 bwMode="auto">
              <a:xfrm flipV="1">
                <a:off x="1165860" y="4625779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175" name="Right Triangle 1174">
                <a:extLst>
                  <a:ext uri="{FF2B5EF4-FFF2-40B4-BE49-F238E27FC236}">
                    <a16:creationId xmlns:a16="http://schemas.microsoft.com/office/drawing/2014/main" id="{A1368A31-10B7-40F7-84E3-FDD63616173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 bwMode="auto">
              <a:xfrm>
                <a:off x="1165860" y="4414733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176" name="Right Triangle 1175">
                <a:extLst>
                  <a:ext uri="{FF2B5EF4-FFF2-40B4-BE49-F238E27FC236}">
                    <a16:creationId xmlns:a16="http://schemas.microsoft.com/office/drawing/2014/main" id="{2CBC4886-A1E7-4020-B39C-B7C8F1D93E4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 bwMode="auto">
              <a:xfrm flipH="1" flipV="1">
                <a:off x="1637823" y="4625779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177" name="Right Triangle 1176">
                <a:extLst>
                  <a:ext uri="{FF2B5EF4-FFF2-40B4-BE49-F238E27FC236}">
                    <a16:creationId xmlns:a16="http://schemas.microsoft.com/office/drawing/2014/main" id="{0EDFD2E6-30FF-41FA-8D48-BFE42610218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 bwMode="auto">
              <a:xfrm flipH="1">
                <a:off x="1637823" y="4414733"/>
                <a:ext cx="136437" cy="85891"/>
              </a:xfrm>
              <a:prstGeom prst="rtTriangle">
                <a:avLst/>
              </a:prstGeom>
              <a:solidFill>
                <a:srgbClr val="00298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178" name="Rectangle 1177">
                <a:extLst>
                  <a:ext uri="{FF2B5EF4-FFF2-40B4-BE49-F238E27FC236}">
                    <a16:creationId xmlns:a16="http://schemas.microsoft.com/office/drawing/2014/main" id="{3DCF7A6B-F877-4DDE-844F-66AE9265876B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 bwMode="auto">
              <a:xfrm rot="16200000">
                <a:off x="1404403" y="4260853"/>
                <a:ext cx="131290" cy="608377"/>
              </a:xfrm>
              <a:prstGeom prst="rect">
                <a:avLst/>
              </a:prstGeom>
              <a:solidFill>
                <a:schemeClr val="bg1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179" name="Rectangle 1178">
                <a:extLst>
                  <a:ext uri="{FF2B5EF4-FFF2-40B4-BE49-F238E27FC236}">
                    <a16:creationId xmlns:a16="http://schemas.microsoft.com/office/drawing/2014/main" id="{D1B9B6C8-FD7B-403C-B2BD-9F63BDDA7953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 bwMode="auto">
              <a:xfrm rot="16200000">
                <a:off x="1433443" y="4259013"/>
                <a:ext cx="73211" cy="608377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180" name="Rectangle 1179">
                <a:extLst>
                  <a:ext uri="{FF2B5EF4-FFF2-40B4-BE49-F238E27FC236}">
                    <a16:creationId xmlns:a16="http://schemas.microsoft.com/office/drawing/2014/main" id="{0BC47A67-B35F-4D66-A8EE-28AE63BA11F6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 bwMode="auto">
              <a:xfrm>
                <a:off x="1441485" y="4374242"/>
                <a:ext cx="59714" cy="387306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sp>
          <p:nvSpPr>
            <p:cNvPr id="1165" name="Rectangle 1164">
              <a:extLst>
                <a:ext uri="{FF2B5EF4-FFF2-40B4-BE49-F238E27FC236}">
                  <a16:creationId xmlns:a16="http://schemas.microsoft.com/office/drawing/2014/main" id="{7636FC12-09C6-4011-BC08-909CE9B9C556}"/>
                </a:ext>
              </a:extLst>
            </p:cNvPr>
            <p:cNvSpPr/>
            <p:nvPr/>
          </p:nvSpPr>
          <p:spPr bwMode="auto">
            <a:xfrm flipH="1">
              <a:off x="2680722" y="4369242"/>
              <a:ext cx="609600" cy="381142"/>
            </a:xfrm>
            <a:prstGeom prst="rect">
              <a:avLst/>
            </a:prstGeom>
            <a:noFill/>
            <a:ln w="3175" cap="flat" cmpd="sng" algn="ctr">
              <a:solidFill>
                <a:schemeClr val="accent3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185" name="Rektangel 60">
            <a:extLst>
              <a:ext uri="{FF2B5EF4-FFF2-40B4-BE49-F238E27FC236}">
                <a16:creationId xmlns:a16="http://schemas.microsoft.com/office/drawing/2014/main" id="{2F87C90F-DB10-4620-A9D6-7A319EFDB3B2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245937" y="5905018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da-DK" sz="700" b="1" dirty="0">
                <a:latin typeface="Arial"/>
              </a:rPr>
              <a:t>Formosa 1 (35%)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da-DK" sz="700" dirty="0">
                <a:latin typeface="Arial"/>
              </a:rPr>
              <a:t>128 MW (2016)</a:t>
            </a:r>
          </a:p>
        </p:txBody>
      </p:sp>
      <p:pic>
        <p:nvPicPr>
          <p:cNvPr id="1186" name="Picture 21">
            <a:extLst>
              <a:ext uri="{FF2B5EF4-FFF2-40B4-BE49-F238E27FC236}">
                <a16:creationId xmlns:a16="http://schemas.microsoft.com/office/drawing/2014/main" id="{B099B940-891B-4F95-A965-E0930A00E65A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3056" y="6196090"/>
            <a:ext cx="765810" cy="165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88" name="Picture 1187">
            <a:extLst>
              <a:ext uri="{FF2B5EF4-FFF2-40B4-BE49-F238E27FC236}">
                <a16:creationId xmlns:a16="http://schemas.microsoft.com/office/drawing/2014/main" id="{7DD33657-0A16-4C60-B6F7-42A00C16474E}"/>
              </a:ext>
            </a:extLst>
          </p:cNvPr>
          <p:cNvPicPr>
            <a:picLocks noChangeAspect="1"/>
          </p:cNvPicPr>
          <p:nvPr/>
        </p:nvPicPr>
        <p:blipFill rotWithShape="1">
          <a:blip r:embed="rId6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16" r="29271"/>
          <a:stretch/>
        </p:blipFill>
        <p:spPr>
          <a:xfrm>
            <a:off x="9104520" y="5998408"/>
            <a:ext cx="328760" cy="341669"/>
          </a:xfrm>
          <a:prstGeom prst="rect">
            <a:avLst/>
          </a:prstGeom>
        </p:spPr>
      </p:pic>
      <p:cxnSp>
        <p:nvCxnSpPr>
          <p:cNvPr id="1189" name="Elbow Connector 565">
            <a:extLst>
              <a:ext uri="{FF2B5EF4-FFF2-40B4-BE49-F238E27FC236}">
                <a16:creationId xmlns:a16="http://schemas.microsoft.com/office/drawing/2014/main" id="{ED784CAC-56E4-4822-8D99-2C7D1B370FEA}"/>
              </a:ext>
            </a:extLst>
          </p:cNvPr>
          <p:cNvCxnSpPr>
            <a:cxnSpLocks/>
            <a:stCxn id="1185" idx="0"/>
          </p:cNvCxnSpPr>
          <p:nvPr/>
        </p:nvCxnSpPr>
        <p:spPr>
          <a:xfrm rot="16200000" flipV="1">
            <a:off x="8568314" y="5597394"/>
            <a:ext cx="273790" cy="341457"/>
          </a:xfrm>
          <a:prstGeom prst="bentConnector2">
            <a:avLst/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sp>
        <p:nvSpPr>
          <p:cNvPr id="1196" name="Rektangel 60">
            <a:extLst>
              <a:ext uri="{FF2B5EF4-FFF2-40B4-BE49-F238E27FC236}">
                <a16:creationId xmlns:a16="http://schemas.microsoft.com/office/drawing/2014/main" id="{9D11124B-A809-4613-B97D-B0ADDA12284F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39909" y="1612545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b="1" dirty="0">
                <a:latin typeface="Arial"/>
              </a:rPr>
              <a:t>Bay State Wind (50%)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dirty="0">
                <a:latin typeface="Arial"/>
              </a:rPr>
              <a:t>800 MW (2016)</a:t>
            </a:r>
          </a:p>
        </p:txBody>
      </p:sp>
      <p:sp>
        <p:nvSpPr>
          <p:cNvPr id="1197" name="Rektangel 60">
            <a:extLst>
              <a:ext uri="{FF2B5EF4-FFF2-40B4-BE49-F238E27FC236}">
                <a16:creationId xmlns:a16="http://schemas.microsoft.com/office/drawing/2014/main" id="{C0E1C1A8-A221-4CD6-8E1B-EC502E97BFD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874066" y="1612545"/>
            <a:ext cx="1260000" cy="504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>
                <a:lumMod val="75000"/>
              </a:schemeClr>
            </a:solidFill>
            <a:round/>
            <a:headEnd/>
            <a:tailEnd/>
          </a:ln>
        </p:spPr>
        <p:txBody>
          <a:bodyPr lIns="72000" tIns="36000" rIns="27432" bIns="36000"/>
          <a:lstStyle/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b="1" dirty="0">
                <a:latin typeface="Arial"/>
              </a:rPr>
              <a:t>Coastal Virginia </a:t>
            </a:r>
            <a:r>
              <a:rPr lang="nb-NO" sz="700" b="1" baseline="30000" dirty="0">
                <a:latin typeface="Arial"/>
              </a:rPr>
              <a:t>1 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r>
              <a:rPr lang="nb-NO" sz="700" dirty="0">
                <a:latin typeface="Arial"/>
              </a:rPr>
              <a:t>12 MW (2017)</a:t>
            </a:r>
          </a:p>
          <a:p>
            <a:pPr>
              <a:lnSpc>
                <a:spcPct val="110000"/>
              </a:lnSpc>
              <a:spcBef>
                <a:spcPts val="0"/>
              </a:spcBef>
              <a:buNone/>
              <a:defRPr/>
            </a:pPr>
            <a:endParaRPr lang="nb-NO" sz="700" dirty="0">
              <a:latin typeface="Arial"/>
            </a:endParaRPr>
          </a:p>
        </p:txBody>
      </p:sp>
      <p:pic>
        <p:nvPicPr>
          <p:cNvPr id="1198" name="Picture 1197">
            <a:extLst>
              <a:ext uri="{FF2B5EF4-FFF2-40B4-BE49-F238E27FC236}">
                <a16:creationId xmlns:a16="http://schemas.microsoft.com/office/drawing/2014/main" id="{B2648711-BD7A-4839-9490-7D7317005818}"/>
              </a:ext>
            </a:extLst>
          </p:cNvPr>
          <p:cNvPicPr>
            <a:picLocks noChangeAspect="1"/>
          </p:cNvPicPr>
          <p:nvPr/>
        </p:nvPicPr>
        <p:blipFill rotWithShape="1">
          <a:blip r:embed="rId7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486"/>
          <a:stretch/>
        </p:blipFill>
        <p:spPr>
          <a:xfrm>
            <a:off x="8484876" y="1768256"/>
            <a:ext cx="731555" cy="328169"/>
          </a:xfrm>
          <a:prstGeom prst="rect">
            <a:avLst/>
          </a:prstGeom>
        </p:spPr>
      </p:pic>
      <p:pic>
        <p:nvPicPr>
          <p:cNvPr id="1199" name="Picture 1198">
            <a:extLst>
              <a:ext uri="{FF2B5EF4-FFF2-40B4-BE49-F238E27FC236}">
                <a16:creationId xmlns:a16="http://schemas.microsoft.com/office/drawing/2014/main" id="{EB9C46F2-6AA6-44E6-958F-E18669508EAD}"/>
              </a:ext>
            </a:extLst>
          </p:cNvPr>
          <p:cNvPicPr>
            <a:picLocks noChangeAspect="1"/>
          </p:cNvPicPr>
          <p:nvPr/>
        </p:nvPicPr>
        <p:blipFill rotWithShape="1"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354"/>
          <a:stretch/>
        </p:blipFill>
        <p:spPr>
          <a:xfrm>
            <a:off x="7143603" y="1846490"/>
            <a:ext cx="709613" cy="249936"/>
          </a:xfrm>
          <a:prstGeom prst="rect">
            <a:avLst/>
          </a:prstGeom>
        </p:spPr>
      </p:pic>
      <p:cxnSp>
        <p:nvCxnSpPr>
          <p:cNvPr id="1200" name="Elbow Connector 570">
            <a:extLst>
              <a:ext uri="{FF2B5EF4-FFF2-40B4-BE49-F238E27FC236}">
                <a16:creationId xmlns:a16="http://schemas.microsoft.com/office/drawing/2014/main" id="{11ABD09E-2802-4E95-8241-2B9E1B11DB01}"/>
              </a:ext>
            </a:extLst>
          </p:cNvPr>
          <p:cNvCxnSpPr>
            <a:cxnSpLocks/>
            <a:stCxn id="1197" idx="2"/>
          </p:cNvCxnSpPr>
          <p:nvPr/>
        </p:nvCxnSpPr>
        <p:spPr>
          <a:xfrm rot="16200000" flipH="1">
            <a:off x="7933579" y="1687032"/>
            <a:ext cx="584358" cy="1443384"/>
          </a:xfrm>
          <a:prstGeom prst="bentConnector2">
            <a:avLst/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cxnSp>
        <p:nvCxnSpPr>
          <p:cNvPr id="1203" name="Elbow Connector 570">
            <a:extLst>
              <a:ext uri="{FF2B5EF4-FFF2-40B4-BE49-F238E27FC236}">
                <a16:creationId xmlns:a16="http://schemas.microsoft.com/office/drawing/2014/main" id="{6C39DC7A-3001-4EB9-97C5-601A6ACB5336}"/>
              </a:ext>
            </a:extLst>
          </p:cNvPr>
          <p:cNvCxnSpPr>
            <a:cxnSpLocks/>
            <a:stCxn id="1196" idx="2"/>
          </p:cNvCxnSpPr>
          <p:nvPr/>
        </p:nvCxnSpPr>
        <p:spPr>
          <a:xfrm rot="16200000" flipH="1">
            <a:off x="8973287" y="2013167"/>
            <a:ext cx="204797" cy="411552"/>
          </a:xfrm>
          <a:prstGeom prst="bentConnector2">
            <a:avLst/>
          </a:prstGeom>
          <a:noFill/>
          <a:ln w="9525">
            <a:solidFill>
              <a:schemeClr val="accent6">
                <a:lumMod val="75000"/>
              </a:schemeClr>
            </a:solidFill>
            <a:round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cxnSp>
      <p:grpSp>
        <p:nvGrpSpPr>
          <p:cNvPr id="1295" name="Group 4">
            <a:extLst>
              <a:ext uri="{FF2B5EF4-FFF2-40B4-BE49-F238E27FC236}">
                <a16:creationId xmlns:a16="http://schemas.microsoft.com/office/drawing/2014/main" id="{DB5E51CE-3CF1-4FFF-8BF0-B5ACC5B3A1C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278341" y="4039486"/>
            <a:ext cx="218310" cy="136800"/>
            <a:chOff x="4931" y="2594"/>
            <a:chExt cx="383" cy="240"/>
          </a:xfrm>
        </p:grpSpPr>
        <p:sp>
          <p:nvSpPr>
            <p:cNvPr id="1296" name="AutoShape 3">
              <a:extLst>
                <a:ext uri="{FF2B5EF4-FFF2-40B4-BE49-F238E27FC236}">
                  <a16:creationId xmlns:a16="http://schemas.microsoft.com/office/drawing/2014/main" id="{C26FD0C8-2FA6-44C3-AC30-A27B7B13324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4931" y="2594"/>
              <a:ext cx="383" cy="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 dirty="0"/>
            </a:p>
          </p:txBody>
        </p:sp>
        <p:sp>
          <p:nvSpPr>
            <p:cNvPr id="1297" name="Rectangle 5">
              <a:extLst>
                <a:ext uri="{FF2B5EF4-FFF2-40B4-BE49-F238E27FC236}">
                  <a16:creationId xmlns:a16="http://schemas.microsoft.com/office/drawing/2014/main" id="{2BF7A5E8-18FF-406B-9F2B-644A663B05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1" y="2594"/>
              <a:ext cx="383" cy="240"/>
            </a:xfrm>
            <a:prstGeom prst="rect">
              <a:avLst/>
            </a:prstGeom>
            <a:solidFill>
              <a:srgbClr val="C633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 dirty="0"/>
            </a:p>
          </p:txBody>
        </p:sp>
        <p:sp>
          <p:nvSpPr>
            <p:cNvPr id="1298" name="Rectangle 6">
              <a:extLst>
                <a:ext uri="{FF2B5EF4-FFF2-40B4-BE49-F238E27FC236}">
                  <a16:creationId xmlns:a16="http://schemas.microsoft.com/office/drawing/2014/main" id="{B2C84C58-0220-4D85-909A-BD3463A57F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1" y="2594"/>
              <a:ext cx="205" cy="120"/>
            </a:xfrm>
            <a:prstGeom prst="rect">
              <a:avLst/>
            </a:prstGeom>
            <a:solidFill>
              <a:srgbClr val="3036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 dirty="0"/>
            </a:p>
          </p:txBody>
        </p:sp>
        <p:sp>
          <p:nvSpPr>
            <p:cNvPr id="1299" name="Freeform 7">
              <a:extLst>
                <a:ext uri="{FF2B5EF4-FFF2-40B4-BE49-F238E27FC236}">
                  <a16:creationId xmlns:a16="http://schemas.microsoft.com/office/drawing/2014/main" id="{53B70129-400B-4710-987F-EEBD16CD7D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82" y="2606"/>
              <a:ext cx="102" cy="96"/>
            </a:xfrm>
            <a:custGeom>
              <a:avLst/>
              <a:gdLst>
                <a:gd name="T0" fmla="*/ 179 w 306"/>
                <a:gd name="T1" fmla="*/ 68 h 289"/>
                <a:gd name="T2" fmla="*/ 204 w 306"/>
                <a:gd name="T3" fmla="*/ 79 h 289"/>
                <a:gd name="T4" fmla="*/ 126 w 306"/>
                <a:gd name="T5" fmla="*/ 68 h 289"/>
                <a:gd name="T6" fmla="*/ 94 w 306"/>
                <a:gd name="T7" fmla="*/ 85 h 289"/>
                <a:gd name="T8" fmla="*/ 117 w 306"/>
                <a:gd name="T9" fmla="*/ 70 h 289"/>
                <a:gd name="T10" fmla="*/ 171 w 306"/>
                <a:gd name="T11" fmla="*/ 65 h 289"/>
                <a:gd name="T12" fmla="*/ 134 w 306"/>
                <a:gd name="T13" fmla="*/ 65 h 289"/>
                <a:gd name="T14" fmla="*/ 152 w 306"/>
                <a:gd name="T15" fmla="*/ 62 h 289"/>
                <a:gd name="T16" fmla="*/ 171 w 306"/>
                <a:gd name="T17" fmla="*/ 65 h 289"/>
                <a:gd name="T18" fmla="*/ 145 w 306"/>
                <a:gd name="T19" fmla="*/ 70 h 289"/>
                <a:gd name="T20" fmla="*/ 121 w 306"/>
                <a:gd name="T21" fmla="*/ 76 h 289"/>
                <a:gd name="T22" fmla="*/ 95 w 306"/>
                <a:gd name="T23" fmla="*/ 92 h 289"/>
                <a:gd name="T24" fmla="*/ 79 w 306"/>
                <a:gd name="T25" fmla="*/ 115 h 289"/>
                <a:gd name="T26" fmla="*/ 73 w 306"/>
                <a:gd name="T27" fmla="*/ 137 h 289"/>
                <a:gd name="T28" fmla="*/ 73 w 306"/>
                <a:gd name="T29" fmla="*/ 153 h 289"/>
                <a:gd name="T30" fmla="*/ 79 w 306"/>
                <a:gd name="T31" fmla="*/ 174 h 289"/>
                <a:gd name="T32" fmla="*/ 95 w 306"/>
                <a:gd name="T33" fmla="*/ 198 h 289"/>
                <a:gd name="T34" fmla="*/ 121 w 306"/>
                <a:gd name="T35" fmla="*/ 214 h 289"/>
                <a:gd name="T36" fmla="*/ 145 w 306"/>
                <a:gd name="T37" fmla="*/ 220 h 289"/>
                <a:gd name="T38" fmla="*/ 161 w 306"/>
                <a:gd name="T39" fmla="*/ 220 h 289"/>
                <a:gd name="T40" fmla="*/ 183 w 306"/>
                <a:gd name="T41" fmla="*/ 214 h 289"/>
                <a:gd name="T42" fmla="*/ 209 w 306"/>
                <a:gd name="T43" fmla="*/ 198 h 289"/>
                <a:gd name="T44" fmla="*/ 227 w 306"/>
                <a:gd name="T45" fmla="*/ 174 h 289"/>
                <a:gd name="T46" fmla="*/ 233 w 306"/>
                <a:gd name="T47" fmla="*/ 153 h 289"/>
                <a:gd name="T48" fmla="*/ 233 w 306"/>
                <a:gd name="T49" fmla="*/ 137 h 289"/>
                <a:gd name="T50" fmla="*/ 227 w 306"/>
                <a:gd name="T51" fmla="*/ 115 h 289"/>
                <a:gd name="T52" fmla="*/ 209 w 306"/>
                <a:gd name="T53" fmla="*/ 92 h 289"/>
                <a:gd name="T54" fmla="*/ 183 w 306"/>
                <a:gd name="T55" fmla="*/ 76 h 289"/>
                <a:gd name="T56" fmla="*/ 161 w 306"/>
                <a:gd name="T57" fmla="*/ 70 h 289"/>
                <a:gd name="T58" fmla="*/ 306 w 306"/>
                <a:gd name="T59" fmla="*/ 144 h 289"/>
                <a:gd name="T60" fmla="*/ 239 w 306"/>
                <a:gd name="T61" fmla="*/ 136 h 289"/>
                <a:gd name="T62" fmla="*/ 239 w 306"/>
                <a:gd name="T63" fmla="*/ 154 h 289"/>
                <a:gd name="T64" fmla="*/ 235 w 306"/>
                <a:gd name="T65" fmla="*/ 120 h 289"/>
                <a:gd name="T66" fmla="*/ 217 w 306"/>
                <a:gd name="T67" fmla="*/ 90 h 289"/>
                <a:gd name="T68" fmla="*/ 235 w 306"/>
                <a:gd name="T69" fmla="*/ 120 h 289"/>
                <a:gd name="T70" fmla="*/ 20 w 306"/>
                <a:gd name="T71" fmla="*/ 217 h 289"/>
                <a:gd name="T72" fmla="*/ 83 w 306"/>
                <a:gd name="T73" fmla="*/ 193 h 289"/>
                <a:gd name="T74" fmla="*/ 70 w 306"/>
                <a:gd name="T75" fmla="*/ 170 h 289"/>
                <a:gd name="T76" fmla="*/ 229 w 306"/>
                <a:gd name="T77" fmla="*/ 270 h 289"/>
                <a:gd name="T78" fmla="*/ 204 w 306"/>
                <a:gd name="T79" fmla="*/ 211 h 289"/>
                <a:gd name="T80" fmla="*/ 179 w 306"/>
                <a:gd name="T81" fmla="*/ 222 h 289"/>
                <a:gd name="T82" fmla="*/ 286 w 306"/>
                <a:gd name="T83" fmla="*/ 217 h 289"/>
                <a:gd name="T84" fmla="*/ 231 w 306"/>
                <a:gd name="T85" fmla="*/ 178 h 289"/>
                <a:gd name="T86" fmla="*/ 217 w 306"/>
                <a:gd name="T87" fmla="*/ 200 h 289"/>
                <a:gd name="T88" fmla="*/ 152 w 306"/>
                <a:gd name="T89" fmla="*/ 289 h 289"/>
                <a:gd name="T90" fmla="*/ 162 w 306"/>
                <a:gd name="T91" fmla="*/ 226 h 289"/>
                <a:gd name="T92" fmla="*/ 143 w 306"/>
                <a:gd name="T93" fmla="*/ 226 h 289"/>
                <a:gd name="T94" fmla="*/ 88 w 306"/>
                <a:gd name="T95" fmla="*/ 90 h 289"/>
                <a:gd name="T96" fmla="*/ 70 w 306"/>
                <a:gd name="T97" fmla="*/ 120 h 289"/>
                <a:gd name="T98" fmla="*/ 83 w 306"/>
                <a:gd name="T99" fmla="*/ 97 h 289"/>
                <a:gd name="T100" fmla="*/ 65 w 306"/>
                <a:gd name="T101" fmla="*/ 144 h 289"/>
                <a:gd name="T102" fmla="*/ 68 w 306"/>
                <a:gd name="T103" fmla="*/ 127 h 289"/>
                <a:gd name="T104" fmla="*/ 68 w 306"/>
                <a:gd name="T105" fmla="*/ 162 h 289"/>
                <a:gd name="T106" fmla="*/ 65 w 306"/>
                <a:gd name="T107" fmla="*/ 144 h 289"/>
                <a:gd name="T108" fmla="*/ 126 w 306"/>
                <a:gd name="T109" fmla="*/ 222 h 289"/>
                <a:gd name="T110" fmla="*/ 101 w 306"/>
                <a:gd name="T111" fmla="*/ 211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6" h="289">
                  <a:moveTo>
                    <a:pt x="229" y="20"/>
                  </a:moveTo>
                  <a:lnTo>
                    <a:pt x="179" y="68"/>
                  </a:lnTo>
                  <a:lnTo>
                    <a:pt x="179" y="68"/>
                  </a:lnTo>
                  <a:lnTo>
                    <a:pt x="188" y="70"/>
                  </a:lnTo>
                  <a:lnTo>
                    <a:pt x="197" y="75"/>
                  </a:lnTo>
                  <a:lnTo>
                    <a:pt x="204" y="79"/>
                  </a:lnTo>
                  <a:lnTo>
                    <a:pt x="212" y="85"/>
                  </a:lnTo>
                  <a:lnTo>
                    <a:pt x="229" y="20"/>
                  </a:lnTo>
                  <a:close/>
                  <a:moveTo>
                    <a:pt x="126" y="68"/>
                  </a:moveTo>
                  <a:lnTo>
                    <a:pt x="77" y="20"/>
                  </a:lnTo>
                  <a:lnTo>
                    <a:pt x="94" y="85"/>
                  </a:lnTo>
                  <a:lnTo>
                    <a:pt x="94" y="85"/>
                  </a:lnTo>
                  <a:lnTo>
                    <a:pt x="101" y="79"/>
                  </a:lnTo>
                  <a:lnTo>
                    <a:pt x="109" y="75"/>
                  </a:lnTo>
                  <a:lnTo>
                    <a:pt x="117" y="70"/>
                  </a:lnTo>
                  <a:lnTo>
                    <a:pt x="126" y="68"/>
                  </a:lnTo>
                  <a:lnTo>
                    <a:pt x="126" y="68"/>
                  </a:lnTo>
                  <a:close/>
                  <a:moveTo>
                    <a:pt x="171" y="65"/>
                  </a:moveTo>
                  <a:lnTo>
                    <a:pt x="152" y="0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43" y="63"/>
                  </a:lnTo>
                  <a:lnTo>
                    <a:pt x="152" y="62"/>
                  </a:lnTo>
                  <a:lnTo>
                    <a:pt x="152" y="62"/>
                  </a:lnTo>
                  <a:lnTo>
                    <a:pt x="162" y="63"/>
                  </a:lnTo>
                  <a:lnTo>
                    <a:pt x="171" y="65"/>
                  </a:lnTo>
                  <a:lnTo>
                    <a:pt x="171" y="65"/>
                  </a:lnTo>
                  <a:close/>
                  <a:moveTo>
                    <a:pt x="152" y="70"/>
                  </a:moveTo>
                  <a:lnTo>
                    <a:pt x="152" y="70"/>
                  </a:lnTo>
                  <a:lnTo>
                    <a:pt x="145" y="70"/>
                  </a:lnTo>
                  <a:lnTo>
                    <a:pt x="136" y="71"/>
                  </a:lnTo>
                  <a:lnTo>
                    <a:pt x="129" y="73"/>
                  </a:lnTo>
                  <a:lnTo>
                    <a:pt x="121" y="76"/>
                  </a:lnTo>
                  <a:lnTo>
                    <a:pt x="114" y="79"/>
                  </a:lnTo>
                  <a:lnTo>
                    <a:pt x="108" y="83"/>
                  </a:lnTo>
                  <a:lnTo>
                    <a:pt x="95" y="92"/>
                  </a:lnTo>
                  <a:lnTo>
                    <a:pt x="86" y="102"/>
                  </a:lnTo>
                  <a:lnTo>
                    <a:pt x="82" y="108"/>
                  </a:lnTo>
                  <a:lnTo>
                    <a:pt x="79" y="115"/>
                  </a:lnTo>
                  <a:lnTo>
                    <a:pt x="77" y="122"/>
                  </a:lnTo>
                  <a:lnTo>
                    <a:pt x="74" y="129"/>
                  </a:lnTo>
                  <a:lnTo>
                    <a:pt x="73" y="137"/>
                  </a:lnTo>
                  <a:lnTo>
                    <a:pt x="73" y="144"/>
                  </a:lnTo>
                  <a:lnTo>
                    <a:pt x="73" y="144"/>
                  </a:lnTo>
                  <a:lnTo>
                    <a:pt x="73" y="153"/>
                  </a:lnTo>
                  <a:lnTo>
                    <a:pt x="74" y="160"/>
                  </a:lnTo>
                  <a:lnTo>
                    <a:pt x="77" y="167"/>
                  </a:lnTo>
                  <a:lnTo>
                    <a:pt x="79" y="174"/>
                  </a:lnTo>
                  <a:lnTo>
                    <a:pt x="82" y="181"/>
                  </a:lnTo>
                  <a:lnTo>
                    <a:pt x="86" y="188"/>
                  </a:lnTo>
                  <a:lnTo>
                    <a:pt x="95" y="198"/>
                  </a:lnTo>
                  <a:lnTo>
                    <a:pt x="108" y="207"/>
                  </a:lnTo>
                  <a:lnTo>
                    <a:pt x="114" y="212"/>
                  </a:lnTo>
                  <a:lnTo>
                    <a:pt x="121" y="214"/>
                  </a:lnTo>
                  <a:lnTo>
                    <a:pt x="129" y="217"/>
                  </a:lnTo>
                  <a:lnTo>
                    <a:pt x="136" y="219"/>
                  </a:lnTo>
                  <a:lnTo>
                    <a:pt x="145" y="220"/>
                  </a:lnTo>
                  <a:lnTo>
                    <a:pt x="152" y="220"/>
                  </a:lnTo>
                  <a:lnTo>
                    <a:pt x="152" y="220"/>
                  </a:lnTo>
                  <a:lnTo>
                    <a:pt x="161" y="220"/>
                  </a:lnTo>
                  <a:lnTo>
                    <a:pt x="168" y="219"/>
                  </a:lnTo>
                  <a:lnTo>
                    <a:pt x="176" y="217"/>
                  </a:lnTo>
                  <a:lnTo>
                    <a:pt x="183" y="214"/>
                  </a:lnTo>
                  <a:lnTo>
                    <a:pt x="191" y="212"/>
                  </a:lnTo>
                  <a:lnTo>
                    <a:pt x="197" y="207"/>
                  </a:lnTo>
                  <a:lnTo>
                    <a:pt x="209" y="198"/>
                  </a:lnTo>
                  <a:lnTo>
                    <a:pt x="219" y="188"/>
                  </a:lnTo>
                  <a:lnTo>
                    <a:pt x="223" y="181"/>
                  </a:lnTo>
                  <a:lnTo>
                    <a:pt x="227" y="174"/>
                  </a:lnTo>
                  <a:lnTo>
                    <a:pt x="229" y="167"/>
                  </a:lnTo>
                  <a:lnTo>
                    <a:pt x="231" y="160"/>
                  </a:lnTo>
                  <a:lnTo>
                    <a:pt x="233" y="153"/>
                  </a:lnTo>
                  <a:lnTo>
                    <a:pt x="233" y="144"/>
                  </a:lnTo>
                  <a:lnTo>
                    <a:pt x="233" y="144"/>
                  </a:lnTo>
                  <a:lnTo>
                    <a:pt x="233" y="137"/>
                  </a:lnTo>
                  <a:lnTo>
                    <a:pt x="231" y="129"/>
                  </a:lnTo>
                  <a:lnTo>
                    <a:pt x="229" y="122"/>
                  </a:lnTo>
                  <a:lnTo>
                    <a:pt x="227" y="115"/>
                  </a:lnTo>
                  <a:lnTo>
                    <a:pt x="223" y="108"/>
                  </a:lnTo>
                  <a:lnTo>
                    <a:pt x="219" y="102"/>
                  </a:lnTo>
                  <a:lnTo>
                    <a:pt x="209" y="92"/>
                  </a:lnTo>
                  <a:lnTo>
                    <a:pt x="197" y="83"/>
                  </a:lnTo>
                  <a:lnTo>
                    <a:pt x="191" y="79"/>
                  </a:lnTo>
                  <a:lnTo>
                    <a:pt x="183" y="76"/>
                  </a:lnTo>
                  <a:lnTo>
                    <a:pt x="176" y="73"/>
                  </a:lnTo>
                  <a:lnTo>
                    <a:pt x="168" y="71"/>
                  </a:lnTo>
                  <a:lnTo>
                    <a:pt x="161" y="70"/>
                  </a:lnTo>
                  <a:lnTo>
                    <a:pt x="152" y="70"/>
                  </a:lnTo>
                  <a:lnTo>
                    <a:pt x="152" y="70"/>
                  </a:lnTo>
                  <a:close/>
                  <a:moveTo>
                    <a:pt x="306" y="144"/>
                  </a:moveTo>
                  <a:lnTo>
                    <a:pt x="238" y="127"/>
                  </a:lnTo>
                  <a:lnTo>
                    <a:pt x="238" y="127"/>
                  </a:lnTo>
                  <a:lnTo>
                    <a:pt x="239" y="136"/>
                  </a:lnTo>
                  <a:lnTo>
                    <a:pt x="240" y="144"/>
                  </a:lnTo>
                  <a:lnTo>
                    <a:pt x="240" y="144"/>
                  </a:lnTo>
                  <a:lnTo>
                    <a:pt x="239" y="154"/>
                  </a:lnTo>
                  <a:lnTo>
                    <a:pt x="238" y="162"/>
                  </a:lnTo>
                  <a:lnTo>
                    <a:pt x="306" y="144"/>
                  </a:lnTo>
                  <a:close/>
                  <a:moveTo>
                    <a:pt x="235" y="120"/>
                  </a:moveTo>
                  <a:lnTo>
                    <a:pt x="286" y="72"/>
                  </a:lnTo>
                  <a:lnTo>
                    <a:pt x="217" y="90"/>
                  </a:lnTo>
                  <a:lnTo>
                    <a:pt x="217" y="90"/>
                  </a:lnTo>
                  <a:lnTo>
                    <a:pt x="228" y="105"/>
                  </a:lnTo>
                  <a:lnTo>
                    <a:pt x="231" y="112"/>
                  </a:lnTo>
                  <a:lnTo>
                    <a:pt x="235" y="120"/>
                  </a:lnTo>
                  <a:lnTo>
                    <a:pt x="235" y="120"/>
                  </a:lnTo>
                  <a:close/>
                  <a:moveTo>
                    <a:pt x="70" y="170"/>
                  </a:moveTo>
                  <a:lnTo>
                    <a:pt x="20" y="217"/>
                  </a:lnTo>
                  <a:lnTo>
                    <a:pt x="88" y="200"/>
                  </a:lnTo>
                  <a:lnTo>
                    <a:pt x="88" y="200"/>
                  </a:lnTo>
                  <a:lnTo>
                    <a:pt x="83" y="193"/>
                  </a:lnTo>
                  <a:lnTo>
                    <a:pt x="78" y="186"/>
                  </a:lnTo>
                  <a:lnTo>
                    <a:pt x="73" y="178"/>
                  </a:lnTo>
                  <a:lnTo>
                    <a:pt x="70" y="170"/>
                  </a:lnTo>
                  <a:lnTo>
                    <a:pt x="70" y="170"/>
                  </a:lnTo>
                  <a:close/>
                  <a:moveTo>
                    <a:pt x="179" y="222"/>
                  </a:moveTo>
                  <a:lnTo>
                    <a:pt x="229" y="270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04" y="211"/>
                  </a:lnTo>
                  <a:lnTo>
                    <a:pt x="197" y="215"/>
                  </a:lnTo>
                  <a:lnTo>
                    <a:pt x="188" y="220"/>
                  </a:lnTo>
                  <a:lnTo>
                    <a:pt x="179" y="222"/>
                  </a:lnTo>
                  <a:lnTo>
                    <a:pt x="179" y="222"/>
                  </a:lnTo>
                  <a:close/>
                  <a:moveTo>
                    <a:pt x="217" y="200"/>
                  </a:moveTo>
                  <a:lnTo>
                    <a:pt x="286" y="217"/>
                  </a:lnTo>
                  <a:lnTo>
                    <a:pt x="235" y="170"/>
                  </a:lnTo>
                  <a:lnTo>
                    <a:pt x="235" y="170"/>
                  </a:lnTo>
                  <a:lnTo>
                    <a:pt x="231" y="178"/>
                  </a:lnTo>
                  <a:lnTo>
                    <a:pt x="228" y="186"/>
                  </a:lnTo>
                  <a:lnTo>
                    <a:pt x="223" y="193"/>
                  </a:lnTo>
                  <a:lnTo>
                    <a:pt x="217" y="200"/>
                  </a:lnTo>
                  <a:lnTo>
                    <a:pt x="217" y="200"/>
                  </a:lnTo>
                  <a:close/>
                  <a:moveTo>
                    <a:pt x="134" y="225"/>
                  </a:moveTo>
                  <a:lnTo>
                    <a:pt x="152" y="289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62" y="226"/>
                  </a:lnTo>
                  <a:lnTo>
                    <a:pt x="152" y="227"/>
                  </a:lnTo>
                  <a:lnTo>
                    <a:pt x="152" y="227"/>
                  </a:lnTo>
                  <a:lnTo>
                    <a:pt x="143" y="226"/>
                  </a:lnTo>
                  <a:lnTo>
                    <a:pt x="134" y="225"/>
                  </a:lnTo>
                  <a:lnTo>
                    <a:pt x="134" y="225"/>
                  </a:lnTo>
                  <a:close/>
                  <a:moveTo>
                    <a:pt x="88" y="90"/>
                  </a:moveTo>
                  <a:lnTo>
                    <a:pt x="20" y="72"/>
                  </a:lnTo>
                  <a:lnTo>
                    <a:pt x="70" y="120"/>
                  </a:lnTo>
                  <a:lnTo>
                    <a:pt x="70" y="120"/>
                  </a:lnTo>
                  <a:lnTo>
                    <a:pt x="73" y="112"/>
                  </a:lnTo>
                  <a:lnTo>
                    <a:pt x="78" y="105"/>
                  </a:lnTo>
                  <a:lnTo>
                    <a:pt x="83" y="97"/>
                  </a:lnTo>
                  <a:lnTo>
                    <a:pt x="88" y="90"/>
                  </a:lnTo>
                  <a:lnTo>
                    <a:pt x="88" y="90"/>
                  </a:lnTo>
                  <a:close/>
                  <a:moveTo>
                    <a:pt x="65" y="144"/>
                  </a:moveTo>
                  <a:lnTo>
                    <a:pt x="65" y="144"/>
                  </a:lnTo>
                  <a:lnTo>
                    <a:pt x="65" y="136"/>
                  </a:lnTo>
                  <a:lnTo>
                    <a:pt x="68" y="127"/>
                  </a:lnTo>
                  <a:lnTo>
                    <a:pt x="0" y="144"/>
                  </a:lnTo>
                  <a:lnTo>
                    <a:pt x="68" y="162"/>
                  </a:lnTo>
                  <a:lnTo>
                    <a:pt x="68" y="162"/>
                  </a:lnTo>
                  <a:lnTo>
                    <a:pt x="65" y="154"/>
                  </a:lnTo>
                  <a:lnTo>
                    <a:pt x="65" y="144"/>
                  </a:lnTo>
                  <a:lnTo>
                    <a:pt x="65" y="144"/>
                  </a:lnTo>
                  <a:close/>
                  <a:moveTo>
                    <a:pt x="77" y="270"/>
                  </a:moveTo>
                  <a:lnTo>
                    <a:pt x="126" y="222"/>
                  </a:lnTo>
                  <a:lnTo>
                    <a:pt x="126" y="222"/>
                  </a:lnTo>
                  <a:lnTo>
                    <a:pt x="117" y="220"/>
                  </a:lnTo>
                  <a:lnTo>
                    <a:pt x="109" y="215"/>
                  </a:lnTo>
                  <a:lnTo>
                    <a:pt x="101" y="211"/>
                  </a:lnTo>
                  <a:lnTo>
                    <a:pt x="94" y="206"/>
                  </a:lnTo>
                  <a:lnTo>
                    <a:pt x="77" y="2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a-DK" dirty="0"/>
            </a:p>
          </p:txBody>
        </p:sp>
      </p:grpSp>
      <p:grpSp>
        <p:nvGrpSpPr>
          <p:cNvPr id="1300" name="Group 1299">
            <a:extLst>
              <a:ext uri="{FF2B5EF4-FFF2-40B4-BE49-F238E27FC236}">
                <a16:creationId xmlns:a16="http://schemas.microsoft.com/office/drawing/2014/main" id="{AC29E40A-D95F-42F4-B60E-C43161A57AC4}"/>
              </a:ext>
            </a:extLst>
          </p:cNvPr>
          <p:cNvGrpSpPr>
            <a:grpSpLocks noChangeAspect="1"/>
          </p:cNvGrpSpPr>
          <p:nvPr/>
        </p:nvGrpSpPr>
        <p:grpSpPr>
          <a:xfrm>
            <a:off x="9278202" y="1423547"/>
            <a:ext cx="218449" cy="136800"/>
            <a:chOff x="3024970" y="1795058"/>
            <a:chExt cx="608400" cy="381001"/>
          </a:xfrm>
        </p:grpSpPr>
        <p:grpSp>
          <p:nvGrpSpPr>
            <p:cNvPr id="1301" name="Group 1300">
              <a:extLst>
                <a:ext uri="{FF2B5EF4-FFF2-40B4-BE49-F238E27FC236}">
                  <a16:creationId xmlns:a16="http://schemas.microsoft.com/office/drawing/2014/main" id="{2D8861C0-085A-422C-AC2B-20C5EAEE63C4}"/>
                </a:ext>
              </a:extLst>
            </p:cNvPr>
            <p:cNvGrpSpPr/>
            <p:nvPr>
              <p:custDataLst>
                <p:tags r:id="rId11"/>
              </p:custDataLst>
            </p:nvPr>
          </p:nvGrpSpPr>
          <p:grpSpPr>
            <a:xfrm>
              <a:off x="3026735" y="1795059"/>
              <a:ext cx="606635" cy="381000"/>
              <a:chOff x="1165860" y="3751398"/>
              <a:chExt cx="609600" cy="381000"/>
            </a:xfrm>
            <a:effectLst/>
          </p:grpSpPr>
          <p:sp>
            <p:nvSpPr>
              <p:cNvPr id="1303" name="Rectangle 1302">
                <a:extLst>
                  <a:ext uri="{FF2B5EF4-FFF2-40B4-BE49-F238E27FC236}">
                    <a16:creationId xmlns:a16="http://schemas.microsoft.com/office/drawing/2014/main" id="{D47299AC-6828-40F1-A129-81FB870E829E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 bwMode="auto">
              <a:xfrm>
                <a:off x="1165860" y="3751398"/>
                <a:ext cx="609600" cy="381000"/>
              </a:xfrm>
              <a:prstGeom prst="rect">
                <a:avLst/>
              </a:prstGeom>
              <a:solidFill>
                <a:schemeClr val="bg1"/>
              </a:solidFill>
              <a:ln w="31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sz="800" dirty="0">
                  <a:latin typeface="+mj-lt"/>
                </a:endParaRPr>
              </a:p>
            </p:txBody>
          </p:sp>
          <p:sp>
            <p:nvSpPr>
              <p:cNvPr id="1304" name="Rectangle 1303">
                <a:extLst>
                  <a:ext uri="{FF2B5EF4-FFF2-40B4-BE49-F238E27FC236}">
                    <a16:creationId xmlns:a16="http://schemas.microsoft.com/office/drawing/2014/main" id="{B9C8C9C5-1C0E-4FED-9927-BAE0D62EE004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 bwMode="auto">
              <a:xfrm rot="16200000">
                <a:off x="1457460" y="3459798"/>
                <a:ext cx="25200" cy="608400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solidFill>
                  <a:srgbClr val="DE000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sz="800" dirty="0">
                  <a:latin typeface="+mj-lt"/>
                </a:endParaRPr>
              </a:p>
            </p:txBody>
          </p:sp>
          <p:sp>
            <p:nvSpPr>
              <p:cNvPr id="1305" name="Rectangle 1304">
                <a:extLst>
                  <a:ext uri="{FF2B5EF4-FFF2-40B4-BE49-F238E27FC236}">
                    <a16:creationId xmlns:a16="http://schemas.microsoft.com/office/drawing/2014/main" id="{005A40F0-6D3A-4A9F-90D9-8F0F8A4E668B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 bwMode="auto">
              <a:xfrm rot="16200000">
                <a:off x="1457460" y="3519098"/>
                <a:ext cx="25200" cy="608400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solidFill>
                  <a:srgbClr val="DE000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sz="800" dirty="0">
                  <a:latin typeface="+mj-lt"/>
                </a:endParaRPr>
              </a:p>
            </p:txBody>
          </p:sp>
          <p:sp>
            <p:nvSpPr>
              <p:cNvPr id="1306" name="Rectangle 1305">
                <a:extLst>
                  <a:ext uri="{FF2B5EF4-FFF2-40B4-BE49-F238E27FC236}">
                    <a16:creationId xmlns:a16="http://schemas.microsoft.com/office/drawing/2014/main" id="{A3F7888C-E858-4D55-9E98-543FBFB174C5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 bwMode="auto">
              <a:xfrm rot="16200000">
                <a:off x="1457460" y="3578398"/>
                <a:ext cx="25200" cy="608400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solidFill>
                  <a:srgbClr val="DE000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sz="800" dirty="0">
                  <a:latin typeface="+mj-lt"/>
                </a:endParaRPr>
              </a:p>
            </p:txBody>
          </p:sp>
          <p:sp>
            <p:nvSpPr>
              <p:cNvPr id="1307" name="Rectangle 1306">
                <a:extLst>
                  <a:ext uri="{FF2B5EF4-FFF2-40B4-BE49-F238E27FC236}">
                    <a16:creationId xmlns:a16="http://schemas.microsoft.com/office/drawing/2014/main" id="{DFC2ACB8-85AF-4374-A28B-124367FAC4A6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 bwMode="auto">
              <a:xfrm rot="16200000">
                <a:off x="1457460" y="3637698"/>
                <a:ext cx="25200" cy="608400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solidFill>
                  <a:srgbClr val="DE000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sz="800" dirty="0">
                  <a:latin typeface="+mj-lt"/>
                </a:endParaRPr>
              </a:p>
            </p:txBody>
          </p:sp>
          <p:sp>
            <p:nvSpPr>
              <p:cNvPr id="1308" name="Rectangle 1307">
                <a:extLst>
                  <a:ext uri="{FF2B5EF4-FFF2-40B4-BE49-F238E27FC236}">
                    <a16:creationId xmlns:a16="http://schemas.microsoft.com/office/drawing/2014/main" id="{9D7BFF59-6E8C-4E4C-9018-66CA47158015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 bwMode="auto">
              <a:xfrm rot="16200000">
                <a:off x="1457460" y="3696998"/>
                <a:ext cx="25200" cy="608400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solidFill>
                  <a:srgbClr val="DE000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sz="800" dirty="0">
                  <a:latin typeface="+mj-lt"/>
                </a:endParaRPr>
              </a:p>
            </p:txBody>
          </p:sp>
          <p:sp>
            <p:nvSpPr>
              <p:cNvPr id="1309" name="Rectangle 1308">
                <a:extLst>
                  <a:ext uri="{FF2B5EF4-FFF2-40B4-BE49-F238E27FC236}">
                    <a16:creationId xmlns:a16="http://schemas.microsoft.com/office/drawing/2014/main" id="{138B7D28-8909-4F42-9CA0-E1D1C5575AC5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 bwMode="auto">
              <a:xfrm rot="16200000">
                <a:off x="1457460" y="3756298"/>
                <a:ext cx="25200" cy="608400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solidFill>
                  <a:srgbClr val="DE000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sz="800" dirty="0">
                  <a:latin typeface="+mj-lt"/>
                </a:endParaRPr>
              </a:p>
            </p:txBody>
          </p:sp>
          <p:sp>
            <p:nvSpPr>
              <p:cNvPr id="1310" name="Rectangle 1309">
                <a:extLst>
                  <a:ext uri="{FF2B5EF4-FFF2-40B4-BE49-F238E27FC236}">
                    <a16:creationId xmlns:a16="http://schemas.microsoft.com/office/drawing/2014/main" id="{F77DA079-5F7F-4FE2-B9F2-2D3C4AAB9889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 bwMode="auto">
              <a:xfrm rot="16200000">
                <a:off x="1457460" y="3815597"/>
                <a:ext cx="25200" cy="608400"/>
              </a:xfrm>
              <a:prstGeom prst="rect">
                <a:avLst/>
              </a:prstGeom>
              <a:solidFill>
                <a:srgbClr val="DE0008"/>
              </a:solidFill>
              <a:ln w="3175" cap="flat" cmpd="sng" algn="ctr">
                <a:solidFill>
                  <a:srgbClr val="DE000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a-DK" sz="800" dirty="0">
                  <a:latin typeface="+mj-lt"/>
                </a:endParaRPr>
              </a:p>
            </p:txBody>
          </p:sp>
          <p:grpSp>
            <p:nvGrpSpPr>
              <p:cNvPr id="1311" name="Group 1310">
                <a:extLst>
                  <a:ext uri="{FF2B5EF4-FFF2-40B4-BE49-F238E27FC236}">
                    <a16:creationId xmlns:a16="http://schemas.microsoft.com/office/drawing/2014/main" id="{5D08CA0C-CBEE-49C7-8436-2EB300D7F816}"/>
                  </a:ext>
                </a:extLst>
              </p:cNvPr>
              <p:cNvGrpSpPr/>
              <p:nvPr/>
            </p:nvGrpSpPr>
            <p:grpSpPr>
              <a:xfrm>
                <a:off x="1165860" y="3751398"/>
                <a:ext cx="242888" cy="203859"/>
                <a:chOff x="1287767" y="3751398"/>
                <a:chExt cx="242888" cy="203859"/>
              </a:xfrm>
            </p:grpSpPr>
            <p:sp>
              <p:nvSpPr>
                <p:cNvPr id="1312" name="Rectangle 1311">
                  <a:extLst>
                    <a:ext uri="{FF2B5EF4-FFF2-40B4-BE49-F238E27FC236}">
                      <a16:creationId xmlns:a16="http://schemas.microsoft.com/office/drawing/2014/main" id="{17AB12FF-422A-4FF1-AFE1-D6E55764F4C2}"/>
                    </a:ext>
                  </a:extLst>
                </p:cNvPr>
                <p:cNvSpPr/>
                <p:nvPr>
                  <p:custDataLst>
                    <p:tags r:id="rId20"/>
                  </p:custDataLst>
                </p:nvPr>
              </p:nvSpPr>
              <p:spPr bwMode="auto">
                <a:xfrm>
                  <a:off x="1287767" y="3751398"/>
                  <a:ext cx="242888" cy="203859"/>
                </a:xfrm>
                <a:prstGeom prst="rect">
                  <a:avLst/>
                </a:prstGeom>
                <a:solidFill>
                  <a:srgbClr val="000873"/>
                </a:solidFill>
                <a:ln w="317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da-DK" sz="800" dirty="0">
                    <a:latin typeface="+mj-lt"/>
                  </a:endParaRPr>
                </a:p>
              </p:txBody>
            </p:sp>
            <p:grpSp>
              <p:nvGrpSpPr>
                <p:cNvPr id="1313" name="Group 1312">
                  <a:extLst>
                    <a:ext uri="{FF2B5EF4-FFF2-40B4-BE49-F238E27FC236}">
                      <a16:creationId xmlns:a16="http://schemas.microsoft.com/office/drawing/2014/main" id="{8E96513D-C4CF-444D-B822-45EB7407D1E3}"/>
                    </a:ext>
                  </a:extLst>
                </p:cNvPr>
                <p:cNvGrpSpPr/>
                <p:nvPr/>
              </p:nvGrpSpPr>
              <p:grpSpPr>
                <a:xfrm>
                  <a:off x="1294792" y="3761564"/>
                  <a:ext cx="228839" cy="183526"/>
                  <a:chOff x="1176336" y="3761564"/>
                  <a:chExt cx="228839" cy="183526"/>
                </a:xfrm>
              </p:grpSpPr>
              <p:grpSp>
                <p:nvGrpSpPr>
                  <p:cNvPr id="1314" name="Group 1313">
                    <a:extLst>
                      <a:ext uri="{FF2B5EF4-FFF2-40B4-BE49-F238E27FC236}">
                        <a16:creationId xmlns:a16="http://schemas.microsoft.com/office/drawing/2014/main" id="{7CA7DAAE-E5B0-45F8-822F-F9A9CDEBBA13}"/>
                      </a:ext>
                    </a:extLst>
                  </p:cNvPr>
                  <p:cNvGrpSpPr/>
                  <p:nvPr/>
                </p:nvGrpSpPr>
                <p:grpSpPr>
                  <a:xfrm>
                    <a:off x="1362852" y="3781805"/>
                    <a:ext cx="21600" cy="143046"/>
                    <a:chOff x="1362144" y="3781805"/>
                    <a:chExt cx="21600" cy="143046"/>
                  </a:xfrm>
                </p:grpSpPr>
                <p:sp>
                  <p:nvSpPr>
                    <p:cNvPr id="1371" name="5-Point Star 879">
                      <a:extLst>
                        <a:ext uri="{FF2B5EF4-FFF2-40B4-BE49-F238E27FC236}">
                          <a16:creationId xmlns:a16="http://schemas.microsoft.com/office/drawing/2014/main" id="{B51CE488-6769-4155-A539-C1AF478AB36A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62144" y="3781805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72" name="5-Point Star 880">
                      <a:extLst>
                        <a:ext uri="{FF2B5EF4-FFF2-40B4-BE49-F238E27FC236}">
                          <a16:creationId xmlns:a16="http://schemas.microsoft.com/office/drawing/2014/main" id="{476E6B14-BC4B-4401-82A3-AD357ECE4570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62144" y="3822287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73" name="5-Point Star 881">
                      <a:extLst>
                        <a:ext uri="{FF2B5EF4-FFF2-40B4-BE49-F238E27FC236}">
                          <a16:creationId xmlns:a16="http://schemas.microsoft.com/office/drawing/2014/main" id="{E70B8505-1967-49FE-9087-A194937064B3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62144" y="3862769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74" name="5-Point Star 882">
                      <a:extLst>
                        <a:ext uri="{FF2B5EF4-FFF2-40B4-BE49-F238E27FC236}">
                          <a16:creationId xmlns:a16="http://schemas.microsoft.com/office/drawing/2014/main" id="{7009F107-39D7-492B-9333-FFC01AF6A4BD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62144" y="3903251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</p:grpSp>
              <p:grpSp>
                <p:nvGrpSpPr>
                  <p:cNvPr id="1315" name="Group 1314">
                    <a:extLst>
                      <a:ext uri="{FF2B5EF4-FFF2-40B4-BE49-F238E27FC236}">
                        <a16:creationId xmlns:a16="http://schemas.microsoft.com/office/drawing/2014/main" id="{0F5D08C6-54F9-4204-91CB-121633E6E56A}"/>
                      </a:ext>
                    </a:extLst>
                  </p:cNvPr>
                  <p:cNvGrpSpPr/>
                  <p:nvPr/>
                </p:nvGrpSpPr>
                <p:grpSpPr>
                  <a:xfrm>
                    <a:off x="1321404" y="3781805"/>
                    <a:ext cx="21600" cy="143046"/>
                    <a:chOff x="1320697" y="3781805"/>
                    <a:chExt cx="21600" cy="143046"/>
                  </a:xfrm>
                </p:grpSpPr>
                <p:sp>
                  <p:nvSpPr>
                    <p:cNvPr id="1367" name="5-Point Star 875">
                      <a:extLst>
                        <a:ext uri="{FF2B5EF4-FFF2-40B4-BE49-F238E27FC236}">
                          <a16:creationId xmlns:a16="http://schemas.microsoft.com/office/drawing/2014/main" id="{C2CBF518-E3BE-4EBF-B925-E95A6A82770F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20697" y="3781805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68" name="5-Point Star 876">
                      <a:extLst>
                        <a:ext uri="{FF2B5EF4-FFF2-40B4-BE49-F238E27FC236}">
                          <a16:creationId xmlns:a16="http://schemas.microsoft.com/office/drawing/2014/main" id="{65AB98AA-2075-4CF7-9B5B-558561523133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20697" y="3822287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69" name="5-Point Star 877">
                      <a:extLst>
                        <a:ext uri="{FF2B5EF4-FFF2-40B4-BE49-F238E27FC236}">
                          <a16:creationId xmlns:a16="http://schemas.microsoft.com/office/drawing/2014/main" id="{CFFAC2B6-7FF4-4335-8D8B-99F94529F69D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20697" y="3862769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70" name="5-Point Star 878">
                      <a:extLst>
                        <a:ext uri="{FF2B5EF4-FFF2-40B4-BE49-F238E27FC236}">
                          <a16:creationId xmlns:a16="http://schemas.microsoft.com/office/drawing/2014/main" id="{3FE19B62-9A3C-4BE8-90E6-ACE6CF72C459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20697" y="3903251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</p:grpSp>
              <p:grpSp>
                <p:nvGrpSpPr>
                  <p:cNvPr id="1316" name="Group 1315">
                    <a:extLst>
                      <a:ext uri="{FF2B5EF4-FFF2-40B4-BE49-F238E27FC236}">
                        <a16:creationId xmlns:a16="http://schemas.microsoft.com/office/drawing/2014/main" id="{DD0CBEC3-9171-462F-94AE-50E960AB94C9}"/>
                      </a:ext>
                    </a:extLst>
                  </p:cNvPr>
                  <p:cNvGrpSpPr/>
                  <p:nvPr/>
                </p:nvGrpSpPr>
                <p:grpSpPr>
                  <a:xfrm>
                    <a:off x="1279956" y="3781805"/>
                    <a:ext cx="21600" cy="143046"/>
                    <a:chOff x="1279249" y="3781805"/>
                    <a:chExt cx="21600" cy="143046"/>
                  </a:xfrm>
                </p:grpSpPr>
                <p:sp>
                  <p:nvSpPr>
                    <p:cNvPr id="1363" name="5-Point Star 871">
                      <a:extLst>
                        <a:ext uri="{FF2B5EF4-FFF2-40B4-BE49-F238E27FC236}">
                          <a16:creationId xmlns:a16="http://schemas.microsoft.com/office/drawing/2014/main" id="{C89660DD-DF79-44DE-8FC6-6DD7130CC9D8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79249" y="3781805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64" name="5-Point Star 872">
                      <a:extLst>
                        <a:ext uri="{FF2B5EF4-FFF2-40B4-BE49-F238E27FC236}">
                          <a16:creationId xmlns:a16="http://schemas.microsoft.com/office/drawing/2014/main" id="{72CF0E4B-26DF-4085-8BDE-5DE0F11AFBE3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79249" y="3822287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65" name="5-Point Star 873">
                      <a:extLst>
                        <a:ext uri="{FF2B5EF4-FFF2-40B4-BE49-F238E27FC236}">
                          <a16:creationId xmlns:a16="http://schemas.microsoft.com/office/drawing/2014/main" id="{4474CBFB-3C41-43A7-8B02-A9FF099A7B88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79249" y="3862769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66" name="5-Point Star 874">
                      <a:extLst>
                        <a:ext uri="{FF2B5EF4-FFF2-40B4-BE49-F238E27FC236}">
                          <a16:creationId xmlns:a16="http://schemas.microsoft.com/office/drawing/2014/main" id="{349B5C9D-C92B-410A-9B3E-3E275B9C8A13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79249" y="3903251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</p:grpSp>
              <p:grpSp>
                <p:nvGrpSpPr>
                  <p:cNvPr id="1317" name="Group 1316">
                    <a:extLst>
                      <a:ext uri="{FF2B5EF4-FFF2-40B4-BE49-F238E27FC236}">
                        <a16:creationId xmlns:a16="http://schemas.microsoft.com/office/drawing/2014/main" id="{6828A6B3-285E-4BF6-90AF-3C7F54EFE6CA}"/>
                      </a:ext>
                    </a:extLst>
                  </p:cNvPr>
                  <p:cNvGrpSpPr/>
                  <p:nvPr/>
                </p:nvGrpSpPr>
                <p:grpSpPr>
                  <a:xfrm>
                    <a:off x="1238508" y="3781805"/>
                    <a:ext cx="21600" cy="143046"/>
                    <a:chOff x="1237801" y="3781805"/>
                    <a:chExt cx="21600" cy="143046"/>
                  </a:xfrm>
                </p:grpSpPr>
                <p:sp>
                  <p:nvSpPr>
                    <p:cNvPr id="1359" name="5-Point Star 867">
                      <a:extLst>
                        <a:ext uri="{FF2B5EF4-FFF2-40B4-BE49-F238E27FC236}">
                          <a16:creationId xmlns:a16="http://schemas.microsoft.com/office/drawing/2014/main" id="{9EC91104-E384-4445-9558-CE6487D9BFAA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37801" y="3781805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60" name="5-Point Star 868">
                      <a:extLst>
                        <a:ext uri="{FF2B5EF4-FFF2-40B4-BE49-F238E27FC236}">
                          <a16:creationId xmlns:a16="http://schemas.microsoft.com/office/drawing/2014/main" id="{34816A55-961A-4FF6-B26D-D697CC2F47B5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37801" y="3822287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61" name="5-Point Star 869">
                      <a:extLst>
                        <a:ext uri="{FF2B5EF4-FFF2-40B4-BE49-F238E27FC236}">
                          <a16:creationId xmlns:a16="http://schemas.microsoft.com/office/drawing/2014/main" id="{37A56BA9-7CFB-4685-ADB7-622984805A8C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37801" y="3862769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62" name="5-Point Star 870">
                      <a:extLst>
                        <a:ext uri="{FF2B5EF4-FFF2-40B4-BE49-F238E27FC236}">
                          <a16:creationId xmlns:a16="http://schemas.microsoft.com/office/drawing/2014/main" id="{851F6B7E-C747-43E9-8578-BEFD897B9D52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37801" y="3903251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</p:grpSp>
              <p:grpSp>
                <p:nvGrpSpPr>
                  <p:cNvPr id="1318" name="Group 1317">
                    <a:extLst>
                      <a:ext uri="{FF2B5EF4-FFF2-40B4-BE49-F238E27FC236}">
                        <a16:creationId xmlns:a16="http://schemas.microsoft.com/office/drawing/2014/main" id="{B922762C-3570-4ACD-AD29-BF18A6C0BB50}"/>
                      </a:ext>
                    </a:extLst>
                  </p:cNvPr>
                  <p:cNvGrpSpPr/>
                  <p:nvPr/>
                </p:nvGrpSpPr>
                <p:grpSpPr>
                  <a:xfrm>
                    <a:off x="1197060" y="3781805"/>
                    <a:ext cx="21600" cy="143046"/>
                    <a:chOff x="1196353" y="3781805"/>
                    <a:chExt cx="21600" cy="143046"/>
                  </a:xfrm>
                </p:grpSpPr>
                <p:sp>
                  <p:nvSpPr>
                    <p:cNvPr id="1355" name="5-Point Star 863">
                      <a:extLst>
                        <a:ext uri="{FF2B5EF4-FFF2-40B4-BE49-F238E27FC236}">
                          <a16:creationId xmlns:a16="http://schemas.microsoft.com/office/drawing/2014/main" id="{A294D077-BCF6-47A3-B138-340992022E10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96353" y="3781805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56" name="5-Point Star 864">
                      <a:extLst>
                        <a:ext uri="{FF2B5EF4-FFF2-40B4-BE49-F238E27FC236}">
                          <a16:creationId xmlns:a16="http://schemas.microsoft.com/office/drawing/2014/main" id="{6E8A6E00-A65C-40D2-B7B9-A34328285F62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96353" y="3822287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57" name="5-Point Star 865">
                      <a:extLst>
                        <a:ext uri="{FF2B5EF4-FFF2-40B4-BE49-F238E27FC236}">
                          <a16:creationId xmlns:a16="http://schemas.microsoft.com/office/drawing/2014/main" id="{959E4D75-6D5E-482A-AA4C-D26F5620182B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96353" y="3862769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58" name="5-Point Star 866">
                      <a:extLst>
                        <a:ext uri="{FF2B5EF4-FFF2-40B4-BE49-F238E27FC236}">
                          <a16:creationId xmlns:a16="http://schemas.microsoft.com/office/drawing/2014/main" id="{7C482467-196D-4BC9-B45E-DE9359791DEB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96353" y="3903251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</p:grpSp>
              <p:grpSp>
                <p:nvGrpSpPr>
                  <p:cNvPr id="1319" name="Group 1318">
                    <a:extLst>
                      <a:ext uri="{FF2B5EF4-FFF2-40B4-BE49-F238E27FC236}">
                        <a16:creationId xmlns:a16="http://schemas.microsoft.com/office/drawing/2014/main" id="{C7746CB9-A6D1-4C4D-B0B2-83B77DF9083F}"/>
                      </a:ext>
                    </a:extLst>
                  </p:cNvPr>
                  <p:cNvGrpSpPr/>
                  <p:nvPr/>
                </p:nvGrpSpPr>
                <p:grpSpPr>
                  <a:xfrm>
                    <a:off x="1176336" y="3761564"/>
                    <a:ext cx="21600" cy="183526"/>
                    <a:chOff x="1176336" y="3761564"/>
                    <a:chExt cx="21600" cy="183526"/>
                  </a:xfrm>
                </p:grpSpPr>
                <p:sp>
                  <p:nvSpPr>
                    <p:cNvPr id="1350" name="5-Point Star 858">
                      <a:extLst>
                        <a:ext uri="{FF2B5EF4-FFF2-40B4-BE49-F238E27FC236}">
                          <a16:creationId xmlns:a16="http://schemas.microsoft.com/office/drawing/2014/main" id="{970595BE-B3B7-4C76-8523-A85787D979AB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76336" y="3761564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51" name="5-Point Star 859">
                      <a:extLst>
                        <a:ext uri="{FF2B5EF4-FFF2-40B4-BE49-F238E27FC236}">
                          <a16:creationId xmlns:a16="http://schemas.microsoft.com/office/drawing/2014/main" id="{94F25FC3-988A-44C5-8EDA-D25CD33B37F7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76336" y="3802046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52" name="5-Point Star 860">
                      <a:extLst>
                        <a:ext uri="{FF2B5EF4-FFF2-40B4-BE49-F238E27FC236}">
                          <a16:creationId xmlns:a16="http://schemas.microsoft.com/office/drawing/2014/main" id="{661BC38F-6CD1-42C0-86FB-27733FA717F5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76336" y="3842528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53" name="5-Point Star 861">
                      <a:extLst>
                        <a:ext uri="{FF2B5EF4-FFF2-40B4-BE49-F238E27FC236}">
                          <a16:creationId xmlns:a16="http://schemas.microsoft.com/office/drawing/2014/main" id="{AB591F60-B604-4758-B508-B6F6B13B80E7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76336" y="3883010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54" name="5-Point Star 862">
                      <a:extLst>
                        <a:ext uri="{FF2B5EF4-FFF2-40B4-BE49-F238E27FC236}">
                          <a16:creationId xmlns:a16="http://schemas.microsoft.com/office/drawing/2014/main" id="{E3416BE9-B5FB-4C2E-9D51-A0A064B072E2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176336" y="3923490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</p:grpSp>
              <p:grpSp>
                <p:nvGrpSpPr>
                  <p:cNvPr id="1320" name="Group 1319">
                    <a:extLst>
                      <a:ext uri="{FF2B5EF4-FFF2-40B4-BE49-F238E27FC236}">
                        <a16:creationId xmlns:a16="http://schemas.microsoft.com/office/drawing/2014/main" id="{85D7204B-E062-4831-8BA4-8DCFB26764DC}"/>
                      </a:ext>
                    </a:extLst>
                  </p:cNvPr>
                  <p:cNvGrpSpPr/>
                  <p:nvPr/>
                </p:nvGrpSpPr>
                <p:grpSpPr>
                  <a:xfrm>
                    <a:off x="1383575" y="3761564"/>
                    <a:ext cx="21600" cy="183526"/>
                    <a:chOff x="1383575" y="3761564"/>
                    <a:chExt cx="21600" cy="183526"/>
                  </a:xfrm>
                </p:grpSpPr>
                <p:sp>
                  <p:nvSpPr>
                    <p:cNvPr id="1345" name="5-Point Star 853">
                      <a:extLst>
                        <a:ext uri="{FF2B5EF4-FFF2-40B4-BE49-F238E27FC236}">
                          <a16:creationId xmlns:a16="http://schemas.microsoft.com/office/drawing/2014/main" id="{2A0ABB6A-6C9C-4D77-ACF4-C3FE8F582816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83575" y="3761564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46" name="5-Point Star 854">
                      <a:extLst>
                        <a:ext uri="{FF2B5EF4-FFF2-40B4-BE49-F238E27FC236}">
                          <a16:creationId xmlns:a16="http://schemas.microsoft.com/office/drawing/2014/main" id="{842C8611-ED96-4AF5-B348-6A64E37F52ED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83575" y="3802046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47" name="5-Point Star 855">
                      <a:extLst>
                        <a:ext uri="{FF2B5EF4-FFF2-40B4-BE49-F238E27FC236}">
                          <a16:creationId xmlns:a16="http://schemas.microsoft.com/office/drawing/2014/main" id="{0A3B3B27-F29D-4B96-ACED-15AF23940FC0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83575" y="3842528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48" name="5-Point Star 856">
                      <a:extLst>
                        <a:ext uri="{FF2B5EF4-FFF2-40B4-BE49-F238E27FC236}">
                          <a16:creationId xmlns:a16="http://schemas.microsoft.com/office/drawing/2014/main" id="{D5E2DB3B-7A7B-4DD6-B20C-CC03E674AD0B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83575" y="3883010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49" name="5-Point Star 857">
                      <a:extLst>
                        <a:ext uri="{FF2B5EF4-FFF2-40B4-BE49-F238E27FC236}">
                          <a16:creationId xmlns:a16="http://schemas.microsoft.com/office/drawing/2014/main" id="{D636AE37-BD76-4CEB-8A1A-B12313CC5BF7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83575" y="3923490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</p:grpSp>
              <p:grpSp>
                <p:nvGrpSpPr>
                  <p:cNvPr id="1321" name="Group 1320">
                    <a:extLst>
                      <a:ext uri="{FF2B5EF4-FFF2-40B4-BE49-F238E27FC236}">
                        <a16:creationId xmlns:a16="http://schemas.microsoft.com/office/drawing/2014/main" id="{87DBF93C-CE77-4EBD-8CD7-1AC996892A95}"/>
                      </a:ext>
                    </a:extLst>
                  </p:cNvPr>
                  <p:cNvGrpSpPr/>
                  <p:nvPr/>
                </p:nvGrpSpPr>
                <p:grpSpPr>
                  <a:xfrm>
                    <a:off x="1342128" y="3761564"/>
                    <a:ext cx="21600" cy="183526"/>
                    <a:chOff x="1342128" y="3761564"/>
                    <a:chExt cx="21600" cy="183526"/>
                  </a:xfrm>
                </p:grpSpPr>
                <p:sp>
                  <p:nvSpPr>
                    <p:cNvPr id="1340" name="5-Point Star 848">
                      <a:extLst>
                        <a:ext uri="{FF2B5EF4-FFF2-40B4-BE49-F238E27FC236}">
                          <a16:creationId xmlns:a16="http://schemas.microsoft.com/office/drawing/2014/main" id="{C0752B8E-44EE-4284-9B2C-591D3329C79E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42128" y="3761564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41" name="5-Point Star 849">
                      <a:extLst>
                        <a:ext uri="{FF2B5EF4-FFF2-40B4-BE49-F238E27FC236}">
                          <a16:creationId xmlns:a16="http://schemas.microsoft.com/office/drawing/2014/main" id="{6BD0CBC7-D7C8-476B-ADCD-3CCC5557D425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42128" y="3802046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42" name="5-Point Star 850">
                      <a:extLst>
                        <a:ext uri="{FF2B5EF4-FFF2-40B4-BE49-F238E27FC236}">
                          <a16:creationId xmlns:a16="http://schemas.microsoft.com/office/drawing/2014/main" id="{4C64AB5F-5FE8-4ADC-B5C5-039272E4AA04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42128" y="3842528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43" name="5-Point Star 851">
                      <a:extLst>
                        <a:ext uri="{FF2B5EF4-FFF2-40B4-BE49-F238E27FC236}">
                          <a16:creationId xmlns:a16="http://schemas.microsoft.com/office/drawing/2014/main" id="{6FE132DF-E94B-4F16-93C6-F812628AC7C1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42128" y="3883010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44" name="5-Point Star 852">
                      <a:extLst>
                        <a:ext uri="{FF2B5EF4-FFF2-40B4-BE49-F238E27FC236}">
                          <a16:creationId xmlns:a16="http://schemas.microsoft.com/office/drawing/2014/main" id="{C2524D13-C695-4A7E-9F98-CAE7F221C881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42128" y="3923490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</p:grpSp>
              <p:grpSp>
                <p:nvGrpSpPr>
                  <p:cNvPr id="1322" name="Group 1321">
                    <a:extLst>
                      <a:ext uri="{FF2B5EF4-FFF2-40B4-BE49-F238E27FC236}">
                        <a16:creationId xmlns:a16="http://schemas.microsoft.com/office/drawing/2014/main" id="{FB897EE8-9E20-4CE8-9FAB-B65B31DDE427}"/>
                      </a:ext>
                    </a:extLst>
                  </p:cNvPr>
                  <p:cNvGrpSpPr/>
                  <p:nvPr/>
                </p:nvGrpSpPr>
                <p:grpSpPr>
                  <a:xfrm>
                    <a:off x="1300680" y="3761564"/>
                    <a:ext cx="21600" cy="183526"/>
                    <a:chOff x="1300680" y="3761564"/>
                    <a:chExt cx="21600" cy="183526"/>
                  </a:xfrm>
                </p:grpSpPr>
                <p:sp>
                  <p:nvSpPr>
                    <p:cNvPr id="1335" name="5-Point Star 843">
                      <a:extLst>
                        <a:ext uri="{FF2B5EF4-FFF2-40B4-BE49-F238E27FC236}">
                          <a16:creationId xmlns:a16="http://schemas.microsoft.com/office/drawing/2014/main" id="{BCDCAE46-64D6-4725-BC80-4327A7A35D4A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00680" y="3761564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36" name="5-Point Star 844">
                      <a:extLst>
                        <a:ext uri="{FF2B5EF4-FFF2-40B4-BE49-F238E27FC236}">
                          <a16:creationId xmlns:a16="http://schemas.microsoft.com/office/drawing/2014/main" id="{E29E9A1D-BFFF-4D3A-8C9D-062B6C1DF085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00680" y="3802046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37" name="5-Point Star 845">
                      <a:extLst>
                        <a:ext uri="{FF2B5EF4-FFF2-40B4-BE49-F238E27FC236}">
                          <a16:creationId xmlns:a16="http://schemas.microsoft.com/office/drawing/2014/main" id="{7402AE71-8330-40C3-8A4F-49771FD3B6D5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00680" y="3842528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38" name="5-Point Star 846">
                      <a:extLst>
                        <a:ext uri="{FF2B5EF4-FFF2-40B4-BE49-F238E27FC236}">
                          <a16:creationId xmlns:a16="http://schemas.microsoft.com/office/drawing/2014/main" id="{344619BE-C024-4A63-95D3-7662B00AE45C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00680" y="3883010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39" name="5-Point Star 847">
                      <a:extLst>
                        <a:ext uri="{FF2B5EF4-FFF2-40B4-BE49-F238E27FC236}">
                          <a16:creationId xmlns:a16="http://schemas.microsoft.com/office/drawing/2014/main" id="{01217AF9-1F22-4B16-BA9A-62E6C4EA0BDC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300680" y="3923490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</p:grpSp>
              <p:grpSp>
                <p:nvGrpSpPr>
                  <p:cNvPr id="1323" name="Group 1322">
                    <a:extLst>
                      <a:ext uri="{FF2B5EF4-FFF2-40B4-BE49-F238E27FC236}">
                        <a16:creationId xmlns:a16="http://schemas.microsoft.com/office/drawing/2014/main" id="{0B8A150E-4B66-4904-8195-E4E7E3352656}"/>
                      </a:ext>
                    </a:extLst>
                  </p:cNvPr>
                  <p:cNvGrpSpPr/>
                  <p:nvPr/>
                </p:nvGrpSpPr>
                <p:grpSpPr>
                  <a:xfrm>
                    <a:off x="1259232" y="3761564"/>
                    <a:ext cx="21600" cy="183526"/>
                    <a:chOff x="1259232" y="3761564"/>
                    <a:chExt cx="21600" cy="183526"/>
                  </a:xfrm>
                </p:grpSpPr>
                <p:sp>
                  <p:nvSpPr>
                    <p:cNvPr id="1330" name="5-Point Star 838">
                      <a:extLst>
                        <a:ext uri="{FF2B5EF4-FFF2-40B4-BE49-F238E27FC236}">
                          <a16:creationId xmlns:a16="http://schemas.microsoft.com/office/drawing/2014/main" id="{66A5AA04-F358-4F6B-BC34-4CF0946EEDBB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59232" y="3761564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31" name="5-Point Star 839">
                      <a:extLst>
                        <a:ext uri="{FF2B5EF4-FFF2-40B4-BE49-F238E27FC236}">
                          <a16:creationId xmlns:a16="http://schemas.microsoft.com/office/drawing/2014/main" id="{B4F6D026-6AD6-42DB-9604-587B3C22C02E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59232" y="3802046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32" name="5-Point Star 840">
                      <a:extLst>
                        <a:ext uri="{FF2B5EF4-FFF2-40B4-BE49-F238E27FC236}">
                          <a16:creationId xmlns:a16="http://schemas.microsoft.com/office/drawing/2014/main" id="{BD3DDE95-1CA6-4AC2-B6AB-42ED4718B4AA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59232" y="3842528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33" name="5-Point Star 841">
                      <a:extLst>
                        <a:ext uri="{FF2B5EF4-FFF2-40B4-BE49-F238E27FC236}">
                          <a16:creationId xmlns:a16="http://schemas.microsoft.com/office/drawing/2014/main" id="{753B05FA-5D9D-42CA-870C-0AFC88D768CA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59232" y="3883010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34" name="5-Point Star 842">
                      <a:extLst>
                        <a:ext uri="{FF2B5EF4-FFF2-40B4-BE49-F238E27FC236}">
                          <a16:creationId xmlns:a16="http://schemas.microsoft.com/office/drawing/2014/main" id="{1E47B8A6-34B4-4D8A-97E8-28A992B1D7ED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59232" y="3923490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</p:grpSp>
              <p:grpSp>
                <p:nvGrpSpPr>
                  <p:cNvPr id="1324" name="Group 1323">
                    <a:extLst>
                      <a:ext uri="{FF2B5EF4-FFF2-40B4-BE49-F238E27FC236}">
                        <a16:creationId xmlns:a16="http://schemas.microsoft.com/office/drawing/2014/main" id="{1980DF45-5C66-4F99-9F2C-42ED38C9B661}"/>
                      </a:ext>
                    </a:extLst>
                  </p:cNvPr>
                  <p:cNvGrpSpPr/>
                  <p:nvPr/>
                </p:nvGrpSpPr>
                <p:grpSpPr>
                  <a:xfrm>
                    <a:off x="1217784" y="3761564"/>
                    <a:ext cx="21600" cy="183526"/>
                    <a:chOff x="1217784" y="3761564"/>
                    <a:chExt cx="21600" cy="183526"/>
                  </a:xfrm>
                </p:grpSpPr>
                <p:sp>
                  <p:nvSpPr>
                    <p:cNvPr id="1325" name="5-Point Star 833">
                      <a:extLst>
                        <a:ext uri="{FF2B5EF4-FFF2-40B4-BE49-F238E27FC236}">
                          <a16:creationId xmlns:a16="http://schemas.microsoft.com/office/drawing/2014/main" id="{89F2171A-9EFD-498B-9A12-1AE6D3DEA700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17784" y="3761564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26" name="5-Point Star 834">
                      <a:extLst>
                        <a:ext uri="{FF2B5EF4-FFF2-40B4-BE49-F238E27FC236}">
                          <a16:creationId xmlns:a16="http://schemas.microsoft.com/office/drawing/2014/main" id="{07481FF5-9C48-4E61-8702-1BE82B44556E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17784" y="3802046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27" name="5-Point Star 835">
                      <a:extLst>
                        <a:ext uri="{FF2B5EF4-FFF2-40B4-BE49-F238E27FC236}">
                          <a16:creationId xmlns:a16="http://schemas.microsoft.com/office/drawing/2014/main" id="{0A76FEA5-7FD0-4D47-B574-A6BC77B3343E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17784" y="3842528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28" name="5-Point Star 836">
                      <a:extLst>
                        <a:ext uri="{FF2B5EF4-FFF2-40B4-BE49-F238E27FC236}">
                          <a16:creationId xmlns:a16="http://schemas.microsoft.com/office/drawing/2014/main" id="{F8735019-7D2C-4C8A-A227-8D99C36A8144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17784" y="3883010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  <p:sp>
                  <p:nvSpPr>
                    <p:cNvPr id="1329" name="5-Point Star 837">
                      <a:extLst>
                        <a:ext uri="{FF2B5EF4-FFF2-40B4-BE49-F238E27FC236}">
                          <a16:creationId xmlns:a16="http://schemas.microsoft.com/office/drawing/2014/main" id="{9FF7AC3C-7AA9-40EE-A45D-A0695B299C04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217784" y="3923490"/>
                      <a:ext cx="21600" cy="21600"/>
                    </a:xfrm>
                    <a:prstGeom prst="star5">
                      <a:avLst/>
                    </a:prstGeom>
                    <a:solidFill>
                      <a:schemeClr val="bg1"/>
                    </a:solidFill>
                    <a:ln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da-DK" sz="800" dirty="0">
                        <a:latin typeface="+mj-lt"/>
                      </a:endParaRPr>
                    </a:p>
                  </p:txBody>
                </p:sp>
              </p:grpSp>
            </p:grpSp>
          </p:grpSp>
        </p:grpSp>
        <p:sp>
          <p:nvSpPr>
            <p:cNvPr id="1302" name="Rectangle 1301">
              <a:extLst>
                <a:ext uri="{FF2B5EF4-FFF2-40B4-BE49-F238E27FC236}">
                  <a16:creationId xmlns:a16="http://schemas.microsoft.com/office/drawing/2014/main" id="{872C18DB-4D6F-4FF4-946B-F030D8E4AF27}"/>
                </a:ext>
              </a:extLst>
            </p:cNvPr>
            <p:cNvSpPr/>
            <p:nvPr/>
          </p:nvSpPr>
          <p:spPr bwMode="auto">
            <a:xfrm flipH="1">
              <a:off x="3024970" y="1795058"/>
              <a:ext cx="607832" cy="381000"/>
            </a:xfrm>
            <a:prstGeom prst="rect">
              <a:avLst/>
            </a:prstGeom>
            <a:noFill/>
            <a:ln w="3175" cap="flat" cmpd="sng" algn="ctr">
              <a:solidFill>
                <a:schemeClr val="accent6"/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a-DK" sz="800" dirty="0">
                <a:latin typeface="+mj-lt"/>
              </a:endParaRPr>
            </a:p>
          </p:txBody>
        </p:sp>
      </p:grpSp>
      <p:sp>
        <p:nvSpPr>
          <p:cNvPr id="503" name="TextBox 502">
            <a:extLst>
              <a:ext uri="{FF2B5EF4-FFF2-40B4-BE49-F238E27FC236}">
                <a16:creationId xmlns:a16="http://schemas.microsoft.com/office/drawing/2014/main" id="{36BB4D68-484E-4C7E-BAE8-3CC6B716830D}"/>
              </a:ext>
            </a:extLst>
          </p:cNvPr>
          <p:cNvSpPr txBox="1"/>
          <p:nvPr/>
        </p:nvSpPr>
        <p:spPr>
          <a:xfrm>
            <a:off x="582203" y="6541155"/>
            <a:ext cx="7768278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/>
              <a:t>(%)</a:t>
            </a:r>
            <a:r>
              <a:rPr lang="en-US" sz="800" dirty="0"/>
              <a:t> </a:t>
            </a:r>
            <a:r>
              <a:rPr lang="en-US" sz="700" dirty="0"/>
              <a:t>represents Ørsted ownership interest and year when the partnership was created</a:t>
            </a:r>
          </a:p>
          <a:p>
            <a:r>
              <a:rPr lang="en-US" sz="700" dirty="0"/>
              <a:t>1- In 2017 Ørsted and Dominion Energy entered into a strategic partnership in which Ørsted will construct two 6-megawatt turbines off the coast of Virginia Beach</a:t>
            </a:r>
          </a:p>
        </p:txBody>
      </p:sp>
    </p:spTree>
    <p:extLst>
      <p:ext uri="{BB962C8B-B14F-4D97-AF65-F5344CB8AC3E}">
        <p14:creationId xmlns:p14="http://schemas.microsoft.com/office/powerpoint/2010/main" val="33748084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2" name="Object 161" hidden="1">
            <a:extLst>
              <a:ext uri="{FF2B5EF4-FFF2-40B4-BE49-F238E27FC236}">
                <a16:creationId xmlns:a16="http://schemas.microsoft.com/office/drawing/2014/main" id="{E9E2FB01-31E6-4F99-B8AA-D899193AE0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79743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5</a:t>
            </a:fld>
            <a:endParaRPr lang="en-GB" dirty="0"/>
          </a:p>
        </p:txBody>
      </p:sp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400066" y="326586"/>
            <a:ext cx="9105871" cy="783805"/>
          </a:xfrm>
        </p:spPr>
        <p:txBody>
          <a:bodyPr/>
          <a:lstStyle/>
          <a:p>
            <a:r>
              <a:rPr lang="en-GB" sz="2400" dirty="0"/>
              <a:t>Ørsted Wind Power in the U.S.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393700" y="1251071"/>
            <a:ext cx="9106700" cy="4921394"/>
          </a:xfrm>
          <a:prstGeom prst="rect">
            <a:avLst/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300"/>
              </a:spcAft>
            </a:pPr>
            <a:endParaRPr lang="en-GB" sz="1000" dirty="0">
              <a:solidFill>
                <a:srgbClr val="FF0000"/>
              </a:solidFill>
            </a:endParaRPr>
          </a:p>
        </p:txBody>
      </p:sp>
      <p:pic>
        <p:nvPicPr>
          <p:cNvPr id="117" name="Picture 116">
            <a:extLst>
              <a:ext uri="{FF2B5EF4-FFF2-40B4-BE49-F238E27FC236}">
                <a16:creationId xmlns:a16="http://schemas.microsoft.com/office/drawing/2014/main" id="{B161D8DD-2233-4C8D-893F-30232B8B26F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8909" r="-1"/>
          <a:stretch/>
        </p:blipFill>
        <p:spPr>
          <a:xfrm>
            <a:off x="672471" y="2285325"/>
            <a:ext cx="2340423" cy="3520197"/>
          </a:xfrm>
          <a:prstGeom prst="rect">
            <a:avLst/>
          </a:prstGeom>
        </p:spPr>
      </p:pic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C3A665-3C81-41E2-83FA-E80FF683D6F0}"/>
              </a:ext>
            </a:extLst>
          </p:cNvPr>
          <p:cNvGrpSpPr/>
          <p:nvPr/>
        </p:nvGrpSpPr>
        <p:grpSpPr>
          <a:xfrm>
            <a:off x="2263773" y="2210088"/>
            <a:ext cx="2845562" cy="3586845"/>
            <a:chOff x="969235" y="807384"/>
            <a:chExt cx="3060899" cy="3858280"/>
          </a:xfrm>
        </p:grpSpPr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AB286549-BF0B-46E7-9DE9-33170A23445B}"/>
                </a:ext>
              </a:extLst>
            </p:cNvPr>
            <p:cNvGrpSpPr/>
            <p:nvPr/>
          </p:nvGrpSpPr>
          <p:grpSpPr>
            <a:xfrm>
              <a:off x="1479674" y="807384"/>
              <a:ext cx="2550460" cy="1610730"/>
              <a:chOff x="2371317" y="1038980"/>
              <a:chExt cx="2550460" cy="1610730"/>
            </a:xfrm>
          </p:grpSpPr>
          <p:sp>
            <p:nvSpPr>
              <p:cNvPr id="130" name="Freeform 38">
                <a:extLst>
                  <a:ext uri="{FF2B5EF4-FFF2-40B4-BE49-F238E27FC236}">
                    <a16:creationId xmlns:a16="http://schemas.microsoft.com/office/drawing/2014/main" id="{828FE4B7-B162-445A-B96A-97C71C25FD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1317" y="2526525"/>
                <a:ext cx="126349" cy="123185"/>
              </a:xfrm>
              <a:custGeom>
                <a:avLst/>
                <a:gdLst>
                  <a:gd name="T0" fmla="*/ 0 w 519"/>
                  <a:gd name="T1" fmla="*/ 151 h 506"/>
                  <a:gd name="T2" fmla="*/ 0 w 519"/>
                  <a:gd name="T3" fmla="*/ 506 h 506"/>
                  <a:gd name="T4" fmla="*/ 63 w 519"/>
                  <a:gd name="T5" fmla="*/ 506 h 506"/>
                  <a:gd name="T6" fmla="*/ 63 w 519"/>
                  <a:gd name="T7" fmla="*/ 351 h 506"/>
                  <a:gd name="T8" fmla="*/ 192 w 519"/>
                  <a:gd name="T9" fmla="*/ 351 h 506"/>
                  <a:gd name="T10" fmla="*/ 519 w 519"/>
                  <a:gd name="T11" fmla="*/ 0 h 506"/>
                  <a:gd name="T12" fmla="*/ 381 w 519"/>
                  <a:gd name="T13" fmla="*/ 0 h 506"/>
                  <a:gd name="T14" fmla="*/ 351 w 519"/>
                  <a:gd name="T15" fmla="*/ 34 h 506"/>
                  <a:gd name="T16" fmla="*/ 243 w 519"/>
                  <a:gd name="T17" fmla="*/ 34 h 506"/>
                  <a:gd name="T18" fmla="*/ 243 w 519"/>
                  <a:gd name="T19" fmla="*/ 75 h 506"/>
                  <a:gd name="T20" fmla="*/ 209 w 519"/>
                  <a:gd name="T21" fmla="*/ 105 h 506"/>
                  <a:gd name="T22" fmla="*/ 209 w 519"/>
                  <a:gd name="T23" fmla="*/ 155 h 506"/>
                  <a:gd name="T24" fmla="*/ 0 w 519"/>
                  <a:gd name="T25" fmla="*/ 151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19" h="506">
                    <a:moveTo>
                      <a:pt x="0" y="151"/>
                    </a:moveTo>
                    <a:lnTo>
                      <a:pt x="0" y="506"/>
                    </a:lnTo>
                    <a:lnTo>
                      <a:pt x="63" y="506"/>
                    </a:lnTo>
                    <a:lnTo>
                      <a:pt x="63" y="351"/>
                    </a:lnTo>
                    <a:lnTo>
                      <a:pt x="192" y="351"/>
                    </a:lnTo>
                    <a:lnTo>
                      <a:pt x="519" y="0"/>
                    </a:lnTo>
                    <a:lnTo>
                      <a:pt x="381" y="0"/>
                    </a:lnTo>
                    <a:lnTo>
                      <a:pt x="351" y="34"/>
                    </a:lnTo>
                    <a:lnTo>
                      <a:pt x="243" y="34"/>
                    </a:lnTo>
                    <a:lnTo>
                      <a:pt x="243" y="75"/>
                    </a:lnTo>
                    <a:lnTo>
                      <a:pt x="209" y="105"/>
                    </a:lnTo>
                    <a:lnTo>
                      <a:pt x="209" y="155"/>
                    </a:lnTo>
                    <a:lnTo>
                      <a:pt x="0" y="15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00" tIns="45700" rIns="91400" bIns="4570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en-GB" dirty="0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131" name="Elbow Connector 136">
                <a:extLst>
                  <a:ext uri="{FF2B5EF4-FFF2-40B4-BE49-F238E27FC236}">
                    <a16:creationId xmlns:a16="http://schemas.microsoft.com/office/drawing/2014/main" id="{A987DE96-BC29-4A76-AF8E-7CD54A6C9120}"/>
                  </a:ext>
                </a:extLst>
              </p:cNvPr>
              <p:cNvCxnSpPr>
                <a:stCxn id="132" idx="1"/>
                <a:endCxn id="130" idx="5"/>
              </p:cNvCxnSpPr>
              <p:nvPr/>
            </p:nvCxnSpPr>
            <p:spPr>
              <a:xfrm rot="10800000" flipV="1">
                <a:off x="2497667" y="1538790"/>
                <a:ext cx="233280" cy="987734"/>
              </a:xfrm>
              <a:prstGeom prst="bentConnector3">
                <a:avLst>
                  <a:gd name="adj1" fmla="val 2804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2" name="Rectangle 131">
                <a:extLst>
                  <a:ext uri="{FF2B5EF4-FFF2-40B4-BE49-F238E27FC236}">
                    <a16:creationId xmlns:a16="http://schemas.microsoft.com/office/drawing/2014/main" id="{F8DF1202-3F72-433A-A104-A020998758BB}"/>
                  </a:ext>
                </a:extLst>
              </p:cNvPr>
              <p:cNvSpPr/>
              <p:nvPr/>
            </p:nvSpPr>
            <p:spPr>
              <a:xfrm>
                <a:off x="2730946" y="1038980"/>
                <a:ext cx="2190831" cy="99962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noFill/>
                <a:prstDash val="soli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1968" tIns="35984" rIns="71968" bIns="35984" rtlCol="0" anchor="t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GB" sz="1000" b="1" dirty="0">
                    <a:solidFill>
                      <a:prstClr val="black"/>
                    </a:solidFill>
                  </a:rPr>
                  <a:t>Bay State Wind</a:t>
                </a:r>
                <a:endParaRPr lang="en-GB" sz="900" dirty="0">
                  <a:solidFill>
                    <a:prstClr val="black"/>
                  </a:solidFill>
                </a:endParaRP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Wingdings" panose="05000000000000000000" pitchFamily="2" charset="2"/>
                  <a:buChar char="§"/>
                </a:pPr>
                <a:endParaRPr lang="en-GB" sz="870" dirty="0">
                  <a:solidFill>
                    <a:prstClr val="black"/>
                  </a:solidFill>
                </a:endParaRP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Wingdings" panose="05000000000000000000" pitchFamily="2" charset="2"/>
                  <a:buChar char="§"/>
                </a:pPr>
                <a:r>
                  <a:rPr lang="en-GB" sz="850" dirty="0">
                    <a:solidFill>
                      <a:prstClr val="black"/>
                    </a:solidFill>
                  </a:rPr>
                  <a:t>2,000 MW potential capacity 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Wingdings" panose="05000000000000000000" pitchFamily="2" charset="2"/>
                  <a:buChar char="§"/>
                </a:pPr>
                <a:r>
                  <a:rPr lang="en-GB" sz="850" dirty="0">
                    <a:solidFill>
                      <a:prstClr val="black"/>
                    </a:solidFill>
                  </a:rPr>
                  <a:t>15 miles from Martha’s Vineyard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Wingdings" panose="05000000000000000000" pitchFamily="2" charset="2"/>
                  <a:buChar char="§"/>
                </a:pPr>
                <a:r>
                  <a:rPr lang="en-GB" sz="850" dirty="0">
                    <a:solidFill>
                      <a:prstClr val="black"/>
                    </a:solidFill>
                  </a:rPr>
                  <a:t>Connecting into Massachusetts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Wingdings" panose="05000000000000000000" pitchFamily="2" charset="2"/>
                  <a:buChar char="§"/>
                </a:pPr>
                <a:r>
                  <a:rPr lang="en-GB" sz="850" dirty="0">
                    <a:solidFill>
                      <a:prstClr val="black"/>
                    </a:solidFill>
                  </a:rPr>
                  <a:t>Water depths of 100 – 125 feet</a:t>
                </a:r>
              </a:p>
              <a:p>
                <a:pPr algn="ctr">
                  <a:spcAft>
                    <a:spcPts val="300"/>
                  </a:spcAft>
                </a:pPr>
                <a:endParaRPr lang="en-GB" sz="900" b="1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1747129C-291B-4ADA-8332-FDD86398202B}"/>
                </a:ext>
              </a:extLst>
            </p:cNvPr>
            <p:cNvGrpSpPr/>
            <p:nvPr/>
          </p:nvGrpSpPr>
          <p:grpSpPr>
            <a:xfrm>
              <a:off x="1051039" y="2227262"/>
              <a:ext cx="2975292" cy="1050141"/>
              <a:chOff x="1024825" y="3846150"/>
              <a:chExt cx="2975292" cy="1050141"/>
            </a:xfrm>
          </p:grpSpPr>
          <p:sp>
            <p:nvSpPr>
              <p:cNvPr id="127" name="Freeform 39">
                <a:extLst>
                  <a:ext uri="{FF2B5EF4-FFF2-40B4-BE49-F238E27FC236}">
                    <a16:creationId xmlns:a16="http://schemas.microsoft.com/office/drawing/2014/main" id="{E633AACF-0A33-4B11-9A84-FDA30DD218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4825" y="4535017"/>
                <a:ext cx="115954" cy="145865"/>
              </a:xfrm>
              <a:custGeom>
                <a:avLst/>
                <a:gdLst>
                  <a:gd name="T0" fmla="*/ 406 w 535"/>
                  <a:gd name="T1" fmla="*/ 117 h 673"/>
                  <a:gd name="T2" fmla="*/ 368 w 535"/>
                  <a:gd name="T3" fmla="*/ 117 h 673"/>
                  <a:gd name="T4" fmla="*/ 330 w 535"/>
                  <a:gd name="T5" fmla="*/ 83 h 673"/>
                  <a:gd name="T6" fmla="*/ 330 w 535"/>
                  <a:gd name="T7" fmla="*/ 58 h 673"/>
                  <a:gd name="T8" fmla="*/ 322 w 535"/>
                  <a:gd name="T9" fmla="*/ 46 h 673"/>
                  <a:gd name="T10" fmla="*/ 297 w 535"/>
                  <a:gd name="T11" fmla="*/ 46 h 673"/>
                  <a:gd name="T12" fmla="*/ 297 w 535"/>
                  <a:gd name="T13" fmla="*/ 0 h 673"/>
                  <a:gd name="T14" fmla="*/ 263 w 535"/>
                  <a:gd name="T15" fmla="*/ 0 h 673"/>
                  <a:gd name="T16" fmla="*/ 217 w 535"/>
                  <a:gd name="T17" fmla="*/ 42 h 673"/>
                  <a:gd name="T18" fmla="*/ 217 w 535"/>
                  <a:gd name="T19" fmla="*/ 150 h 673"/>
                  <a:gd name="T20" fmla="*/ 146 w 535"/>
                  <a:gd name="T21" fmla="*/ 150 h 673"/>
                  <a:gd name="T22" fmla="*/ 92 w 535"/>
                  <a:gd name="T23" fmla="*/ 205 h 673"/>
                  <a:gd name="T24" fmla="*/ 92 w 535"/>
                  <a:gd name="T25" fmla="*/ 230 h 673"/>
                  <a:gd name="T26" fmla="*/ 151 w 535"/>
                  <a:gd name="T27" fmla="*/ 230 h 673"/>
                  <a:gd name="T28" fmla="*/ 151 w 535"/>
                  <a:gd name="T29" fmla="*/ 192 h 673"/>
                  <a:gd name="T30" fmla="*/ 222 w 535"/>
                  <a:gd name="T31" fmla="*/ 192 h 673"/>
                  <a:gd name="T32" fmla="*/ 222 w 535"/>
                  <a:gd name="T33" fmla="*/ 259 h 673"/>
                  <a:gd name="T34" fmla="*/ 155 w 535"/>
                  <a:gd name="T35" fmla="*/ 259 h 673"/>
                  <a:gd name="T36" fmla="*/ 155 w 535"/>
                  <a:gd name="T37" fmla="*/ 339 h 673"/>
                  <a:gd name="T38" fmla="*/ 75 w 535"/>
                  <a:gd name="T39" fmla="*/ 339 h 673"/>
                  <a:gd name="T40" fmla="*/ 75 w 535"/>
                  <a:gd name="T41" fmla="*/ 301 h 673"/>
                  <a:gd name="T42" fmla="*/ 21 w 535"/>
                  <a:gd name="T43" fmla="*/ 301 h 673"/>
                  <a:gd name="T44" fmla="*/ 0 w 535"/>
                  <a:gd name="T45" fmla="*/ 318 h 673"/>
                  <a:gd name="T46" fmla="*/ 0 w 535"/>
                  <a:gd name="T47" fmla="*/ 447 h 673"/>
                  <a:gd name="T48" fmla="*/ 75 w 535"/>
                  <a:gd name="T49" fmla="*/ 447 h 673"/>
                  <a:gd name="T50" fmla="*/ 75 w 535"/>
                  <a:gd name="T51" fmla="*/ 673 h 673"/>
                  <a:gd name="T52" fmla="*/ 146 w 535"/>
                  <a:gd name="T53" fmla="*/ 673 h 673"/>
                  <a:gd name="T54" fmla="*/ 146 w 535"/>
                  <a:gd name="T55" fmla="*/ 598 h 673"/>
                  <a:gd name="T56" fmla="*/ 222 w 535"/>
                  <a:gd name="T57" fmla="*/ 598 h 673"/>
                  <a:gd name="T58" fmla="*/ 222 w 535"/>
                  <a:gd name="T59" fmla="*/ 523 h 673"/>
                  <a:gd name="T60" fmla="*/ 276 w 535"/>
                  <a:gd name="T61" fmla="*/ 523 h 673"/>
                  <a:gd name="T62" fmla="*/ 535 w 535"/>
                  <a:gd name="T63" fmla="*/ 267 h 673"/>
                  <a:gd name="T64" fmla="*/ 535 w 535"/>
                  <a:gd name="T65" fmla="*/ 247 h 673"/>
                  <a:gd name="T66" fmla="*/ 406 w 535"/>
                  <a:gd name="T67" fmla="*/ 117 h 673"/>
                  <a:gd name="T68" fmla="*/ 297 w 535"/>
                  <a:gd name="T69" fmla="*/ 155 h 673"/>
                  <a:gd name="T70" fmla="*/ 259 w 535"/>
                  <a:gd name="T71" fmla="*/ 155 h 673"/>
                  <a:gd name="T72" fmla="*/ 259 w 535"/>
                  <a:gd name="T73" fmla="*/ 79 h 673"/>
                  <a:gd name="T74" fmla="*/ 297 w 535"/>
                  <a:gd name="T75" fmla="*/ 79 h 673"/>
                  <a:gd name="T76" fmla="*/ 297 w 535"/>
                  <a:gd name="T77" fmla="*/ 155 h 6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35" h="673">
                    <a:moveTo>
                      <a:pt x="406" y="117"/>
                    </a:moveTo>
                    <a:lnTo>
                      <a:pt x="368" y="117"/>
                    </a:lnTo>
                    <a:lnTo>
                      <a:pt x="330" y="83"/>
                    </a:lnTo>
                    <a:lnTo>
                      <a:pt x="330" y="58"/>
                    </a:lnTo>
                    <a:lnTo>
                      <a:pt x="322" y="46"/>
                    </a:lnTo>
                    <a:lnTo>
                      <a:pt x="297" y="46"/>
                    </a:lnTo>
                    <a:lnTo>
                      <a:pt x="297" y="0"/>
                    </a:lnTo>
                    <a:lnTo>
                      <a:pt x="263" y="0"/>
                    </a:lnTo>
                    <a:lnTo>
                      <a:pt x="217" y="42"/>
                    </a:lnTo>
                    <a:lnTo>
                      <a:pt x="217" y="150"/>
                    </a:lnTo>
                    <a:lnTo>
                      <a:pt x="146" y="150"/>
                    </a:lnTo>
                    <a:lnTo>
                      <a:pt x="92" y="205"/>
                    </a:lnTo>
                    <a:lnTo>
                      <a:pt x="92" y="230"/>
                    </a:lnTo>
                    <a:lnTo>
                      <a:pt x="151" y="230"/>
                    </a:lnTo>
                    <a:lnTo>
                      <a:pt x="151" y="192"/>
                    </a:lnTo>
                    <a:lnTo>
                      <a:pt x="222" y="192"/>
                    </a:lnTo>
                    <a:lnTo>
                      <a:pt x="222" y="259"/>
                    </a:lnTo>
                    <a:lnTo>
                      <a:pt x="155" y="259"/>
                    </a:lnTo>
                    <a:lnTo>
                      <a:pt x="155" y="339"/>
                    </a:lnTo>
                    <a:lnTo>
                      <a:pt x="75" y="339"/>
                    </a:lnTo>
                    <a:lnTo>
                      <a:pt x="75" y="301"/>
                    </a:lnTo>
                    <a:lnTo>
                      <a:pt x="21" y="301"/>
                    </a:lnTo>
                    <a:lnTo>
                      <a:pt x="0" y="318"/>
                    </a:lnTo>
                    <a:lnTo>
                      <a:pt x="0" y="447"/>
                    </a:lnTo>
                    <a:lnTo>
                      <a:pt x="75" y="447"/>
                    </a:lnTo>
                    <a:lnTo>
                      <a:pt x="75" y="673"/>
                    </a:lnTo>
                    <a:lnTo>
                      <a:pt x="146" y="673"/>
                    </a:lnTo>
                    <a:lnTo>
                      <a:pt x="146" y="598"/>
                    </a:lnTo>
                    <a:lnTo>
                      <a:pt x="222" y="598"/>
                    </a:lnTo>
                    <a:lnTo>
                      <a:pt x="222" y="523"/>
                    </a:lnTo>
                    <a:lnTo>
                      <a:pt x="276" y="523"/>
                    </a:lnTo>
                    <a:lnTo>
                      <a:pt x="535" y="267"/>
                    </a:lnTo>
                    <a:lnTo>
                      <a:pt x="535" y="247"/>
                    </a:lnTo>
                    <a:lnTo>
                      <a:pt x="406" y="117"/>
                    </a:lnTo>
                    <a:close/>
                    <a:moveTo>
                      <a:pt x="297" y="155"/>
                    </a:moveTo>
                    <a:lnTo>
                      <a:pt x="259" y="155"/>
                    </a:lnTo>
                    <a:lnTo>
                      <a:pt x="259" y="79"/>
                    </a:lnTo>
                    <a:lnTo>
                      <a:pt x="297" y="79"/>
                    </a:lnTo>
                    <a:lnTo>
                      <a:pt x="297" y="155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00" tIns="45700" rIns="91400" bIns="45700" numCol="1" anchor="t" anchorCtr="0" compatLnSpc="1">
                <a:prstTxWarp prst="textNoShape">
                  <a:avLst/>
                </a:prstTxWarp>
              </a:bodyPr>
              <a:lstStyle/>
              <a:p>
                <a:pPr eaLnBrk="1" hangingPunct="1"/>
                <a:endParaRPr lang="en-GB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28" name="Rectangle 127">
                <a:extLst>
                  <a:ext uri="{FF2B5EF4-FFF2-40B4-BE49-F238E27FC236}">
                    <a16:creationId xmlns:a16="http://schemas.microsoft.com/office/drawing/2014/main" id="{41ABD437-012C-43BA-B9A5-59BC85553BA3}"/>
                  </a:ext>
                </a:extLst>
              </p:cNvPr>
              <p:cNvSpPr/>
              <p:nvPr/>
            </p:nvSpPr>
            <p:spPr>
              <a:xfrm>
                <a:off x="1811674" y="3846150"/>
                <a:ext cx="2188443" cy="105014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3175">
                <a:noFill/>
                <a:prstDash val="solid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1968" tIns="35984" rIns="71968" bIns="35984" rtlCol="0" anchor="t"/>
              <a:lstStyle/>
              <a:p>
                <a:pPr>
                  <a:spcAft>
                    <a:spcPts val="0"/>
                  </a:spcAft>
                </a:pPr>
                <a:r>
                  <a:rPr lang="en-GB" sz="1000" b="1" dirty="0">
                    <a:solidFill>
                      <a:prstClr val="black"/>
                    </a:solidFill>
                  </a:rPr>
                  <a:t>Ocean Wind</a:t>
                </a:r>
              </a:p>
              <a:p>
                <a:pPr>
                  <a:spcAft>
                    <a:spcPts val="0"/>
                  </a:spcAft>
                </a:pPr>
                <a:endParaRPr lang="en-GB" sz="900" b="1" dirty="0">
                  <a:solidFill>
                    <a:prstClr val="black"/>
                  </a:solidFill>
                </a:endParaRP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Wingdings" panose="05000000000000000000" pitchFamily="2" charset="2"/>
                  <a:buChar char="§"/>
                </a:pPr>
                <a:r>
                  <a:rPr lang="en-GB" sz="850" dirty="0">
                    <a:solidFill>
                      <a:prstClr val="black"/>
                    </a:solidFill>
                  </a:rPr>
                  <a:t>+2,000 MW potential capacity 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Wingdings" panose="05000000000000000000" pitchFamily="2" charset="2"/>
                  <a:buChar char="§"/>
                </a:pPr>
                <a:r>
                  <a:rPr lang="en-GB" sz="850" dirty="0">
                    <a:solidFill>
                      <a:prstClr val="black"/>
                    </a:solidFill>
                  </a:rPr>
                  <a:t>10 miles from shore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Wingdings" panose="05000000000000000000" pitchFamily="2" charset="2"/>
                  <a:buChar char="§"/>
                </a:pPr>
                <a:r>
                  <a:rPr lang="en-GB" sz="850" dirty="0">
                    <a:solidFill>
                      <a:prstClr val="black"/>
                    </a:solidFill>
                  </a:rPr>
                  <a:t>Connecting into New Jersey</a:t>
                </a:r>
              </a:p>
              <a:p>
                <a:pPr marL="171450" indent="-171450" fontAlgn="auto">
                  <a:spcBef>
                    <a:spcPts val="0"/>
                  </a:spcBef>
                  <a:spcAft>
                    <a:spcPts val="0"/>
                  </a:spcAft>
                  <a:buFont typeface="Wingdings" panose="05000000000000000000" pitchFamily="2" charset="2"/>
                  <a:buChar char="§"/>
                </a:pPr>
                <a:r>
                  <a:rPr lang="en-GB" sz="850" dirty="0">
                    <a:solidFill>
                      <a:prstClr val="black"/>
                    </a:solidFill>
                  </a:rPr>
                  <a:t>Water depths of 65 – 100 feet</a:t>
                </a:r>
              </a:p>
              <a:p>
                <a:pPr algn="ctr">
                  <a:spcAft>
                    <a:spcPts val="300"/>
                  </a:spcAft>
                </a:pPr>
                <a:endParaRPr lang="en-GB" sz="1000" b="1" dirty="0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129" name="Elbow Connector 178">
                <a:extLst>
                  <a:ext uri="{FF2B5EF4-FFF2-40B4-BE49-F238E27FC236}">
                    <a16:creationId xmlns:a16="http://schemas.microsoft.com/office/drawing/2014/main" id="{76E35B1D-F220-4C72-88B6-16EC30EAE443}"/>
                  </a:ext>
                </a:extLst>
              </p:cNvPr>
              <p:cNvCxnSpPr>
                <a:stCxn id="127" idx="31"/>
                <a:endCxn id="128" idx="1"/>
              </p:cNvCxnSpPr>
              <p:nvPr/>
            </p:nvCxnSpPr>
            <p:spPr>
              <a:xfrm flipV="1">
                <a:off x="1140779" y="4371221"/>
                <a:ext cx="670895" cy="221666"/>
              </a:xfrm>
              <a:prstGeom prst="bentConnector3">
                <a:avLst>
                  <a:gd name="adj1" fmla="val 50000"/>
                </a:avLst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6ACCEEC1-CE66-4BB5-B185-1BE9D27C87D9}"/>
                </a:ext>
              </a:extLst>
            </p:cNvPr>
            <p:cNvSpPr/>
            <p:nvPr/>
          </p:nvSpPr>
          <p:spPr>
            <a:xfrm>
              <a:off x="969235" y="3552096"/>
              <a:ext cx="18000" cy="38724"/>
            </a:xfrm>
            <a:prstGeom prst="rect">
              <a:avLst/>
            </a:prstGeom>
            <a:solidFill>
              <a:srgbClr val="183A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algn="ctr">
                <a:spcAft>
                  <a:spcPts val="300"/>
                </a:spcAft>
              </a:pPr>
              <a:endParaRPr lang="en-GB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FA01B8ED-7C31-4337-9902-5407A07F135B}"/>
                </a:ext>
              </a:extLst>
            </p:cNvPr>
            <p:cNvSpPr/>
            <p:nvPr/>
          </p:nvSpPr>
          <p:spPr>
            <a:xfrm>
              <a:off x="1847088" y="3632192"/>
              <a:ext cx="2179243" cy="103347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1968" tIns="35984" rIns="71968" bIns="35984" rtlCol="0" anchor="t"/>
            <a:lstStyle/>
            <a:p>
              <a:pPr>
                <a:spcAft>
                  <a:spcPts val="0"/>
                </a:spcAft>
              </a:pPr>
              <a:r>
                <a:rPr lang="en-GB" sz="1000" b="1" dirty="0">
                  <a:solidFill>
                    <a:prstClr val="black"/>
                  </a:solidFill>
                </a:rPr>
                <a:t>Coastal VA Offshore Wind</a:t>
              </a:r>
              <a:endParaRPr lang="en-GB" sz="900" b="1" dirty="0">
                <a:solidFill>
                  <a:prstClr val="black"/>
                </a:solidFill>
              </a:endParaRPr>
            </a:p>
            <a:p>
              <a:pPr>
                <a:spcAft>
                  <a:spcPts val="0"/>
                </a:spcAft>
              </a:pPr>
              <a:endParaRPr lang="en-GB" sz="900" b="1" dirty="0">
                <a:solidFill>
                  <a:prstClr val="black"/>
                </a:solidFill>
              </a:endParaRP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</a:pPr>
              <a:r>
                <a:rPr lang="en-GB" sz="850" dirty="0">
                  <a:solidFill>
                    <a:prstClr val="black"/>
                  </a:solidFill>
                </a:rPr>
                <a:t>12 MW Stage 1 (demo) windfarm</a:t>
              </a: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</a:pPr>
              <a:r>
                <a:rPr lang="en-GB" sz="850" dirty="0">
                  <a:solidFill>
                    <a:prstClr val="black"/>
                  </a:solidFill>
                </a:rPr>
                <a:t>22 miles from shore</a:t>
              </a: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</a:pPr>
              <a:r>
                <a:rPr lang="en-GB" sz="850" dirty="0">
                  <a:solidFill>
                    <a:prstClr val="black"/>
                  </a:solidFill>
                </a:rPr>
                <a:t>Connecting into Virginia </a:t>
              </a:r>
            </a:p>
            <a:p>
              <a:pPr marL="171450" indent="-171450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§"/>
              </a:pPr>
              <a:r>
                <a:rPr lang="en-GB" sz="850" dirty="0">
                  <a:solidFill>
                    <a:prstClr val="black"/>
                  </a:solidFill>
                </a:rPr>
                <a:t>Water depths of 80 – 100 feet</a:t>
              </a:r>
            </a:p>
            <a:p>
              <a:pPr>
                <a:spcAft>
                  <a:spcPts val="300"/>
                </a:spcAft>
              </a:pPr>
              <a:endParaRPr lang="en-GB" sz="900" b="1" dirty="0">
                <a:solidFill>
                  <a:prstClr val="black"/>
                </a:solidFill>
              </a:endParaRPr>
            </a:p>
          </p:txBody>
        </p:sp>
        <p:grpSp>
          <p:nvGrpSpPr>
            <p:cNvPr id="123" name="Group 122">
              <a:extLst>
                <a:ext uri="{FF2B5EF4-FFF2-40B4-BE49-F238E27FC236}">
                  <a16:creationId xmlns:a16="http://schemas.microsoft.com/office/drawing/2014/main" id="{567C6D73-F03C-4839-80E3-04C88D65453B}"/>
                </a:ext>
              </a:extLst>
            </p:cNvPr>
            <p:cNvGrpSpPr/>
            <p:nvPr/>
          </p:nvGrpSpPr>
          <p:grpSpPr>
            <a:xfrm>
              <a:off x="987234" y="3565182"/>
              <a:ext cx="859854" cy="583745"/>
              <a:chOff x="987234" y="3437376"/>
              <a:chExt cx="859854" cy="577006"/>
            </a:xfrm>
          </p:grpSpPr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FCFC00DF-151D-48DF-9D63-C31B5E2B3387}"/>
                  </a:ext>
                </a:extLst>
              </p:cNvPr>
              <p:cNvCxnSpPr/>
              <p:nvPr/>
            </p:nvCxnSpPr>
            <p:spPr>
              <a:xfrm>
                <a:off x="987234" y="3437376"/>
                <a:ext cx="224716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2160DF1D-F01D-4CD7-BB5F-A0667A1636CB}"/>
                  </a:ext>
                </a:extLst>
              </p:cNvPr>
              <p:cNvCxnSpPr/>
              <p:nvPr/>
            </p:nvCxnSpPr>
            <p:spPr>
              <a:xfrm>
                <a:off x="1211950" y="3437376"/>
                <a:ext cx="0" cy="57700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115B547E-A5A9-43E9-A7EE-503B83806DF3}"/>
                  </a:ext>
                </a:extLst>
              </p:cNvPr>
              <p:cNvCxnSpPr>
                <a:stCxn id="122" idx="1"/>
              </p:cNvCxnSpPr>
              <p:nvPr/>
            </p:nvCxnSpPr>
            <p:spPr>
              <a:xfrm flipH="1">
                <a:off x="1218897" y="4014382"/>
                <a:ext cx="628191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33" name="Content Placeholder 2">
            <a:extLst>
              <a:ext uri="{FF2B5EF4-FFF2-40B4-BE49-F238E27FC236}">
                <a16:creationId xmlns:a16="http://schemas.microsoft.com/office/drawing/2014/main" id="{9B4EF508-6E5A-4025-9D5D-BF8DC3D3A645}"/>
              </a:ext>
            </a:extLst>
          </p:cNvPr>
          <p:cNvSpPr txBox="1">
            <a:spLocks/>
          </p:cNvSpPr>
          <p:nvPr/>
        </p:nvSpPr>
        <p:spPr>
          <a:xfrm>
            <a:off x="703902" y="1313422"/>
            <a:ext cx="4449485" cy="680048"/>
          </a:xfrm>
          <a:prstGeom prst="rect">
            <a:avLst/>
          </a:prstGeom>
        </p:spPr>
        <p:txBody>
          <a:bodyPr bIns="42972"/>
          <a:lstStyle>
            <a:lvl1pPr marL="0" indent="0" algn="l" defTabSz="1007943" rtl="0" eaLnBrk="1" latinLnBrk="0" hangingPunct="1">
              <a:lnSpc>
                <a:spcPct val="95000"/>
              </a:lnSpc>
              <a:spcBef>
                <a:spcPts val="0"/>
              </a:spcBef>
              <a:buFontTx/>
              <a:buNone/>
              <a:defRPr sz="1300" b="1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1pPr>
            <a:lvl2pPr marL="432000" indent="-2160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2pPr>
            <a:lvl3pPr marL="648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3pPr>
            <a:lvl4pPr marL="864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4pPr>
            <a:lvl5pPr marL="1080000" indent="-215900" algn="l" defTabSz="1007943" rtl="0" eaLnBrk="1" latinLnBrk="0" hangingPunct="1">
              <a:lnSpc>
                <a:spcPct val="95000"/>
              </a:lnSpc>
              <a:spcBef>
                <a:spcPts val="1500"/>
              </a:spcBef>
              <a:buFont typeface="Maine Sans" panose="00000500000000000000" pitchFamily="2" charset="0"/>
              <a:buChar char="–"/>
              <a:defRPr sz="1300" kern="1200">
                <a:solidFill>
                  <a:schemeClr val="tx2"/>
                </a:solidFill>
                <a:latin typeface="Orsted Sans Office" panose="00000500000000000000" pitchFamily="2" charset="0"/>
                <a:ea typeface="+mn-ea"/>
                <a:cs typeface="+mn-cs"/>
              </a:defRPr>
            </a:lvl5pPr>
            <a:lvl6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2000" indent="-216000" algn="l" defTabSz="1007943" rtl="0" eaLnBrk="1" latinLnBrk="0" hangingPunct="1">
              <a:lnSpc>
                <a:spcPct val="96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Secured project rights for ~3 GW capacity</a:t>
            </a:r>
          </a:p>
          <a:p>
            <a:pPr marL="92075"/>
            <a:r>
              <a:rPr lang="en-GB" sz="900"/>
              <a:t>Entered U.S. 50/50 JV for Bay State Wind</a:t>
            </a:r>
            <a:r>
              <a:rPr lang="en-GB" sz="900" baseline="30000"/>
              <a:t>1</a:t>
            </a:r>
            <a:r>
              <a:rPr lang="en-GB" sz="900"/>
              <a:t> with Eversource in 2016</a:t>
            </a:r>
          </a:p>
          <a:p>
            <a:pPr marL="92075"/>
            <a:r>
              <a:rPr lang="en-GB" sz="900"/>
              <a:t>Announced Coastal Virginia Offshore Wind partnership with Dominion Energy in July 2017</a:t>
            </a:r>
            <a:endParaRPr lang="en-GB" sz="900" baseline="30000" dirty="0"/>
          </a:p>
        </p:txBody>
      </p:sp>
      <p:sp>
        <p:nvSpPr>
          <p:cNvPr id="134" name="Rectangle 9512971">
            <a:extLst>
              <a:ext uri="{FF2B5EF4-FFF2-40B4-BE49-F238E27FC236}">
                <a16:creationId xmlns:a16="http://schemas.microsoft.com/office/drawing/2014/main" id="{1FBD7B9C-B329-473B-872A-B45CD2083364}"/>
              </a:ext>
            </a:extLst>
          </p:cNvPr>
          <p:cNvSpPr/>
          <p:nvPr/>
        </p:nvSpPr>
        <p:spPr bwMode="gray">
          <a:xfrm>
            <a:off x="765522" y="2008048"/>
            <a:ext cx="4297680" cy="4036723"/>
          </a:xfrm>
          <a:custGeom>
            <a:avLst/>
            <a:gdLst/>
            <a:ahLst/>
            <a:cxnLst/>
            <a:rect l="l" t="t" r="r" b="b"/>
            <a:pathLst>
              <a:path w="4297680" h="4036723">
                <a:moveTo>
                  <a:pt x="0" y="0"/>
                </a:moveTo>
                <a:cubicBezTo>
                  <a:pt x="787469" y="0"/>
                  <a:pt x="787469" y="0"/>
                  <a:pt x="787469" y="0"/>
                </a:cubicBezTo>
                <a:cubicBezTo>
                  <a:pt x="794500" y="12303"/>
                  <a:pt x="785711" y="24607"/>
                  <a:pt x="783953" y="36911"/>
                </a:cubicBezTo>
                <a:cubicBezTo>
                  <a:pt x="782196" y="47457"/>
                  <a:pt x="782196" y="61518"/>
                  <a:pt x="787469" y="70306"/>
                </a:cubicBezTo>
                <a:cubicBezTo>
                  <a:pt x="790984" y="77337"/>
                  <a:pt x="792742" y="79094"/>
                  <a:pt x="794500" y="86125"/>
                </a:cubicBezTo>
                <a:cubicBezTo>
                  <a:pt x="794500" y="91398"/>
                  <a:pt x="794500" y="96671"/>
                  <a:pt x="794500" y="101944"/>
                </a:cubicBezTo>
                <a:cubicBezTo>
                  <a:pt x="794500" y="116005"/>
                  <a:pt x="787469" y="123036"/>
                  <a:pt x="785711" y="135339"/>
                </a:cubicBezTo>
                <a:cubicBezTo>
                  <a:pt x="782196" y="156431"/>
                  <a:pt x="782196" y="186311"/>
                  <a:pt x="787469" y="207403"/>
                </a:cubicBezTo>
                <a:cubicBezTo>
                  <a:pt x="792742" y="226738"/>
                  <a:pt x="790984" y="247829"/>
                  <a:pt x="789227" y="268921"/>
                </a:cubicBezTo>
                <a:cubicBezTo>
                  <a:pt x="785711" y="291771"/>
                  <a:pt x="789227" y="316378"/>
                  <a:pt x="789227" y="340985"/>
                </a:cubicBezTo>
                <a:cubicBezTo>
                  <a:pt x="789227" y="362077"/>
                  <a:pt x="796257" y="384927"/>
                  <a:pt x="789227" y="406019"/>
                </a:cubicBezTo>
                <a:cubicBezTo>
                  <a:pt x="782196" y="432383"/>
                  <a:pt x="766376" y="455233"/>
                  <a:pt x="759345" y="481598"/>
                </a:cubicBezTo>
                <a:cubicBezTo>
                  <a:pt x="755829" y="495659"/>
                  <a:pt x="754072" y="506205"/>
                  <a:pt x="755829" y="520266"/>
                </a:cubicBezTo>
                <a:cubicBezTo>
                  <a:pt x="757587" y="532570"/>
                  <a:pt x="755829" y="550146"/>
                  <a:pt x="761103" y="564208"/>
                </a:cubicBezTo>
                <a:cubicBezTo>
                  <a:pt x="764618" y="572996"/>
                  <a:pt x="775165" y="574754"/>
                  <a:pt x="782196" y="583542"/>
                </a:cubicBezTo>
                <a:cubicBezTo>
                  <a:pt x="789227" y="594088"/>
                  <a:pt x="787469" y="608149"/>
                  <a:pt x="785711" y="618695"/>
                </a:cubicBezTo>
                <a:cubicBezTo>
                  <a:pt x="783953" y="629241"/>
                  <a:pt x="785711" y="641545"/>
                  <a:pt x="783953" y="652090"/>
                </a:cubicBezTo>
                <a:cubicBezTo>
                  <a:pt x="782196" y="664394"/>
                  <a:pt x="773407" y="674940"/>
                  <a:pt x="771649" y="687244"/>
                </a:cubicBezTo>
                <a:cubicBezTo>
                  <a:pt x="769891" y="704820"/>
                  <a:pt x="773407" y="704820"/>
                  <a:pt x="782196" y="717124"/>
                </a:cubicBezTo>
                <a:cubicBezTo>
                  <a:pt x="785711" y="722397"/>
                  <a:pt x="789227" y="731185"/>
                  <a:pt x="785711" y="738216"/>
                </a:cubicBezTo>
                <a:cubicBezTo>
                  <a:pt x="783953" y="743489"/>
                  <a:pt x="776922" y="747004"/>
                  <a:pt x="775165" y="752277"/>
                </a:cubicBezTo>
                <a:cubicBezTo>
                  <a:pt x="773407" y="762823"/>
                  <a:pt x="778680" y="778642"/>
                  <a:pt x="787469" y="785672"/>
                </a:cubicBezTo>
                <a:cubicBezTo>
                  <a:pt x="799773" y="797976"/>
                  <a:pt x="827897" y="805007"/>
                  <a:pt x="826139" y="829614"/>
                </a:cubicBezTo>
                <a:cubicBezTo>
                  <a:pt x="822624" y="847190"/>
                  <a:pt x="824381" y="840160"/>
                  <a:pt x="838443" y="845433"/>
                </a:cubicBezTo>
                <a:cubicBezTo>
                  <a:pt x="848990" y="848948"/>
                  <a:pt x="852505" y="863009"/>
                  <a:pt x="857778" y="873555"/>
                </a:cubicBezTo>
                <a:cubicBezTo>
                  <a:pt x="868325" y="896405"/>
                  <a:pt x="863052" y="924527"/>
                  <a:pt x="863052" y="949134"/>
                </a:cubicBezTo>
                <a:cubicBezTo>
                  <a:pt x="863052" y="971984"/>
                  <a:pt x="859536" y="998349"/>
                  <a:pt x="856021" y="1019441"/>
                </a:cubicBezTo>
                <a:cubicBezTo>
                  <a:pt x="852505" y="1049321"/>
                  <a:pt x="838443" y="1077443"/>
                  <a:pt x="827897" y="1105566"/>
                </a:cubicBezTo>
                <a:cubicBezTo>
                  <a:pt x="819108" y="1131931"/>
                  <a:pt x="813835" y="1158296"/>
                  <a:pt x="801531" y="1184660"/>
                </a:cubicBezTo>
                <a:cubicBezTo>
                  <a:pt x="790984" y="1207510"/>
                  <a:pt x="775165" y="1230360"/>
                  <a:pt x="764618" y="1251451"/>
                </a:cubicBezTo>
                <a:cubicBezTo>
                  <a:pt x="754072" y="1276059"/>
                  <a:pt x="743525" y="1302423"/>
                  <a:pt x="732979" y="1328788"/>
                </a:cubicBezTo>
                <a:cubicBezTo>
                  <a:pt x="729463" y="1339334"/>
                  <a:pt x="722432" y="1346365"/>
                  <a:pt x="722432" y="1358668"/>
                </a:cubicBezTo>
                <a:cubicBezTo>
                  <a:pt x="720675" y="1370972"/>
                  <a:pt x="724190" y="1385033"/>
                  <a:pt x="734737" y="1390306"/>
                </a:cubicBezTo>
                <a:cubicBezTo>
                  <a:pt x="747041" y="1395579"/>
                  <a:pt x="762860" y="1390306"/>
                  <a:pt x="768134" y="1378003"/>
                </a:cubicBezTo>
                <a:cubicBezTo>
                  <a:pt x="769891" y="1370972"/>
                  <a:pt x="769891" y="1363941"/>
                  <a:pt x="768134" y="1356911"/>
                </a:cubicBezTo>
                <a:cubicBezTo>
                  <a:pt x="768134" y="1351638"/>
                  <a:pt x="762860" y="1342850"/>
                  <a:pt x="762860" y="1335819"/>
                </a:cubicBezTo>
                <a:cubicBezTo>
                  <a:pt x="764618" y="1320000"/>
                  <a:pt x="789227" y="1320000"/>
                  <a:pt x="799773" y="1314727"/>
                </a:cubicBezTo>
                <a:cubicBezTo>
                  <a:pt x="813835" y="1305939"/>
                  <a:pt x="817350" y="1297150"/>
                  <a:pt x="824381" y="1283089"/>
                </a:cubicBezTo>
                <a:cubicBezTo>
                  <a:pt x="820866" y="1276059"/>
                  <a:pt x="813835" y="1276059"/>
                  <a:pt x="813835" y="1265513"/>
                </a:cubicBezTo>
                <a:cubicBezTo>
                  <a:pt x="813835" y="1253209"/>
                  <a:pt x="819108" y="1251451"/>
                  <a:pt x="829655" y="1253209"/>
                </a:cubicBezTo>
                <a:cubicBezTo>
                  <a:pt x="848990" y="1256724"/>
                  <a:pt x="859536" y="1258482"/>
                  <a:pt x="878871" y="1251451"/>
                </a:cubicBezTo>
                <a:cubicBezTo>
                  <a:pt x="891176" y="1247936"/>
                  <a:pt x="894691" y="1249694"/>
                  <a:pt x="891176" y="1235632"/>
                </a:cubicBezTo>
                <a:cubicBezTo>
                  <a:pt x="889418" y="1225087"/>
                  <a:pt x="889418" y="1219814"/>
                  <a:pt x="894691" y="1209268"/>
                </a:cubicBezTo>
                <a:cubicBezTo>
                  <a:pt x="898207" y="1198722"/>
                  <a:pt x="903480" y="1195206"/>
                  <a:pt x="910511" y="1188176"/>
                </a:cubicBezTo>
                <a:cubicBezTo>
                  <a:pt x="917542" y="1181145"/>
                  <a:pt x="915784" y="1174115"/>
                  <a:pt x="915784" y="1165326"/>
                </a:cubicBezTo>
                <a:cubicBezTo>
                  <a:pt x="917542" y="1165326"/>
                  <a:pt x="926330" y="1158296"/>
                  <a:pt x="928088" y="1156538"/>
                </a:cubicBezTo>
                <a:cubicBezTo>
                  <a:pt x="931604" y="1153023"/>
                  <a:pt x="929846" y="1147750"/>
                  <a:pt x="933361" y="1142477"/>
                </a:cubicBezTo>
                <a:cubicBezTo>
                  <a:pt x="938635" y="1131931"/>
                  <a:pt x="950939" y="1130173"/>
                  <a:pt x="959728" y="1121385"/>
                </a:cubicBezTo>
                <a:cubicBezTo>
                  <a:pt x="965001" y="1114354"/>
                  <a:pt x="973789" y="1112597"/>
                  <a:pt x="979063" y="1107324"/>
                </a:cubicBezTo>
                <a:cubicBezTo>
                  <a:pt x="982578" y="1103808"/>
                  <a:pt x="984336" y="1096778"/>
                  <a:pt x="986094" y="1096778"/>
                </a:cubicBezTo>
                <a:cubicBezTo>
                  <a:pt x="991367" y="1093262"/>
                  <a:pt x="991367" y="1096778"/>
                  <a:pt x="996640" y="1096778"/>
                </a:cubicBezTo>
                <a:cubicBezTo>
                  <a:pt x="1000156" y="1096778"/>
                  <a:pt x="998398" y="1103808"/>
                  <a:pt x="1003671" y="1096778"/>
                </a:cubicBezTo>
                <a:lnTo>
                  <a:pt x="1003671" y="1082716"/>
                </a:lnTo>
                <a:cubicBezTo>
                  <a:pt x="1019491" y="1082716"/>
                  <a:pt x="1014218" y="1068655"/>
                  <a:pt x="1019491" y="1061624"/>
                </a:cubicBezTo>
                <a:cubicBezTo>
                  <a:pt x="1024764" y="1054594"/>
                  <a:pt x="1040584" y="1044048"/>
                  <a:pt x="1047615" y="1038775"/>
                </a:cubicBezTo>
                <a:cubicBezTo>
                  <a:pt x="1051130" y="1035260"/>
                  <a:pt x="1056403" y="1031744"/>
                  <a:pt x="1059919" y="1026471"/>
                </a:cubicBezTo>
                <a:lnTo>
                  <a:pt x="1066291" y="1020759"/>
                </a:lnTo>
                <a:cubicBezTo>
                  <a:pt x="1067389" y="1020320"/>
                  <a:pt x="1068707" y="1021198"/>
                  <a:pt x="1073981" y="1022956"/>
                </a:cubicBezTo>
                <a:cubicBezTo>
                  <a:pt x="1079254" y="1022956"/>
                  <a:pt x="1079254" y="1028229"/>
                  <a:pt x="1088043" y="1026471"/>
                </a:cubicBezTo>
                <a:cubicBezTo>
                  <a:pt x="1093316" y="1026471"/>
                  <a:pt x="1098589" y="1017683"/>
                  <a:pt x="1103862" y="1015925"/>
                </a:cubicBezTo>
                <a:cubicBezTo>
                  <a:pt x="1107378" y="1012410"/>
                  <a:pt x="1114409" y="1007137"/>
                  <a:pt x="1121440" y="1010652"/>
                </a:cubicBezTo>
                <a:cubicBezTo>
                  <a:pt x="1126713" y="1014168"/>
                  <a:pt x="1123198" y="1021198"/>
                  <a:pt x="1131986" y="1019441"/>
                </a:cubicBezTo>
                <a:cubicBezTo>
                  <a:pt x="1144290" y="1019441"/>
                  <a:pt x="1135502" y="1003622"/>
                  <a:pt x="1142533" y="996591"/>
                </a:cubicBezTo>
                <a:cubicBezTo>
                  <a:pt x="1153079" y="987803"/>
                  <a:pt x="1161868" y="1000107"/>
                  <a:pt x="1172414" y="996591"/>
                </a:cubicBezTo>
                <a:cubicBezTo>
                  <a:pt x="1179445" y="994834"/>
                  <a:pt x="1177688" y="987803"/>
                  <a:pt x="1181203" y="982530"/>
                </a:cubicBezTo>
                <a:cubicBezTo>
                  <a:pt x="1184719" y="979015"/>
                  <a:pt x="1191749" y="975499"/>
                  <a:pt x="1197023" y="973742"/>
                </a:cubicBezTo>
                <a:cubicBezTo>
                  <a:pt x="1204054" y="970226"/>
                  <a:pt x="1209327" y="966711"/>
                  <a:pt x="1214600" y="963196"/>
                </a:cubicBezTo>
                <a:cubicBezTo>
                  <a:pt x="1219873" y="961438"/>
                  <a:pt x="1228662" y="961438"/>
                  <a:pt x="1233935" y="956165"/>
                </a:cubicBezTo>
                <a:cubicBezTo>
                  <a:pt x="1237451" y="954407"/>
                  <a:pt x="1240966" y="943862"/>
                  <a:pt x="1244482" y="940346"/>
                </a:cubicBezTo>
                <a:cubicBezTo>
                  <a:pt x="1249755" y="933316"/>
                  <a:pt x="1251513" y="929800"/>
                  <a:pt x="1260301" y="928043"/>
                </a:cubicBezTo>
                <a:cubicBezTo>
                  <a:pt x="1276121" y="922770"/>
                  <a:pt x="1291941" y="921012"/>
                  <a:pt x="1306003" y="917497"/>
                </a:cubicBezTo>
                <a:cubicBezTo>
                  <a:pt x="1314791" y="913981"/>
                  <a:pt x="1321822" y="905193"/>
                  <a:pt x="1332369" y="905193"/>
                </a:cubicBezTo>
                <a:cubicBezTo>
                  <a:pt x="1341158" y="906951"/>
                  <a:pt x="1348189" y="917497"/>
                  <a:pt x="1360493" y="913981"/>
                </a:cubicBezTo>
                <a:cubicBezTo>
                  <a:pt x="1372797" y="908708"/>
                  <a:pt x="1367524" y="896405"/>
                  <a:pt x="1371039" y="887616"/>
                </a:cubicBezTo>
                <a:cubicBezTo>
                  <a:pt x="1378070" y="875313"/>
                  <a:pt x="1393890" y="870040"/>
                  <a:pt x="1406194" y="868282"/>
                </a:cubicBezTo>
                <a:cubicBezTo>
                  <a:pt x="1422014" y="864767"/>
                  <a:pt x="1432560" y="875313"/>
                  <a:pt x="1448380" y="878828"/>
                </a:cubicBezTo>
                <a:cubicBezTo>
                  <a:pt x="1453653" y="878828"/>
                  <a:pt x="1469473" y="882344"/>
                  <a:pt x="1474746" y="877071"/>
                </a:cubicBezTo>
                <a:cubicBezTo>
                  <a:pt x="1480019" y="870040"/>
                  <a:pt x="1472988" y="866525"/>
                  <a:pt x="1469473" y="861252"/>
                </a:cubicBezTo>
                <a:cubicBezTo>
                  <a:pt x="1465957" y="857736"/>
                  <a:pt x="1453653" y="831371"/>
                  <a:pt x="1467715" y="834887"/>
                </a:cubicBezTo>
                <a:cubicBezTo>
                  <a:pt x="1469473" y="840160"/>
                  <a:pt x="1471231" y="845433"/>
                  <a:pt x="1478261" y="845433"/>
                </a:cubicBezTo>
                <a:cubicBezTo>
                  <a:pt x="1487050" y="845433"/>
                  <a:pt x="1483535" y="841917"/>
                  <a:pt x="1487050" y="836644"/>
                </a:cubicBezTo>
                <a:cubicBezTo>
                  <a:pt x="1495839" y="827856"/>
                  <a:pt x="1504628" y="827856"/>
                  <a:pt x="1515174" y="822583"/>
                </a:cubicBezTo>
                <a:cubicBezTo>
                  <a:pt x="1525721" y="819068"/>
                  <a:pt x="1539782" y="819068"/>
                  <a:pt x="1548571" y="813795"/>
                </a:cubicBezTo>
                <a:cubicBezTo>
                  <a:pt x="1560875" y="808522"/>
                  <a:pt x="1566149" y="794461"/>
                  <a:pt x="1580211" y="790945"/>
                </a:cubicBezTo>
                <a:cubicBezTo>
                  <a:pt x="1583726" y="776884"/>
                  <a:pt x="1604819" y="769853"/>
                  <a:pt x="1611850" y="755792"/>
                </a:cubicBezTo>
                <a:cubicBezTo>
                  <a:pt x="1617123" y="747004"/>
                  <a:pt x="1620639" y="718881"/>
                  <a:pt x="1636458" y="722397"/>
                </a:cubicBezTo>
                <a:cubicBezTo>
                  <a:pt x="1643489" y="724154"/>
                  <a:pt x="1638216" y="764581"/>
                  <a:pt x="1645247" y="773369"/>
                </a:cubicBezTo>
                <a:cubicBezTo>
                  <a:pt x="1655793" y="785672"/>
                  <a:pt x="1668098" y="776884"/>
                  <a:pt x="1678644" y="771611"/>
                </a:cubicBezTo>
                <a:cubicBezTo>
                  <a:pt x="1683917" y="768096"/>
                  <a:pt x="1696222" y="759308"/>
                  <a:pt x="1703252" y="759308"/>
                </a:cubicBezTo>
                <a:cubicBezTo>
                  <a:pt x="1710283" y="761065"/>
                  <a:pt x="1706768" y="769853"/>
                  <a:pt x="1715557" y="773369"/>
                </a:cubicBezTo>
                <a:cubicBezTo>
                  <a:pt x="1727861" y="776884"/>
                  <a:pt x="1731376" y="764581"/>
                  <a:pt x="1740165" y="757550"/>
                </a:cubicBezTo>
                <a:cubicBezTo>
                  <a:pt x="1750712" y="750519"/>
                  <a:pt x="1759500" y="755792"/>
                  <a:pt x="1771804" y="759308"/>
                </a:cubicBezTo>
                <a:cubicBezTo>
                  <a:pt x="1778835" y="761065"/>
                  <a:pt x="1785866" y="759308"/>
                  <a:pt x="1791140" y="762823"/>
                </a:cubicBezTo>
                <a:cubicBezTo>
                  <a:pt x="1796413" y="766338"/>
                  <a:pt x="1801686" y="775126"/>
                  <a:pt x="1808717" y="773369"/>
                </a:cubicBezTo>
                <a:cubicBezTo>
                  <a:pt x="1813990" y="771611"/>
                  <a:pt x="1817506" y="762823"/>
                  <a:pt x="1822779" y="759308"/>
                </a:cubicBezTo>
                <a:cubicBezTo>
                  <a:pt x="1828052" y="754035"/>
                  <a:pt x="1831568" y="754035"/>
                  <a:pt x="1840356" y="752277"/>
                </a:cubicBezTo>
                <a:cubicBezTo>
                  <a:pt x="1857934" y="750519"/>
                  <a:pt x="1877269" y="747004"/>
                  <a:pt x="1896604" y="747004"/>
                </a:cubicBezTo>
                <a:cubicBezTo>
                  <a:pt x="1907151" y="747004"/>
                  <a:pt x="1914182" y="754035"/>
                  <a:pt x="1922970" y="762823"/>
                </a:cubicBezTo>
                <a:cubicBezTo>
                  <a:pt x="1930001" y="768096"/>
                  <a:pt x="1944063" y="785672"/>
                  <a:pt x="1938790" y="764581"/>
                </a:cubicBezTo>
                <a:cubicBezTo>
                  <a:pt x="1933517" y="764581"/>
                  <a:pt x="1930001" y="757550"/>
                  <a:pt x="1931759" y="750519"/>
                </a:cubicBezTo>
                <a:cubicBezTo>
                  <a:pt x="1942305" y="748762"/>
                  <a:pt x="1954610" y="759308"/>
                  <a:pt x="1963398" y="757550"/>
                </a:cubicBezTo>
                <a:cubicBezTo>
                  <a:pt x="1968672" y="755792"/>
                  <a:pt x="1970429" y="752277"/>
                  <a:pt x="1975703" y="750519"/>
                </a:cubicBezTo>
                <a:cubicBezTo>
                  <a:pt x="1979218" y="748762"/>
                  <a:pt x="1986249" y="750519"/>
                  <a:pt x="1989764" y="748762"/>
                </a:cubicBezTo>
                <a:cubicBezTo>
                  <a:pt x="2002069" y="747004"/>
                  <a:pt x="2010857" y="745246"/>
                  <a:pt x="2023162" y="748762"/>
                </a:cubicBezTo>
                <a:cubicBezTo>
                  <a:pt x="2035466" y="750519"/>
                  <a:pt x="2047770" y="747004"/>
                  <a:pt x="2058316" y="748762"/>
                </a:cubicBezTo>
                <a:cubicBezTo>
                  <a:pt x="2068863" y="750519"/>
                  <a:pt x="2086440" y="762823"/>
                  <a:pt x="2089956" y="745246"/>
                </a:cubicBezTo>
                <a:cubicBezTo>
                  <a:pt x="2093471" y="729427"/>
                  <a:pt x="2075894" y="734700"/>
                  <a:pt x="2079409" y="718881"/>
                </a:cubicBezTo>
                <a:cubicBezTo>
                  <a:pt x="2081167" y="708336"/>
                  <a:pt x="2086440" y="703063"/>
                  <a:pt x="2082925" y="690759"/>
                </a:cubicBezTo>
                <a:cubicBezTo>
                  <a:pt x="2081167" y="681971"/>
                  <a:pt x="2074136" y="666152"/>
                  <a:pt x="2063590" y="666152"/>
                </a:cubicBezTo>
                <a:cubicBezTo>
                  <a:pt x="2063590" y="655606"/>
                  <a:pt x="2063590" y="648575"/>
                  <a:pt x="2060074" y="639787"/>
                </a:cubicBezTo>
                <a:cubicBezTo>
                  <a:pt x="2056559" y="629241"/>
                  <a:pt x="2047770" y="627483"/>
                  <a:pt x="2040739" y="622210"/>
                </a:cubicBezTo>
                <a:cubicBezTo>
                  <a:pt x="2031950" y="616937"/>
                  <a:pt x="2031950" y="611664"/>
                  <a:pt x="2028435" y="601118"/>
                </a:cubicBezTo>
                <a:cubicBezTo>
                  <a:pt x="2024919" y="592330"/>
                  <a:pt x="2021404" y="587057"/>
                  <a:pt x="2016131" y="580027"/>
                </a:cubicBezTo>
                <a:cubicBezTo>
                  <a:pt x="2007342" y="565965"/>
                  <a:pt x="1998553" y="551904"/>
                  <a:pt x="1986249" y="537843"/>
                </a:cubicBezTo>
                <a:cubicBezTo>
                  <a:pt x="1970429" y="522024"/>
                  <a:pt x="1912424" y="509720"/>
                  <a:pt x="1914182" y="485113"/>
                </a:cubicBezTo>
                <a:cubicBezTo>
                  <a:pt x="1924728" y="483355"/>
                  <a:pt x="1928244" y="492144"/>
                  <a:pt x="1935274" y="497417"/>
                </a:cubicBezTo>
                <a:cubicBezTo>
                  <a:pt x="1944063" y="504447"/>
                  <a:pt x="1952852" y="507963"/>
                  <a:pt x="1961641" y="514993"/>
                </a:cubicBezTo>
                <a:cubicBezTo>
                  <a:pt x="1972187" y="520266"/>
                  <a:pt x="1980976" y="525539"/>
                  <a:pt x="1989764" y="530812"/>
                </a:cubicBezTo>
                <a:cubicBezTo>
                  <a:pt x="2002069" y="536085"/>
                  <a:pt x="2002069" y="541358"/>
                  <a:pt x="2009100" y="553662"/>
                </a:cubicBezTo>
                <a:cubicBezTo>
                  <a:pt x="2014373" y="564208"/>
                  <a:pt x="2021404" y="574754"/>
                  <a:pt x="2026677" y="585300"/>
                </a:cubicBezTo>
                <a:cubicBezTo>
                  <a:pt x="2030193" y="594088"/>
                  <a:pt x="2033708" y="606391"/>
                  <a:pt x="2038981" y="611664"/>
                </a:cubicBezTo>
                <a:cubicBezTo>
                  <a:pt x="2046012" y="620453"/>
                  <a:pt x="2056559" y="616937"/>
                  <a:pt x="2065347" y="622210"/>
                </a:cubicBezTo>
                <a:cubicBezTo>
                  <a:pt x="2075894" y="630999"/>
                  <a:pt x="2072378" y="643302"/>
                  <a:pt x="2075894" y="655606"/>
                </a:cubicBezTo>
                <a:cubicBezTo>
                  <a:pt x="2077652" y="660879"/>
                  <a:pt x="2084683" y="671425"/>
                  <a:pt x="2088198" y="676698"/>
                </a:cubicBezTo>
                <a:cubicBezTo>
                  <a:pt x="2095229" y="685486"/>
                  <a:pt x="2095229" y="685486"/>
                  <a:pt x="2096987" y="696032"/>
                </a:cubicBezTo>
                <a:cubicBezTo>
                  <a:pt x="2100502" y="713608"/>
                  <a:pt x="2114564" y="734700"/>
                  <a:pt x="2132142" y="738216"/>
                </a:cubicBezTo>
                <a:cubicBezTo>
                  <a:pt x="2153234" y="741731"/>
                  <a:pt x="2160265" y="729427"/>
                  <a:pt x="2179601" y="722397"/>
                </a:cubicBezTo>
                <a:cubicBezTo>
                  <a:pt x="2190147" y="717124"/>
                  <a:pt x="2198936" y="727670"/>
                  <a:pt x="2207724" y="724154"/>
                </a:cubicBezTo>
                <a:cubicBezTo>
                  <a:pt x="2216513" y="722397"/>
                  <a:pt x="2211240" y="710093"/>
                  <a:pt x="2214755" y="703063"/>
                </a:cubicBezTo>
                <a:cubicBezTo>
                  <a:pt x="2228817" y="701305"/>
                  <a:pt x="2242879" y="699547"/>
                  <a:pt x="2253426" y="710093"/>
                </a:cubicBezTo>
                <a:cubicBezTo>
                  <a:pt x="2262214" y="718881"/>
                  <a:pt x="2263972" y="720639"/>
                  <a:pt x="2278034" y="720639"/>
                </a:cubicBezTo>
                <a:cubicBezTo>
                  <a:pt x="2286823" y="720639"/>
                  <a:pt x="2293854" y="724154"/>
                  <a:pt x="2297369" y="715366"/>
                </a:cubicBezTo>
                <a:cubicBezTo>
                  <a:pt x="2302643" y="708336"/>
                  <a:pt x="2300885" y="692517"/>
                  <a:pt x="2297369" y="685486"/>
                </a:cubicBezTo>
                <a:cubicBezTo>
                  <a:pt x="2295612" y="680213"/>
                  <a:pt x="2292096" y="676698"/>
                  <a:pt x="2292096" y="669667"/>
                </a:cubicBezTo>
                <a:cubicBezTo>
                  <a:pt x="2292096" y="660879"/>
                  <a:pt x="2295612" y="655606"/>
                  <a:pt x="2297369" y="650333"/>
                </a:cubicBezTo>
                <a:cubicBezTo>
                  <a:pt x="2300885" y="627483"/>
                  <a:pt x="2299127" y="604634"/>
                  <a:pt x="2299127" y="581784"/>
                </a:cubicBezTo>
                <a:cubicBezTo>
                  <a:pt x="2299127" y="572996"/>
                  <a:pt x="2299127" y="565965"/>
                  <a:pt x="2304400" y="558935"/>
                </a:cubicBezTo>
                <a:cubicBezTo>
                  <a:pt x="2309674" y="551904"/>
                  <a:pt x="2318462" y="546631"/>
                  <a:pt x="2318462" y="537843"/>
                </a:cubicBezTo>
                <a:cubicBezTo>
                  <a:pt x="2318462" y="525539"/>
                  <a:pt x="2306158" y="520266"/>
                  <a:pt x="2306158" y="506205"/>
                </a:cubicBezTo>
                <a:cubicBezTo>
                  <a:pt x="2316704" y="509720"/>
                  <a:pt x="2323735" y="539600"/>
                  <a:pt x="2321978" y="548389"/>
                </a:cubicBezTo>
                <a:cubicBezTo>
                  <a:pt x="2320220" y="560692"/>
                  <a:pt x="2311431" y="560692"/>
                  <a:pt x="2306158" y="569481"/>
                </a:cubicBezTo>
                <a:cubicBezTo>
                  <a:pt x="2304400" y="576511"/>
                  <a:pt x="2304400" y="590573"/>
                  <a:pt x="2302643" y="597603"/>
                </a:cubicBezTo>
                <a:cubicBezTo>
                  <a:pt x="2300885" y="611664"/>
                  <a:pt x="2300885" y="630999"/>
                  <a:pt x="2304400" y="645060"/>
                </a:cubicBezTo>
                <a:cubicBezTo>
                  <a:pt x="2306158" y="657363"/>
                  <a:pt x="2311431" y="667909"/>
                  <a:pt x="2313189" y="680213"/>
                </a:cubicBezTo>
                <a:cubicBezTo>
                  <a:pt x="2313189" y="687244"/>
                  <a:pt x="2313189" y="699547"/>
                  <a:pt x="2321978" y="704820"/>
                </a:cubicBezTo>
                <a:cubicBezTo>
                  <a:pt x="2329009" y="710093"/>
                  <a:pt x="2341313" y="704820"/>
                  <a:pt x="2350102" y="710093"/>
                </a:cubicBezTo>
                <a:cubicBezTo>
                  <a:pt x="2357133" y="713608"/>
                  <a:pt x="2364164" y="722397"/>
                  <a:pt x="2374710" y="718881"/>
                </a:cubicBezTo>
                <a:cubicBezTo>
                  <a:pt x="2385256" y="715366"/>
                  <a:pt x="2381741" y="703063"/>
                  <a:pt x="2385256" y="694274"/>
                </a:cubicBezTo>
                <a:cubicBezTo>
                  <a:pt x="2387014" y="683728"/>
                  <a:pt x="2394045" y="669667"/>
                  <a:pt x="2408107" y="671425"/>
                </a:cubicBezTo>
                <a:cubicBezTo>
                  <a:pt x="2416896" y="674940"/>
                  <a:pt x="2422169" y="681971"/>
                  <a:pt x="2434473" y="681971"/>
                </a:cubicBezTo>
                <a:cubicBezTo>
                  <a:pt x="2446777" y="683728"/>
                  <a:pt x="2457324" y="680213"/>
                  <a:pt x="2467870" y="678455"/>
                </a:cubicBezTo>
                <a:cubicBezTo>
                  <a:pt x="2474901" y="678455"/>
                  <a:pt x="2494236" y="680213"/>
                  <a:pt x="2499510" y="685486"/>
                </a:cubicBezTo>
                <a:cubicBezTo>
                  <a:pt x="2506541" y="692517"/>
                  <a:pt x="2501267" y="701305"/>
                  <a:pt x="2495994" y="708336"/>
                </a:cubicBezTo>
                <a:cubicBezTo>
                  <a:pt x="2511814" y="717124"/>
                  <a:pt x="2520603" y="701305"/>
                  <a:pt x="2531149" y="696032"/>
                </a:cubicBezTo>
                <a:cubicBezTo>
                  <a:pt x="2536422" y="692517"/>
                  <a:pt x="2543453" y="692517"/>
                  <a:pt x="2546969" y="689001"/>
                </a:cubicBezTo>
                <a:cubicBezTo>
                  <a:pt x="2552242" y="687244"/>
                  <a:pt x="2554000" y="680213"/>
                  <a:pt x="2561031" y="678455"/>
                </a:cubicBezTo>
                <a:cubicBezTo>
                  <a:pt x="2561031" y="685486"/>
                  <a:pt x="2571577" y="689001"/>
                  <a:pt x="2578608" y="687244"/>
                </a:cubicBezTo>
                <a:cubicBezTo>
                  <a:pt x="2585639" y="685486"/>
                  <a:pt x="2582124" y="687244"/>
                  <a:pt x="2587397" y="681971"/>
                </a:cubicBezTo>
                <a:cubicBezTo>
                  <a:pt x="2590912" y="676698"/>
                  <a:pt x="2587397" y="669667"/>
                  <a:pt x="2596186" y="671425"/>
                </a:cubicBezTo>
                <a:cubicBezTo>
                  <a:pt x="2604974" y="671425"/>
                  <a:pt x="2597943" y="685486"/>
                  <a:pt x="2610247" y="685486"/>
                </a:cubicBezTo>
                <a:cubicBezTo>
                  <a:pt x="2626067" y="685486"/>
                  <a:pt x="2622552" y="669667"/>
                  <a:pt x="2622552" y="659121"/>
                </a:cubicBezTo>
                <a:cubicBezTo>
                  <a:pt x="2633098" y="655606"/>
                  <a:pt x="2652433" y="652090"/>
                  <a:pt x="2664737" y="653848"/>
                </a:cubicBezTo>
                <a:cubicBezTo>
                  <a:pt x="2662980" y="667909"/>
                  <a:pt x="2682315" y="657363"/>
                  <a:pt x="2685830" y="655606"/>
                </a:cubicBezTo>
                <a:lnTo>
                  <a:pt x="2701650" y="648575"/>
                </a:lnTo>
                <a:cubicBezTo>
                  <a:pt x="2705166" y="646818"/>
                  <a:pt x="2710439" y="639787"/>
                  <a:pt x="2712197" y="638029"/>
                </a:cubicBezTo>
                <a:cubicBezTo>
                  <a:pt x="2720985" y="634514"/>
                  <a:pt x="2726258" y="643302"/>
                  <a:pt x="2736805" y="639787"/>
                </a:cubicBezTo>
                <a:cubicBezTo>
                  <a:pt x="2742078" y="639787"/>
                  <a:pt x="2745594" y="634514"/>
                  <a:pt x="2749109" y="632756"/>
                </a:cubicBezTo>
                <a:cubicBezTo>
                  <a:pt x="2754382" y="632756"/>
                  <a:pt x="2759656" y="636272"/>
                  <a:pt x="2763171" y="632756"/>
                </a:cubicBezTo>
                <a:cubicBezTo>
                  <a:pt x="2768444" y="629241"/>
                  <a:pt x="2766687" y="616937"/>
                  <a:pt x="2768444" y="609907"/>
                </a:cubicBezTo>
                <a:cubicBezTo>
                  <a:pt x="2768444" y="604634"/>
                  <a:pt x="2773717" y="592330"/>
                  <a:pt x="2778991" y="592330"/>
                </a:cubicBezTo>
                <a:cubicBezTo>
                  <a:pt x="2789537" y="590573"/>
                  <a:pt x="2786022" y="597603"/>
                  <a:pt x="2786022" y="604634"/>
                </a:cubicBezTo>
                <a:cubicBezTo>
                  <a:pt x="2787779" y="613422"/>
                  <a:pt x="2789537" y="616937"/>
                  <a:pt x="2786022" y="623968"/>
                </a:cubicBezTo>
                <a:cubicBezTo>
                  <a:pt x="2782506" y="627483"/>
                  <a:pt x="2780748" y="623968"/>
                  <a:pt x="2778991" y="629241"/>
                </a:cubicBezTo>
                <a:cubicBezTo>
                  <a:pt x="2777233" y="632756"/>
                  <a:pt x="2778991" y="636272"/>
                  <a:pt x="2782506" y="638029"/>
                </a:cubicBezTo>
                <a:cubicBezTo>
                  <a:pt x="2782506" y="639787"/>
                  <a:pt x="2794810" y="650333"/>
                  <a:pt x="2796568" y="648575"/>
                </a:cubicBezTo>
                <a:cubicBezTo>
                  <a:pt x="2803599" y="646818"/>
                  <a:pt x="2796568" y="634514"/>
                  <a:pt x="2798326" y="630999"/>
                </a:cubicBezTo>
                <a:cubicBezTo>
                  <a:pt x="2800084" y="620453"/>
                  <a:pt x="2810630" y="615180"/>
                  <a:pt x="2817661" y="606391"/>
                </a:cubicBezTo>
                <a:cubicBezTo>
                  <a:pt x="2822934" y="597603"/>
                  <a:pt x="2822934" y="592330"/>
                  <a:pt x="2824692" y="581784"/>
                </a:cubicBezTo>
                <a:cubicBezTo>
                  <a:pt x="2826450" y="565965"/>
                  <a:pt x="2836996" y="564208"/>
                  <a:pt x="2842269" y="551904"/>
                </a:cubicBezTo>
                <a:cubicBezTo>
                  <a:pt x="2845785" y="539600"/>
                  <a:pt x="2836996" y="532570"/>
                  <a:pt x="2842269" y="523782"/>
                </a:cubicBezTo>
                <a:cubicBezTo>
                  <a:pt x="2849300" y="511478"/>
                  <a:pt x="2852816" y="513236"/>
                  <a:pt x="2849300" y="499174"/>
                </a:cubicBezTo>
                <a:cubicBezTo>
                  <a:pt x="2847543" y="488628"/>
                  <a:pt x="2849300" y="478082"/>
                  <a:pt x="2847543" y="467537"/>
                </a:cubicBezTo>
                <a:cubicBezTo>
                  <a:pt x="2845785" y="453475"/>
                  <a:pt x="2842269" y="446445"/>
                  <a:pt x="2831723" y="437656"/>
                </a:cubicBezTo>
                <a:cubicBezTo>
                  <a:pt x="2824692" y="430626"/>
                  <a:pt x="2822934" y="425353"/>
                  <a:pt x="2822934" y="413049"/>
                </a:cubicBezTo>
                <a:cubicBezTo>
                  <a:pt x="2833481" y="413049"/>
                  <a:pt x="2863362" y="409534"/>
                  <a:pt x="2863362" y="395473"/>
                </a:cubicBezTo>
                <a:cubicBezTo>
                  <a:pt x="2865120" y="388442"/>
                  <a:pt x="2858089" y="390200"/>
                  <a:pt x="2856331" y="384927"/>
                </a:cubicBezTo>
                <a:cubicBezTo>
                  <a:pt x="2854574" y="381411"/>
                  <a:pt x="2856331" y="377896"/>
                  <a:pt x="2856331" y="372623"/>
                </a:cubicBezTo>
                <a:cubicBezTo>
                  <a:pt x="2854574" y="363835"/>
                  <a:pt x="2859847" y="328682"/>
                  <a:pt x="2852816" y="321651"/>
                </a:cubicBezTo>
                <a:cubicBezTo>
                  <a:pt x="2849300" y="316378"/>
                  <a:pt x="2838754" y="318136"/>
                  <a:pt x="2835238" y="312863"/>
                </a:cubicBezTo>
                <a:cubicBezTo>
                  <a:pt x="2829965" y="305832"/>
                  <a:pt x="2828208" y="298801"/>
                  <a:pt x="2828208" y="291771"/>
                </a:cubicBezTo>
                <a:cubicBezTo>
                  <a:pt x="2835238" y="290013"/>
                  <a:pt x="2842269" y="295286"/>
                  <a:pt x="2847543" y="295286"/>
                </a:cubicBezTo>
                <a:cubicBezTo>
                  <a:pt x="2856331" y="297044"/>
                  <a:pt x="2863362" y="291771"/>
                  <a:pt x="2872151" y="293529"/>
                </a:cubicBezTo>
                <a:cubicBezTo>
                  <a:pt x="2873909" y="298801"/>
                  <a:pt x="2872151" y="307590"/>
                  <a:pt x="2873909" y="312863"/>
                </a:cubicBezTo>
                <a:cubicBezTo>
                  <a:pt x="2879182" y="321651"/>
                  <a:pt x="2884455" y="318136"/>
                  <a:pt x="2887971" y="311105"/>
                </a:cubicBezTo>
                <a:cubicBezTo>
                  <a:pt x="2889728" y="307590"/>
                  <a:pt x="2886213" y="302317"/>
                  <a:pt x="2887971" y="297044"/>
                </a:cubicBezTo>
                <a:cubicBezTo>
                  <a:pt x="2891486" y="291771"/>
                  <a:pt x="2896759" y="290013"/>
                  <a:pt x="2898517" y="284740"/>
                </a:cubicBezTo>
                <a:cubicBezTo>
                  <a:pt x="2902033" y="270679"/>
                  <a:pt x="2891486" y="267164"/>
                  <a:pt x="2886213" y="258375"/>
                </a:cubicBezTo>
                <a:cubicBezTo>
                  <a:pt x="2879182" y="246072"/>
                  <a:pt x="2880940" y="233768"/>
                  <a:pt x="2880940" y="219707"/>
                </a:cubicBezTo>
                <a:cubicBezTo>
                  <a:pt x="2879182" y="207403"/>
                  <a:pt x="2875667" y="196857"/>
                  <a:pt x="2875667" y="184554"/>
                </a:cubicBezTo>
                <a:cubicBezTo>
                  <a:pt x="2875667" y="179281"/>
                  <a:pt x="2873909" y="174008"/>
                  <a:pt x="2880940" y="174008"/>
                </a:cubicBezTo>
                <a:cubicBezTo>
                  <a:pt x="2889728" y="174008"/>
                  <a:pt x="2886213" y="182796"/>
                  <a:pt x="2886213" y="189827"/>
                </a:cubicBezTo>
                <a:cubicBezTo>
                  <a:pt x="2886213" y="203888"/>
                  <a:pt x="2891486" y="216192"/>
                  <a:pt x="2891486" y="230253"/>
                </a:cubicBezTo>
                <a:cubicBezTo>
                  <a:pt x="2891486" y="247829"/>
                  <a:pt x="2895002" y="251345"/>
                  <a:pt x="2910821" y="251345"/>
                </a:cubicBezTo>
                <a:cubicBezTo>
                  <a:pt x="2924883" y="251345"/>
                  <a:pt x="2930157" y="249587"/>
                  <a:pt x="2933672" y="261891"/>
                </a:cubicBezTo>
                <a:cubicBezTo>
                  <a:pt x="2945976" y="260133"/>
                  <a:pt x="2951249" y="274194"/>
                  <a:pt x="2951249" y="282983"/>
                </a:cubicBezTo>
                <a:cubicBezTo>
                  <a:pt x="2953007" y="297044"/>
                  <a:pt x="2944218" y="298801"/>
                  <a:pt x="2940703" y="311105"/>
                </a:cubicBezTo>
                <a:lnTo>
                  <a:pt x="2939989" y="319674"/>
                </a:lnTo>
                <a:cubicBezTo>
                  <a:pt x="2942131" y="324287"/>
                  <a:pt x="2951689" y="319015"/>
                  <a:pt x="2958280" y="321651"/>
                </a:cubicBezTo>
                <a:cubicBezTo>
                  <a:pt x="2972342" y="326924"/>
                  <a:pt x="2963554" y="346258"/>
                  <a:pt x="2982889" y="342743"/>
                </a:cubicBezTo>
                <a:cubicBezTo>
                  <a:pt x="2982889" y="335712"/>
                  <a:pt x="2984647" y="330439"/>
                  <a:pt x="2984647" y="323409"/>
                </a:cubicBezTo>
                <a:cubicBezTo>
                  <a:pt x="3009255" y="319893"/>
                  <a:pt x="2984647" y="286498"/>
                  <a:pt x="2986404" y="275952"/>
                </a:cubicBezTo>
                <a:cubicBezTo>
                  <a:pt x="2993435" y="275952"/>
                  <a:pt x="2998709" y="275952"/>
                  <a:pt x="3003982" y="275952"/>
                </a:cubicBezTo>
                <a:cubicBezTo>
                  <a:pt x="3005739" y="268921"/>
                  <a:pt x="3003982" y="261891"/>
                  <a:pt x="3003982" y="256618"/>
                </a:cubicBezTo>
                <a:cubicBezTo>
                  <a:pt x="3014528" y="253102"/>
                  <a:pt x="3023317" y="261891"/>
                  <a:pt x="3021559" y="274194"/>
                </a:cubicBezTo>
                <a:cubicBezTo>
                  <a:pt x="3021559" y="277710"/>
                  <a:pt x="3056714" y="267164"/>
                  <a:pt x="3060229" y="263648"/>
                </a:cubicBezTo>
                <a:cubicBezTo>
                  <a:pt x="3070776" y="253102"/>
                  <a:pt x="3074291" y="230253"/>
                  <a:pt x="3079565" y="216192"/>
                </a:cubicBezTo>
                <a:cubicBezTo>
                  <a:pt x="3083080" y="207403"/>
                  <a:pt x="3090111" y="200373"/>
                  <a:pt x="3093627" y="191584"/>
                </a:cubicBezTo>
                <a:cubicBezTo>
                  <a:pt x="3095384" y="182796"/>
                  <a:pt x="3090111" y="165220"/>
                  <a:pt x="3098900" y="161704"/>
                </a:cubicBezTo>
                <a:cubicBezTo>
                  <a:pt x="3111204" y="181038"/>
                  <a:pt x="3095384" y="207403"/>
                  <a:pt x="3088353" y="224980"/>
                </a:cubicBezTo>
                <a:cubicBezTo>
                  <a:pt x="3083080" y="235526"/>
                  <a:pt x="3074291" y="244314"/>
                  <a:pt x="3069018" y="256618"/>
                </a:cubicBezTo>
                <a:cubicBezTo>
                  <a:pt x="3061987" y="268921"/>
                  <a:pt x="3056714" y="279467"/>
                  <a:pt x="3047925" y="291771"/>
                </a:cubicBezTo>
                <a:cubicBezTo>
                  <a:pt x="3035621" y="309347"/>
                  <a:pt x="3016286" y="325166"/>
                  <a:pt x="3018044" y="351531"/>
                </a:cubicBezTo>
                <a:cubicBezTo>
                  <a:pt x="3019801" y="369108"/>
                  <a:pt x="3021559" y="390200"/>
                  <a:pt x="3021559" y="411292"/>
                </a:cubicBezTo>
                <a:cubicBezTo>
                  <a:pt x="3021559" y="420080"/>
                  <a:pt x="3018044" y="432383"/>
                  <a:pt x="3019801" y="441172"/>
                </a:cubicBezTo>
                <a:cubicBezTo>
                  <a:pt x="3021559" y="451718"/>
                  <a:pt x="3028590" y="456991"/>
                  <a:pt x="3028590" y="471052"/>
                </a:cubicBezTo>
                <a:cubicBezTo>
                  <a:pt x="3026832" y="479840"/>
                  <a:pt x="3023317" y="490386"/>
                  <a:pt x="3021559" y="499174"/>
                </a:cubicBezTo>
                <a:cubicBezTo>
                  <a:pt x="3021559" y="511478"/>
                  <a:pt x="3028590" y="516751"/>
                  <a:pt x="3028590" y="527297"/>
                </a:cubicBezTo>
                <a:cubicBezTo>
                  <a:pt x="3030348" y="537843"/>
                  <a:pt x="3025075" y="555419"/>
                  <a:pt x="3042652" y="551904"/>
                </a:cubicBezTo>
                <a:cubicBezTo>
                  <a:pt x="3054956" y="548389"/>
                  <a:pt x="3058472" y="530812"/>
                  <a:pt x="3067260" y="523782"/>
                </a:cubicBezTo>
                <a:cubicBezTo>
                  <a:pt x="3072534" y="520266"/>
                  <a:pt x="3077807" y="518509"/>
                  <a:pt x="3081322" y="514993"/>
                </a:cubicBezTo>
                <a:cubicBezTo>
                  <a:pt x="3084838" y="511478"/>
                  <a:pt x="3088353" y="504447"/>
                  <a:pt x="3093627" y="499174"/>
                </a:cubicBezTo>
                <a:cubicBezTo>
                  <a:pt x="3098900" y="493901"/>
                  <a:pt x="3093627" y="493901"/>
                  <a:pt x="3102415" y="493901"/>
                </a:cubicBezTo>
                <a:cubicBezTo>
                  <a:pt x="3107689" y="493901"/>
                  <a:pt x="3109446" y="502690"/>
                  <a:pt x="3116477" y="495659"/>
                </a:cubicBezTo>
                <a:cubicBezTo>
                  <a:pt x="3119993" y="490386"/>
                  <a:pt x="3118235" y="481598"/>
                  <a:pt x="3118235" y="476325"/>
                </a:cubicBezTo>
                <a:cubicBezTo>
                  <a:pt x="3105931" y="472810"/>
                  <a:pt x="3098900" y="462264"/>
                  <a:pt x="3100658" y="449960"/>
                </a:cubicBezTo>
                <a:cubicBezTo>
                  <a:pt x="3107689" y="449960"/>
                  <a:pt x="3116477" y="458748"/>
                  <a:pt x="3119993" y="464021"/>
                </a:cubicBezTo>
                <a:cubicBezTo>
                  <a:pt x="3125266" y="472810"/>
                  <a:pt x="3119993" y="476325"/>
                  <a:pt x="3130539" y="478082"/>
                </a:cubicBezTo>
                <a:cubicBezTo>
                  <a:pt x="3151632" y="485113"/>
                  <a:pt x="3146359" y="456991"/>
                  <a:pt x="3144601" y="444687"/>
                </a:cubicBezTo>
                <a:cubicBezTo>
                  <a:pt x="3155148" y="448202"/>
                  <a:pt x="3153390" y="464021"/>
                  <a:pt x="3148117" y="474567"/>
                </a:cubicBezTo>
                <a:cubicBezTo>
                  <a:pt x="3144601" y="483355"/>
                  <a:pt x="3128781" y="486871"/>
                  <a:pt x="3132297" y="495659"/>
                </a:cubicBezTo>
                <a:cubicBezTo>
                  <a:pt x="3139328" y="497417"/>
                  <a:pt x="3146359" y="497417"/>
                  <a:pt x="3151632" y="499174"/>
                </a:cubicBezTo>
                <a:cubicBezTo>
                  <a:pt x="3158663" y="502690"/>
                  <a:pt x="3162179" y="507963"/>
                  <a:pt x="3170967" y="506205"/>
                </a:cubicBezTo>
                <a:cubicBezTo>
                  <a:pt x="3170967" y="499174"/>
                  <a:pt x="3176240" y="483355"/>
                  <a:pt x="3183271" y="479840"/>
                </a:cubicBezTo>
                <a:cubicBezTo>
                  <a:pt x="3195576" y="476325"/>
                  <a:pt x="3199091" y="488628"/>
                  <a:pt x="3206122" y="488628"/>
                </a:cubicBezTo>
                <a:cubicBezTo>
                  <a:pt x="3207880" y="483355"/>
                  <a:pt x="3209638" y="465779"/>
                  <a:pt x="3207880" y="460506"/>
                </a:cubicBezTo>
                <a:cubicBezTo>
                  <a:pt x="3202607" y="451718"/>
                  <a:pt x="3185029" y="455233"/>
                  <a:pt x="3188545" y="437656"/>
                </a:cubicBezTo>
                <a:cubicBezTo>
                  <a:pt x="3195576" y="437656"/>
                  <a:pt x="3209638" y="453475"/>
                  <a:pt x="3213153" y="458748"/>
                </a:cubicBezTo>
                <a:cubicBezTo>
                  <a:pt x="3218426" y="464021"/>
                  <a:pt x="3213153" y="465779"/>
                  <a:pt x="3221942" y="467537"/>
                </a:cubicBezTo>
                <a:cubicBezTo>
                  <a:pt x="3228973" y="467537"/>
                  <a:pt x="3236004" y="462264"/>
                  <a:pt x="3241277" y="460506"/>
                </a:cubicBezTo>
                <a:cubicBezTo>
                  <a:pt x="3257097" y="456991"/>
                  <a:pt x="3244792" y="442929"/>
                  <a:pt x="3243035" y="435899"/>
                </a:cubicBezTo>
                <a:cubicBezTo>
                  <a:pt x="3241277" y="430626"/>
                  <a:pt x="3243035" y="427110"/>
                  <a:pt x="3239519" y="423595"/>
                </a:cubicBezTo>
                <a:cubicBezTo>
                  <a:pt x="3237761" y="420080"/>
                  <a:pt x="3234246" y="418322"/>
                  <a:pt x="3230730" y="414807"/>
                </a:cubicBezTo>
                <a:cubicBezTo>
                  <a:pt x="3225457" y="414807"/>
                  <a:pt x="3223700" y="409534"/>
                  <a:pt x="3225457" y="404261"/>
                </a:cubicBezTo>
                <a:cubicBezTo>
                  <a:pt x="3232488" y="402503"/>
                  <a:pt x="3237761" y="409534"/>
                  <a:pt x="3243035" y="407776"/>
                </a:cubicBezTo>
                <a:cubicBezTo>
                  <a:pt x="3246550" y="406019"/>
                  <a:pt x="3246550" y="393715"/>
                  <a:pt x="3248308" y="390200"/>
                </a:cubicBezTo>
                <a:cubicBezTo>
                  <a:pt x="3250066" y="383169"/>
                  <a:pt x="3248308" y="374381"/>
                  <a:pt x="3260612" y="377896"/>
                </a:cubicBezTo>
                <a:cubicBezTo>
                  <a:pt x="3265885" y="379654"/>
                  <a:pt x="3267643" y="390200"/>
                  <a:pt x="3272916" y="391957"/>
                </a:cubicBezTo>
                <a:cubicBezTo>
                  <a:pt x="3276432" y="377896"/>
                  <a:pt x="3255339" y="370865"/>
                  <a:pt x="3253581" y="356804"/>
                </a:cubicBezTo>
                <a:cubicBezTo>
                  <a:pt x="3264128" y="353289"/>
                  <a:pt x="3279947" y="344501"/>
                  <a:pt x="3288736" y="351531"/>
                </a:cubicBezTo>
                <a:cubicBezTo>
                  <a:pt x="3299282" y="358562"/>
                  <a:pt x="3295767" y="376138"/>
                  <a:pt x="3301040" y="384927"/>
                </a:cubicBezTo>
                <a:cubicBezTo>
                  <a:pt x="3304555" y="393715"/>
                  <a:pt x="3320375" y="411292"/>
                  <a:pt x="3320375" y="391957"/>
                </a:cubicBezTo>
                <a:cubicBezTo>
                  <a:pt x="3322133" y="384927"/>
                  <a:pt x="3315102" y="383169"/>
                  <a:pt x="3313344" y="377896"/>
                </a:cubicBezTo>
                <a:cubicBezTo>
                  <a:pt x="3309829" y="372623"/>
                  <a:pt x="3308071" y="369108"/>
                  <a:pt x="3309829" y="362077"/>
                </a:cubicBezTo>
                <a:cubicBezTo>
                  <a:pt x="3318617" y="360319"/>
                  <a:pt x="3330922" y="363835"/>
                  <a:pt x="3339711" y="362077"/>
                </a:cubicBezTo>
                <a:cubicBezTo>
                  <a:pt x="3352015" y="358562"/>
                  <a:pt x="3346741" y="355047"/>
                  <a:pt x="3344983" y="346258"/>
                </a:cubicBezTo>
                <a:lnTo>
                  <a:pt x="3342567" y="337031"/>
                </a:lnTo>
                <a:cubicBezTo>
                  <a:pt x="3343226" y="335712"/>
                  <a:pt x="3345863" y="335712"/>
                  <a:pt x="3352015" y="335712"/>
                </a:cubicBezTo>
                <a:cubicBezTo>
                  <a:pt x="3360803" y="335712"/>
                  <a:pt x="3367834" y="337470"/>
                  <a:pt x="3374865" y="337470"/>
                </a:cubicBezTo>
                <a:cubicBezTo>
                  <a:pt x="3385412" y="339228"/>
                  <a:pt x="3394201" y="333955"/>
                  <a:pt x="3390685" y="323409"/>
                </a:cubicBezTo>
                <a:cubicBezTo>
                  <a:pt x="3390685" y="318136"/>
                  <a:pt x="3383654" y="318136"/>
                  <a:pt x="3383654" y="312863"/>
                </a:cubicBezTo>
                <a:cubicBezTo>
                  <a:pt x="3385412" y="307590"/>
                  <a:pt x="3392443" y="305832"/>
                  <a:pt x="3395958" y="304074"/>
                </a:cubicBezTo>
                <a:cubicBezTo>
                  <a:pt x="3399474" y="302317"/>
                  <a:pt x="3404747" y="305832"/>
                  <a:pt x="3404747" y="300559"/>
                </a:cubicBezTo>
                <a:cubicBezTo>
                  <a:pt x="3406505" y="295286"/>
                  <a:pt x="3399474" y="295286"/>
                  <a:pt x="3395958" y="291771"/>
                </a:cubicBezTo>
                <a:cubicBezTo>
                  <a:pt x="3387169" y="284740"/>
                  <a:pt x="3387169" y="279467"/>
                  <a:pt x="3387169" y="268921"/>
                </a:cubicBezTo>
                <a:cubicBezTo>
                  <a:pt x="3399474" y="268921"/>
                  <a:pt x="3399474" y="291771"/>
                  <a:pt x="3410020" y="297044"/>
                </a:cubicBezTo>
                <a:lnTo>
                  <a:pt x="3420924" y="299159"/>
                </a:lnTo>
                <a:cubicBezTo>
                  <a:pt x="3425291" y="295286"/>
                  <a:pt x="3413096" y="276831"/>
                  <a:pt x="3411778" y="274194"/>
                </a:cubicBezTo>
                <a:cubicBezTo>
                  <a:pt x="3420567" y="272437"/>
                  <a:pt x="3417051" y="265406"/>
                  <a:pt x="3415293" y="258375"/>
                </a:cubicBezTo>
                <a:cubicBezTo>
                  <a:pt x="3413535" y="249587"/>
                  <a:pt x="3410020" y="246072"/>
                  <a:pt x="3417051" y="237283"/>
                </a:cubicBezTo>
                <a:cubicBezTo>
                  <a:pt x="3420567" y="232011"/>
                  <a:pt x="3432871" y="223222"/>
                  <a:pt x="3438144" y="228495"/>
                </a:cubicBezTo>
                <a:cubicBezTo>
                  <a:pt x="3448691" y="239041"/>
                  <a:pt x="3431113" y="240799"/>
                  <a:pt x="3429355" y="244314"/>
                </a:cubicBezTo>
                <a:cubicBezTo>
                  <a:pt x="3422324" y="258375"/>
                  <a:pt x="3457479" y="254860"/>
                  <a:pt x="3464510" y="258375"/>
                </a:cubicBezTo>
                <a:cubicBezTo>
                  <a:pt x="3469783" y="260133"/>
                  <a:pt x="3480330" y="270679"/>
                  <a:pt x="3482087" y="260133"/>
                </a:cubicBezTo>
                <a:cubicBezTo>
                  <a:pt x="3482087" y="251345"/>
                  <a:pt x="3471541" y="247829"/>
                  <a:pt x="3473299" y="240799"/>
                </a:cubicBezTo>
                <a:cubicBezTo>
                  <a:pt x="3482087" y="237283"/>
                  <a:pt x="3492634" y="240799"/>
                  <a:pt x="3499665" y="232011"/>
                </a:cubicBezTo>
                <a:cubicBezTo>
                  <a:pt x="3503181" y="224980"/>
                  <a:pt x="3499665" y="212676"/>
                  <a:pt x="3508454" y="212676"/>
                </a:cubicBezTo>
                <a:cubicBezTo>
                  <a:pt x="3511969" y="221465"/>
                  <a:pt x="3504938" y="232011"/>
                  <a:pt x="3501423" y="239041"/>
                </a:cubicBezTo>
                <a:cubicBezTo>
                  <a:pt x="3501407" y="239069"/>
                  <a:pt x="3494392" y="251345"/>
                  <a:pt x="3494392" y="251345"/>
                </a:cubicBezTo>
                <a:cubicBezTo>
                  <a:pt x="3496149" y="256618"/>
                  <a:pt x="3501423" y="251345"/>
                  <a:pt x="3503181" y="256618"/>
                </a:cubicBezTo>
                <a:cubicBezTo>
                  <a:pt x="3508454" y="265406"/>
                  <a:pt x="3503181" y="277710"/>
                  <a:pt x="3497907" y="281225"/>
                </a:cubicBezTo>
                <a:cubicBezTo>
                  <a:pt x="3492634" y="284740"/>
                  <a:pt x="3487361" y="281225"/>
                  <a:pt x="3482087" y="284740"/>
                </a:cubicBezTo>
                <a:cubicBezTo>
                  <a:pt x="3478572" y="288256"/>
                  <a:pt x="3475057" y="293529"/>
                  <a:pt x="3475057" y="298801"/>
                </a:cubicBezTo>
                <a:cubicBezTo>
                  <a:pt x="3483845" y="300559"/>
                  <a:pt x="3492634" y="300559"/>
                  <a:pt x="3499665" y="297044"/>
                </a:cubicBezTo>
                <a:cubicBezTo>
                  <a:pt x="3510211" y="316378"/>
                  <a:pt x="3492634" y="316378"/>
                  <a:pt x="3478572" y="316378"/>
                </a:cubicBezTo>
                <a:cubicBezTo>
                  <a:pt x="3478572" y="323409"/>
                  <a:pt x="3496149" y="323409"/>
                  <a:pt x="3492634" y="333955"/>
                </a:cubicBezTo>
                <a:cubicBezTo>
                  <a:pt x="3490876" y="344501"/>
                  <a:pt x="3476814" y="335712"/>
                  <a:pt x="3478572" y="353289"/>
                </a:cubicBezTo>
                <a:cubicBezTo>
                  <a:pt x="3480330" y="362077"/>
                  <a:pt x="3482087" y="370865"/>
                  <a:pt x="3482087" y="379654"/>
                </a:cubicBezTo>
                <a:cubicBezTo>
                  <a:pt x="3480330" y="391957"/>
                  <a:pt x="3476814" y="400746"/>
                  <a:pt x="3475057" y="413049"/>
                </a:cubicBezTo>
                <a:cubicBezTo>
                  <a:pt x="3475057" y="421837"/>
                  <a:pt x="3475057" y="432383"/>
                  <a:pt x="3473299" y="442929"/>
                </a:cubicBezTo>
                <a:cubicBezTo>
                  <a:pt x="3471541" y="451718"/>
                  <a:pt x="3460995" y="462264"/>
                  <a:pt x="3460995" y="469294"/>
                </a:cubicBezTo>
                <a:cubicBezTo>
                  <a:pt x="3461018" y="469309"/>
                  <a:pt x="3471541" y="476327"/>
                  <a:pt x="3471541" y="478082"/>
                </a:cubicBezTo>
                <a:cubicBezTo>
                  <a:pt x="3480330" y="478082"/>
                  <a:pt x="3480330" y="476325"/>
                  <a:pt x="3483845" y="471052"/>
                </a:cubicBezTo>
                <a:cubicBezTo>
                  <a:pt x="3489119" y="464021"/>
                  <a:pt x="3494392" y="460506"/>
                  <a:pt x="3501423" y="456991"/>
                </a:cubicBezTo>
                <a:cubicBezTo>
                  <a:pt x="3510211" y="453475"/>
                  <a:pt x="3519000" y="456991"/>
                  <a:pt x="3527789" y="453475"/>
                </a:cubicBezTo>
                <a:cubicBezTo>
                  <a:pt x="3534820" y="451718"/>
                  <a:pt x="3540093" y="444687"/>
                  <a:pt x="3547124" y="442929"/>
                </a:cubicBezTo>
                <a:cubicBezTo>
                  <a:pt x="3552397" y="439414"/>
                  <a:pt x="3559428" y="441172"/>
                  <a:pt x="3564701" y="439414"/>
                </a:cubicBezTo>
                <a:cubicBezTo>
                  <a:pt x="3571732" y="437656"/>
                  <a:pt x="3577005" y="430626"/>
                  <a:pt x="3584037" y="430626"/>
                </a:cubicBezTo>
                <a:cubicBezTo>
                  <a:pt x="3589310" y="439414"/>
                  <a:pt x="3585794" y="441172"/>
                  <a:pt x="3598099" y="442929"/>
                </a:cubicBezTo>
                <a:cubicBezTo>
                  <a:pt x="3608645" y="444687"/>
                  <a:pt x="3615676" y="441172"/>
                  <a:pt x="3620949" y="432383"/>
                </a:cubicBezTo>
                <a:cubicBezTo>
                  <a:pt x="3626223" y="428868"/>
                  <a:pt x="3633253" y="421837"/>
                  <a:pt x="3635011" y="414807"/>
                </a:cubicBezTo>
                <a:cubicBezTo>
                  <a:pt x="3635011" y="407776"/>
                  <a:pt x="3627980" y="406019"/>
                  <a:pt x="3627980" y="397230"/>
                </a:cubicBezTo>
                <a:cubicBezTo>
                  <a:pt x="3640284" y="395473"/>
                  <a:pt x="3645557" y="400746"/>
                  <a:pt x="3650831" y="386684"/>
                </a:cubicBezTo>
                <a:cubicBezTo>
                  <a:pt x="3654346" y="376138"/>
                  <a:pt x="3656104" y="360319"/>
                  <a:pt x="3670166" y="360319"/>
                </a:cubicBezTo>
                <a:cubicBezTo>
                  <a:pt x="3670166" y="367350"/>
                  <a:pt x="3661377" y="376138"/>
                  <a:pt x="3666651" y="383169"/>
                </a:cubicBezTo>
                <a:cubicBezTo>
                  <a:pt x="3671924" y="391957"/>
                  <a:pt x="3680713" y="383169"/>
                  <a:pt x="3682470" y="376138"/>
                </a:cubicBezTo>
                <a:cubicBezTo>
                  <a:pt x="3703563" y="391957"/>
                  <a:pt x="3703563" y="372623"/>
                  <a:pt x="3717625" y="362077"/>
                </a:cubicBezTo>
                <a:cubicBezTo>
                  <a:pt x="3726414" y="356804"/>
                  <a:pt x="3742233" y="358562"/>
                  <a:pt x="3752780" y="356804"/>
                </a:cubicBezTo>
                <a:cubicBezTo>
                  <a:pt x="3766842" y="351531"/>
                  <a:pt x="3800239" y="335712"/>
                  <a:pt x="3800239" y="363835"/>
                </a:cubicBezTo>
                <a:cubicBezTo>
                  <a:pt x="3819574" y="365592"/>
                  <a:pt x="3826605" y="348016"/>
                  <a:pt x="3842425" y="342743"/>
                </a:cubicBezTo>
                <a:cubicBezTo>
                  <a:pt x="3852971" y="339228"/>
                  <a:pt x="3865275" y="339228"/>
                  <a:pt x="3875822" y="337470"/>
                </a:cubicBezTo>
                <a:cubicBezTo>
                  <a:pt x="3903946" y="332197"/>
                  <a:pt x="3932069" y="319893"/>
                  <a:pt x="3960193" y="316378"/>
                </a:cubicBezTo>
                <a:cubicBezTo>
                  <a:pt x="3972497" y="314620"/>
                  <a:pt x="3990075" y="312863"/>
                  <a:pt x="3998864" y="316378"/>
                </a:cubicBezTo>
                <a:cubicBezTo>
                  <a:pt x="4007653" y="318136"/>
                  <a:pt x="4014683" y="326924"/>
                  <a:pt x="4026988" y="321651"/>
                </a:cubicBezTo>
                <a:cubicBezTo>
                  <a:pt x="4034019" y="319893"/>
                  <a:pt x="4044565" y="304074"/>
                  <a:pt x="4051596" y="316378"/>
                </a:cubicBezTo>
                <a:cubicBezTo>
                  <a:pt x="4058627" y="328682"/>
                  <a:pt x="4030503" y="362077"/>
                  <a:pt x="4023472" y="370865"/>
                </a:cubicBezTo>
                <a:cubicBezTo>
                  <a:pt x="4014683" y="379654"/>
                  <a:pt x="4007653" y="391957"/>
                  <a:pt x="4005895" y="404261"/>
                </a:cubicBezTo>
                <a:lnTo>
                  <a:pt x="4005895" y="418322"/>
                </a:lnTo>
                <a:cubicBezTo>
                  <a:pt x="4004137" y="425353"/>
                  <a:pt x="3997106" y="428868"/>
                  <a:pt x="3995348" y="435899"/>
                </a:cubicBezTo>
                <a:cubicBezTo>
                  <a:pt x="3993591" y="439414"/>
                  <a:pt x="3995348" y="448202"/>
                  <a:pt x="3995348" y="453475"/>
                </a:cubicBezTo>
                <a:cubicBezTo>
                  <a:pt x="4007653" y="456991"/>
                  <a:pt x="4011168" y="460506"/>
                  <a:pt x="4014683" y="446445"/>
                </a:cubicBezTo>
                <a:cubicBezTo>
                  <a:pt x="4016441" y="441172"/>
                  <a:pt x="4016441" y="432383"/>
                  <a:pt x="4016441" y="425353"/>
                </a:cubicBezTo>
                <a:cubicBezTo>
                  <a:pt x="4016441" y="409534"/>
                  <a:pt x="4019957" y="388442"/>
                  <a:pt x="4028745" y="376138"/>
                </a:cubicBezTo>
                <a:cubicBezTo>
                  <a:pt x="4034019" y="367350"/>
                  <a:pt x="4039292" y="365592"/>
                  <a:pt x="4042807" y="355047"/>
                </a:cubicBezTo>
                <a:lnTo>
                  <a:pt x="4044565" y="346258"/>
                </a:lnTo>
                <a:cubicBezTo>
                  <a:pt x="4044565" y="342743"/>
                  <a:pt x="4049838" y="337470"/>
                  <a:pt x="4051596" y="333955"/>
                </a:cubicBezTo>
                <a:cubicBezTo>
                  <a:pt x="4058627" y="321651"/>
                  <a:pt x="4063900" y="304074"/>
                  <a:pt x="4065658" y="288256"/>
                </a:cubicBezTo>
                <a:cubicBezTo>
                  <a:pt x="4049838" y="288256"/>
                  <a:pt x="4053354" y="281225"/>
                  <a:pt x="4044565" y="274194"/>
                </a:cubicBezTo>
                <a:cubicBezTo>
                  <a:pt x="4037534" y="265406"/>
                  <a:pt x="4030503" y="263648"/>
                  <a:pt x="4028745" y="249587"/>
                </a:cubicBezTo>
                <a:cubicBezTo>
                  <a:pt x="4026988" y="242556"/>
                  <a:pt x="4026988" y="228495"/>
                  <a:pt x="4034019" y="224980"/>
                </a:cubicBezTo>
                <a:cubicBezTo>
                  <a:pt x="4048081" y="216192"/>
                  <a:pt x="4049838" y="233768"/>
                  <a:pt x="4060385" y="233768"/>
                </a:cubicBezTo>
                <a:cubicBezTo>
                  <a:pt x="4063900" y="217949"/>
                  <a:pt x="4065658" y="186311"/>
                  <a:pt x="4058627" y="172250"/>
                </a:cubicBezTo>
                <a:cubicBezTo>
                  <a:pt x="4056869" y="163462"/>
                  <a:pt x="4046323" y="158189"/>
                  <a:pt x="4044565" y="149401"/>
                </a:cubicBezTo>
                <a:cubicBezTo>
                  <a:pt x="4044565" y="144128"/>
                  <a:pt x="4048081" y="140612"/>
                  <a:pt x="4049838" y="135339"/>
                </a:cubicBezTo>
                <a:cubicBezTo>
                  <a:pt x="4051596" y="130066"/>
                  <a:pt x="4049838" y="123036"/>
                  <a:pt x="4049838" y="117763"/>
                </a:cubicBezTo>
                <a:cubicBezTo>
                  <a:pt x="4048081" y="93156"/>
                  <a:pt x="4030503" y="72064"/>
                  <a:pt x="4030503" y="45699"/>
                </a:cubicBezTo>
                <a:cubicBezTo>
                  <a:pt x="4030503" y="35153"/>
                  <a:pt x="4030503" y="24607"/>
                  <a:pt x="4026988" y="14061"/>
                </a:cubicBezTo>
                <a:cubicBezTo>
                  <a:pt x="4018199" y="0"/>
                  <a:pt x="4007653" y="3515"/>
                  <a:pt x="3991833" y="3515"/>
                </a:cubicBezTo>
                <a:cubicBezTo>
                  <a:pt x="3977771" y="3515"/>
                  <a:pt x="3953163" y="0"/>
                  <a:pt x="3944374" y="14061"/>
                </a:cubicBezTo>
                <a:cubicBezTo>
                  <a:pt x="3940858" y="22849"/>
                  <a:pt x="3937343" y="54487"/>
                  <a:pt x="3946131" y="59760"/>
                </a:cubicBezTo>
                <a:cubicBezTo>
                  <a:pt x="3960193" y="72064"/>
                  <a:pt x="3958436" y="35153"/>
                  <a:pt x="3970740" y="36911"/>
                </a:cubicBezTo>
                <a:cubicBezTo>
                  <a:pt x="3979529" y="36911"/>
                  <a:pt x="3976013" y="47457"/>
                  <a:pt x="3981286" y="52730"/>
                </a:cubicBezTo>
                <a:cubicBezTo>
                  <a:pt x="3984802" y="56245"/>
                  <a:pt x="3995348" y="52730"/>
                  <a:pt x="4000621" y="52730"/>
                </a:cubicBezTo>
                <a:cubicBezTo>
                  <a:pt x="4000621" y="58002"/>
                  <a:pt x="3995348" y="59760"/>
                  <a:pt x="3995348" y="63275"/>
                </a:cubicBezTo>
                <a:cubicBezTo>
                  <a:pt x="3991833" y="70306"/>
                  <a:pt x="3993591" y="72064"/>
                  <a:pt x="3995348" y="77337"/>
                </a:cubicBezTo>
                <a:cubicBezTo>
                  <a:pt x="3997106" y="87883"/>
                  <a:pt x="3997106" y="96671"/>
                  <a:pt x="3998864" y="105459"/>
                </a:cubicBezTo>
                <a:cubicBezTo>
                  <a:pt x="4000621" y="131824"/>
                  <a:pt x="4018199" y="147643"/>
                  <a:pt x="3998864" y="170493"/>
                </a:cubicBezTo>
                <a:cubicBezTo>
                  <a:pt x="3990075" y="181038"/>
                  <a:pt x="3976013" y="184554"/>
                  <a:pt x="3965467" y="189827"/>
                </a:cubicBezTo>
                <a:cubicBezTo>
                  <a:pt x="3953163" y="193342"/>
                  <a:pt x="3942616" y="202130"/>
                  <a:pt x="3932069" y="209161"/>
                </a:cubicBezTo>
                <a:cubicBezTo>
                  <a:pt x="3910977" y="226738"/>
                  <a:pt x="3891641" y="216192"/>
                  <a:pt x="3865275" y="221465"/>
                </a:cubicBezTo>
                <a:cubicBezTo>
                  <a:pt x="3837151" y="224980"/>
                  <a:pt x="3816059" y="249587"/>
                  <a:pt x="3791450" y="263648"/>
                </a:cubicBezTo>
                <a:cubicBezTo>
                  <a:pt x="3780904" y="270679"/>
                  <a:pt x="3736960" y="274194"/>
                  <a:pt x="3731687" y="256618"/>
                </a:cubicBezTo>
                <a:cubicBezTo>
                  <a:pt x="3740476" y="260133"/>
                  <a:pt x="3756295" y="261891"/>
                  <a:pt x="3766842" y="260133"/>
                </a:cubicBezTo>
                <a:cubicBezTo>
                  <a:pt x="3786177" y="256618"/>
                  <a:pt x="3782661" y="242556"/>
                  <a:pt x="3766842" y="239041"/>
                </a:cubicBezTo>
                <a:cubicBezTo>
                  <a:pt x="3747507" y="233768"/>
                  <a:pt x="3726414" y="237283"/>
                  <a:pt x="3707079" y="233768"/>
                </a:cubicBezTo>
                <a:cubicBezTo>
                  <a:pt x="3689501" y="230253"/>
                  <a:pt x="3671924" y="226738"/>
                  <a:pt x="3656104" y="221465"/>
                </a:cubicBezTo>
                <a:cubicBezTo>
                  <a:pt x="3640284" y="216192"/>
                  <a:pt x="3633253" y="209161"/>
                  <a:pt x="3619191" y="198615"/>
                </a:cubicBezTo>
                <a:cubicBezTo>
                  <a:pt x="3610403" y="191584"/>
                  <a:pt x="3599856" y="184554"/>
                  <a:pt x="3589310" y="177523"/>
                </a:cubicBezTo>
                <a:cubicBezTo>
                  <a:pt x="3580521" y="172250"/>
                  <a:pt x="3568217" y="163462"/>
                  <a:pt x="3562944" y="151158"/>
                </a:cubicBezTo>
                <a:cubicBezTo>
                  <a:pt x="3557671" y="138855"/>
                  <a:pt x="3566459" y="131824"/>
                  <a:pt x="3571732" y="123036"/>
                </a:cubicBezTo>
                <a:cubicBezTo>
                  <a:pt x="3585794" y="94913"/>
                  <a:pt x="3566459" y="75579"/>
                  <a:pt x="3562944" y="49214"/>
                </a:cubicBezTo>
                <a:cubicBezTo>
                  <a:pt x="3562944" y="45699"/>
                  <a:pt x="3562944" y="40426"/>
                  <a:pt x="3562944" y="35153"/>
                </a:cubicBezTo>
                <a:cubicBezTo>
                  <a:pt x="3559428" y="26365"/>
                  <a:pt x="3559428" y="31638"/>
                  <a:pt x="3552397" y="28122"/>
                </a:cubicBezTo>
                <a:cubicBezTo>
                  <a:pt x="3543609" y="19334"/>
                  <a:pt x="3545366" y="12303"/>
                  <a:pt x="3540093" y="1757"/>
                </a:cubicBezTo>
                <a:lnTo>
                  <a:pt x="4297680" y="0"/>
                </a:lnTo>
                <a:cubicBezTo>
                  <a:pt x="4297680" y="2501764"/>
                  <a:pt x="4297680" y="3315102"/>
                  <a:pt x="4297680" y="3579523"/>
                </a:cubicBezTo>
                <a:lnTo>
                  <a:pt x="4297680" y="3593773"/>
                </a:lnTo>
                <a:lnTo>
                  <a:pt x="4297680" y="3648978"/>
                </a:lnTo>
                <a:lnTo>
                  <a:pt x="4297680" y="3682463"/>
                </a:lnTo>
                <a:lnTo>
                  <a:pt x="4297680" y="3699658"/>
                </a:lnTo>
                <a:lnTo>
                  <a:pt x="4297680" y="3705993"/>
                </a:lnTo>
                <a:lnTo>
                  <a:pt x="4297680" y="3706898"/>
                </a:lnTo>
                <a:lnTo>
                  <a:pt x="4297680" y="4036723"/>
                </a:lnTo>
                <a:lnTo>
                  <a:pt x="1" y="4036723"/>
                </a:lnTo>
                <a:lnTo>
                  <a:pt x="1" y="3706898"/>
                </a:lnTo>
                <a:cubicBezTo>
                  <a:pt x="0" y="0"/>
                  <a:pt x="0" y="0"/>
                  <a:pt x="0" y="0"/>
                </a:cubicBezTo>
                <a:close/>
              </a:path>
            </a:pathLst>
          </a:custGeom>
          <a:noFill/>
          <a:ln>
            <a:noFill/>
          </a:ln>
          <a:extLst/>
        </p:spPr>
        <p:txBody>
          <a:bodyPr vert="horz" wrap="square" lIns="91400" tIns="45700" rIns="91400" bIns="4570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5" name="AutoShape 4">
            <a:extLst>
              <a:ext uri="{FF2B5EF4-FFF2-40B4-BE49-F238E27FC236}">
                <a16:creationId xmlns:a16="http://schemas.microsoft.com/office/drawing/2014/main" id="{AEE434CB-952C-4480-9D37-19653848A40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765523" y="2008044"/>
            <a:ext cx="4297680" cy="3706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755A7645-DFC4-432F-AB99-A90D7F38AA6E}"/>
              </a:ext>
            </a:extLst>
          </p:cNvPr>
          <p:cNvSpPr txBox="1"/>
          <p:nvPr/>
        </p:nvSpPr>
        <p:spPr bwMode="gray">
          <a:xfrm>
            <a:off x="680041" y="6054701"/>
            <a:ext cx="7772400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12713" indent="-112713">
              <a:buFontTx/>
              <a:buAutoNum type="arabicPeriod"/>
            </a:pPr>
            <a:r>
              <a:rPr lang="en-GB" sz="700" dirty="0"/>
              <a:t>Offtake, grid connections and planning consents have not yet been secured</a:t>
            </a:r>
          </a:p>
        </p:txBody>
      </p: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C975293C-1040-4110-A622-09A556FC5CC9}"/>
              </a:ext>
            </a:extLst>
          </p:cNvPr>
          <p:cNvGrpSpPr/>
          <p:nvPr/>
        </p:nvGrpSpPr>
        <p:grpSpPr>
          <a:xfrm>
            <a:off x="668121" y="2107113"/>
            <a:ext cx="1638691" cy="1142991"/>
            <a:chOff x="401694" y="1742449"/>
            <a:chExt cx="1638691" cy="1142991"/>
          </a:xfrm>
        </p:grpSpPr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96964CAC-BA10-495D-B464-AA945C29E223}"/>
                </a:ext>
              </a:extLst>
            </p:cNvPr>
            <p:cNvGrpSpPr/>
            <p:nvPr/>
          </p:nvGrpSpPr>
          <p:grpSpPr>
            <a:xfrm>
              <a:off x="401694" y="1742449"/>
              <a:ext cx="1638691" cy="1142991"/>
              <a:chOff x="510129" y="1806105"/>
              <a:chExt cx="1907733" cy="1162272"/>
            </a:xfrm>
          </p:grpSpPr>
          <p:sp>
            <p:nvSpPr>
              <p:cNvPr id="146" name="Rectangle 145">
                <a:extLst>
                  <a:ext uri="{FF2B5EF4-FFF2-40B4-BE49-F238E27FC236}">
                    <a16:creationId xmlns:a16="http://schemas.microsoft.com/office/drawing/2014/main" id="{C9EBE4D2-42CD-4CC3-AB99-FE675A5F8003}"/>
                  </a:ext>
                </a:extLst>
              </p:cNvPr>
              <p:cNvSpPr/>
              <p:nvPr/>
            </p:nvSpPr>
            <p:spPr bwMode="gray">
              <a:xfrm>
                <a:off x="510129" y="1806105"/>
                <a:ext cx="1907733" cy="1162272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9525" cap="flat" cmpd="sng" algn="ctr">
                <a:solidFill>
                  <a:srgbClr val="A9AB9F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85935" tIns="42967" rIns="85935" bIns="42967" rtlCol="0" anchor="ctr"/>
              <a:lstStyle/>
              <a:p>
                <a:pPr algn="ctr" defTabSz="913798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800" dirty="0">
                  <a:solidFill>
                    <a:prstClr val="black"/>
                  </a:solidFill>
                  <a:latin typeface="Arial"/>
                </a:endParaRPr>
              </a:p>
            </p:txBody>
          </p:sp>
          <p:pic>
            <p:nvPicPr>
              <p:cNvPr id="147" name="Picture 3528">
                <a:extLst>
                  <a:ext uri="{FF2B5EF4-FFF2-40B4-BE49-F238E27FC236}">
                    <a16:creationId xmlns:a16="http://schemas.microsoft.com/office/drawing/2014/main" id="{C0C40102-A75A-4F50-A8F0-ACD31086069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8232" t="34092" b="1968"/>
              <a:stretch/>
            </p:blipFill>
            <p:spPr bwMode="gray">
              <a:xfrm>
                <a:off x="510130" y="1811326"/>
                <a:ext cx="1664055" cy="115704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48" name="Content Placeholder 3">
                <a:extLst>
                  <a:ext uri="{FF2B5EF4-FFF2-40B4-BE49-F238E27FC236}">
                    <a16:creationId xmlns:a16="http://schemas.microsoft.com/office/drawing/2014/main" id="{4CC02CFF-BA74-4CB8-ADED-76297653D275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2010160" y="2058475"/>
                <a:ext cx="388167" cy="2149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182563" indent="-182563" algn="l" rtl="0" eaLnBrk="1" fontAlgn="base" hangingPunct="1">
                  <a:spcBef>
                    <a:spcPts val="30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§"/>
                  <a:defRPr sz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58775" indent="-174625" algn="l" rtl="0" eaLnBrk="1" fontAlgn="base" hangingPunct="1">
                  <a:spcBef>
                    <a:spcPts val="30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–"/>
                  <a:defRPr sz="1200">
                    <a:solidFill>
                      <a:schemeClr val="tx1"/>
                    </a:solidFill>
                    <a:latin typeface="+mn-lt"/>
                  </a:defRPr>
                </a:lvl2pPr>
                <a:lvl3pPr marL="538163" indent="-177800" algn="l" rtl="0" eaLnBrk="1" fontAlgn="base" hangingPunct="1">
                  <a:spcBef>
                    <a:spcPts val="30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·"/>
                  <a:defRPr sz="1200">
                    <a:solidFill>
                      <a:schemeClr val="tx1"/>
                    </a:solidFill>
                    <a:latin typeface="+mn-lt"/>
                  </a:defRPr>
                </a:lvl3pPr>
                <a:lvl4pPr marL="725488" indent="-185738" algn="l" rtl="0" eaLnBrk="1" fontAlgn="base" hangingPunct="1">
                  <a:spcBef>
                    <a:spcPts val="30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·"/>
                  <a:defRPr sz="1200">
                    <a:solidFill>
                      <a:schemeClr val="tx1"/>
                    </a:solidFill>
                    <a:latin typeface="+mn-lt"/>
                  </a:defRPr>
                </a:lvl4pPr>
                <a:lvl5pPr marL="887413" indent="-160338" algn="l" rtl="0" eaLnBrk="1" fontAlgn="base" hangingPunct="1">
                  <a:spcBef>
                    <a:spcPts val="300"/>
                  </a:spcBef>
                  <a:spcAft>
                    <a:spcPct val="0"/>
                  </a:spcAft>
                  <a:buSzPct val="80000"/>
                  <a:buFont typeface="Arial" pitchFamily="34" charset="0"/>
                  <a:buChar char="·"/>
                  <a:defRPr sz="1200">
                    <a:solidFill>
                      <a:schemeClr val="tx1"/>
                    </a:solidFill>
                    <a:latin typeface="+mn-lt"/>
                  </a:defRPr>
                </a:lvl5pPr>
                <a:lvl6pPr marL="1344613" indent="-1603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1801813" indent="-1603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2259013" indent="-1603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2716213" indent="-160338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indent="0" defTabSz="913798">
                  <a:spcBef>
                    <a:spcPts val="0"/>
                  </a:spcBef>
                  <a:buFont typeface="Wingdings" pitchFamily="2" charset="2"/>
                  <a:buNone/>
                </a:pPr>
                <a:r>
                  <a:rPr lang="en-GB" sz="600" kern="0" dirty="0">
                    <a:solidFill>
                      <a:prstClr val="black"/>
                    </a:solidFill>
                  </a:rPr>
                  <a:t>Bay State</a:t>
                </a:r>
              </a:p>
              <a:p>
                <a:pPr marL="0" indent="0" defTabSz="913798">
                  <a:spcBef>
                    <a:spcPts val="0"/>
                  </a:spcBef>
                  <a:buFont typeface="Wingdings" pitchFamily="2" charset="2"/>
                  <a:buNone/>
                </a:pPr>
                <a:r>
                  <a:rPr lang="en-GB" sz="600" kern="0" dirty="0">
                    <a:solidFill>
                      <a:prstClr val="black"/>
                    </a:solidFill>
                  </a:rPr>
                  <a:t>Wind</a:t>
                </a:r>
              </a:p>
            </p:txBody>
          </p:sp>
          <p:sp>
            <p:nvSpPr>
              <p:cNvPr id="149" name="Content Placeholder 3">
                <a:extLst>
                  <a:ext uri="{FF2B5EF4-FFF2-40B4-BE49-F238E27FC236}">
                    <a16:creationId xmlns:a16="http://schemas.microsoft.com/office/drawing/2014/main" id="{11EB0858-7C24-4F39-90C3-EE47D48FCBDA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1911921" y="2236601"/>
                <a:ext cx="424796" cy="923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defPPr lvl="0">
                  <a:defRPr lang="da-DK"/>
                </a:defPPr>
                <a:lvl1pPr marL="0" indent="0" defTabSz="913798" eaLnBrk="1" hangingPunct="1">
                  <a:spcBef>
                    <a:spcPts val="300"/>
                  </a:spcBef>
                  <a:buSzPct val="80000"/>
                  <a:buFont typeface="Wingdings" pitchFamily="2" charset="2"/>
                  <a:buNone/>
                  <a:defRPr sz="600" kern="0">
                    <a:solidFill>
                      <a:prstClr val="black"/>
                    </a:solidFill>
                    <a:latin typeface="+mn-lt"/>
                    <a:cs typeface="+mn-cs"/>
                  </a:defRPr>
                </a:lvl1pPr>
                <a:lvl2pPr marL="358775" indent="-174625" eaLnBrk="1" hangingPunct="1">
                  <a:spcBef>
                    <a:spcPts val="300"/>
                  </a:spcBef>
                  <a:buSzPct val="80000"/>
                  <a:buFont typeface="Arial" pitchFamily="34" charset="0"/>
                  <a:buChar char="–"/>
                  <a:defRPr sz="1200">
                    <a:latin typeface="+mn-lt"/>
                  </a:defRPr>
                </a:lvl2pPr>
                <a:lvl3pPr marL="538163" indent="-177800" eaLnBrk="1" hangingPunct="1">
                  <a:spcBef>
                    <a:spcPts val="300"/>
                  </a:spcBef>
                  <a:buSzPct val="80000"/>
                  <a:buFont typeface="Arial" pitchFamily="34" charset="0"/>
                  <a:buChar char="·"/>
                  <a:defRPr sz="1200">
                    <a:latin typeface="+mn-lt"/>
                  </a:defRPr>
                </a:lvl3pPr>
                <a:lvl4pPr marL="725488" indent="-185738" eaLnBrk="1" hangingPunct="1">
                  <a:spcBef>
                    <a:spcPts val="300"/>
                  </a:spcBef>
                  <a:buSzPct val="80000"/>
                  <a:buFont typeface="Arial" pitchFamily="34" charset="0"/>
                  <a:buChar char="·"/>
                  <a:defRPr sz="1200">
                    <a:latin typeface="+mn-lt"/>
                  </a:defRPr>
                </a:lvl4pPr>
                <a:lvl5pPr marL="887413" indent="-160338" eaLnBrk="1" hangingPunct="1">
                  <a:spcBef>
                    <a:spcPts val="300"/>
                  </a:spcBef>
                  <a:buSzPct val="80000"/>
                  <a:buFont typeface="Arial" pitchFamily="34" charset="0"/>
                  <a:buChar char="·"/>
                  <a:defRPr sz="1200">
                    <a:latin typeface="+mn-lt"/>
                  </a:defRPr>
                </a:lvl5pPr>
                <a:lvl6pPr marL="1344613" indent="-160338" fontAlgn="base">
                  <a:spcBef>
                    <a:spcPct val="2000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§"/>
                  <a:defRPr sz="1600">
                    <a:latin typeface="+mn-lt"/>
                  </a:defRPr>
                </a:lvl6pPr>
                <a:lvl7pPr marL="1801813" indent="-160338" fontAlgn="base">
                  <a:spcBef>
                    <a:spcPct val="2000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§"/>
                  <a:defRPr sz="1600">
                    <a:latin typeface="+mn-lt"/>
                  </a:defRPr>
                </a:lvl7pPr>
                <a:lvl8pPr marL="2259013" indent="-160338" fontAlgn="base">
                  <a:spcBef>
                    <a:spcPct val="2000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§"/>
                  <a:defRPr sz="1600">
                    <a:latin typeface="+mn-lt"/>
                  </a:defRPr>
                </a:lvl8pPr>
                <a:lvl9pPr marL="2716213" indent="-160338" fontAlgn="base">
                  <a:spcBef>
                    <a:spcPct val="20000"/>
                  </a:spcBef>
                  <a:spcAft>
                    <a:spcPct val="0"/>
                  </a:spcAft>
                  <a:buSzPct val="80000"/>
                  <a:buFont typeface="Wingdings" pitchFamily="2" charset="2"/>
                  <a:buChar char="§"/>
                  <a:defRPr sz="1600">
                    <a:latin typeface="+mn-lt"/>
                  </a:defRPr>
                </a:lvl9pPr>
              </a:lstStyle>
              <a:p>
                <a:r>
                  <a:rPr lang="en-GB" dirty="0"/>
                  <a:t>Ocean Wind</a:t>
                </a:r>
              </a:p>
            </p:txBody>
          </p:sp>
          <p:sp>
            <p:nvSpPr>
              <p:cNvPr id="150" name="Freeform 190">
                <a:extLst>
                  <a:ext uri="{FF2B5EF4-FFF2-40B4-BE49-F238E27FC236}">
                    <a16:creationId xmlns:a16="http://schemas.microsoft.com/office/drawing/2014/main" id="{DEA37431-DA86-461E-97A7-8BC223CFD4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36758" y="2099380"/>
                <a:ext cx="164326" cy="132934"/>
              </a:xfrm>
              <a:custGeom>
                <a:avLst/>
                <a:gdLst>
                  <a:gd name="T0" fmla="*/ 67 w 513"/>
                  <a:gd name="T1" fmla="*/ 0 h 513"/>
                  <a:gd name="T2" fmla="*/ 67 w 513"/>
                  <a:gd name="T3" fmla="*/ 0 h 513"/>
                  <a:gd name="T4" fmla="*/ 57 w 513"/>
                  <a:gd name="T5" fmla="*/ 0 h 513"/>
                  <a:gd name="T6" fmla="*/ 45 w 513"/>
                  <a:gd name="T7" fmla="*/ 4 h 513"/>
                  <a:gd name="T8" fmla="*/ 34 w 513"/>
                  <a:gd name="T9" fmla="*/ 8 h 513"/>
                  <a:gd name="T10" fmla="*/ 22 w 513"/>
                  <a:gd name="T11" fmla="*/ 16 h 513"/>
                  <a:gd name="T12" fmla="*/ 16 w 513"/>
                  <a:gd name="T13" fmla="*/ 21 h 513"/>
                  <a:gd name="T14" fmla="*/ 10 w 513"/>
                  <a:gd name="T15" fmla="*/ 27 h 513"/>
                  <a:gd name="T16" fmla="*/ 6 w 513"/>
                  <a:gd name="T17" fmla="*/ 35 h 513"/>
                  <a:gd name="T18" fmla="*/ 2 w 513"/>
                  <a:gd name="T19" fmla="*/ 45 h 513"/>
                  <a:gd name="T20" fmla="*/ 0 w 513"/>
                  <a:gd name="T21" fmla="*/ 55 h 513"/>
                  <a:gd name="T22" fmla="*/ 0 w 513"/>
                  <a:gd name="T23" fmla="*/ 66 h 513"/>
                  <a:gd name="T24" fmla="*/ 0 w 513"/>
                  <a:gd name="T25" fmla="*/ 446 h 513"/>
                  <a:gd name="T26" fmla="*/ 0 w 513"/>
                  <a:gd name="T27" fmla="*/ 446 h 513"/>
                  <a:gd name="T28" fmla="*/ 0 w 513"/>
                  <a:gd name="T29" fmla="*/ 456 h 513"/>
                  <a:gd name="T30" fmla="*/ 4 w 513"/>
                  <a:gd name="T31" fmla="*/ 468 h 513"/>
                  <a:gd name="T32" fmla="*/ 8 w 513"/>
                  <a:gd name="T33" fmla="*/ 480 h 513"/>
                  <a:gd name="T34" fmla="*/ 16 w 513"/>
                  <a:gd name="T35" fmla="*/ 491 h 513"/>
                  <a:gd name="T36" fmla="*/ 22 w 513"/>
                  <a:gd name="T37" fmla="*/ 497 h 513"/>
                  <a:gd name="T38" fmla="*/ 28 w 513"/>
                  <a:gd name="T39" fmla="*/ 503 h 513"/>
                  <a:gd name="T40" fmla="*/ 36 w 513"/>
                  <a:gd name="T41" fmla="*/ 507 h 513"/>
                  <a:gd name="T42" fmla="*/ 45 w 513"/>
                  <a:gd name="T43" fmla="*/ 511 h 513"/>
                  <a:gd name="T44" fmla="*/ 55 w 513"/>
                  <a:gd name="T45" fmla="*/ 513 h 513"/>
                  <a:gd name="T46" fmla="*/ 67 w 513"/>
                  <a:gd name="T47" fmla="*/ 513 h 513"/>
                  <a:gd name="T48" fmla="*/ 447 w 513"/>
                  <a:gd name="T49" fmla="*/ 513 h 513"/>
                  <a:gd name="T50" fmla="*/ 447 w 513"/>
                  <a:gd name="T51" fmla="*/ 513 h 513"/>
                  <a:gd name="T52" fmla="*/ 457 w 513"/>
                  <a:gd name="T53" fmla="*/ 513 h 513"/>
                  <a:gd name="T54" fmla="*/ 468 w 513"/>
                  <a:gd name="T55" fmla="*/ 509 h 513"/>
                  <a:gd name="T56" fmla="*/ 480 w 513"/>
                  <a:gd name="T57" fmla="*/ 505 h 513"/>
                  <a:gd name="T58" fmla="*/ 492 w 513"/>
                  <a:gd name="T59" fmla="*/ 497 h 513"/>
                  <a:gd name="T60" fmla="*/ 498 w 513"/>
                  <a:gd name="T61" fmla="*/ 491 h 513"/>
                  <a:gd name="T62" fmla="*/ 504 w 513"/>
                  <a:gd name="T63" fmla="*/ 486 h 513"/>
                  <a:gd name="T64" fmla="*/ 507 w 513"/>
                  <a:gd name="T65" fmla="*/ 478 h 513"/>
                  <a:gd name="T66" fmla="*/ 511 w 513"/>
                  <a:gd name="T67" fmla="*/ 468 h 513"/>
                  <a:gd name="T68" fmla="*/ 513 w 513"/>
                  <a:gd name="T69" fmla="*/ 458 h 513"/>
                  <a:gd name="T70" fmla="*/ 513 w 513"/>
                  <a:gd name="T71" fmla="*/ 446 h 513"/>
                  <a:gd name="T72" fmla="*/ 513 w 513"/>
                  <a:gd name="T73" fmla="*/ 66 h 513"/>
                  <a:gd name="T74" fmla="*/ 513 w 513"/>
                  <a:gd name="T75" fmla="*/ 66 h 513"/>
                  <a:gd name="T76" fmla="*/ 513 w 513"/>
                  <a:gd name="T77" fmla="*/ 57 h 513"/>
                  <a:gd name="T78" fmla="*/ 509 w 513"/>
                  <a:gd name="T79" fmla="*/ 45 h 513"/>
                  <a:gd name="T80" fmla="*/ 505 w 513"/>
                  <a:gd name="T81" fmla="*/ 33 h 513"/>
                  <a:gd name="T82" fmla="*/ 498 w 513"/>
                  <a:gd name="T83" fmla="*/ 21 h 513"/>
                  <a:gd name="T84" fmla="*/ 492 w 513"/>
                  <a:gd name="T85" fmla="*/ 16 h 513"/>
                  <a:gd name="T86" fmla="*/ 486 w 513"/>
                  <a:gd name="T87" fmla="*/ 10 h 513"/>
                  <a:gd name="T88" fmla="*/ 478 w 513"/>
                  <a:gd name="T89" fmla="*/ 6 h 513"/>
                  <a:gd name="T90" fmla="*/ 468 w 513"/>
                  <a:gd name="T91" fmla="*/ 2 h 513"/>
                  <a:gd name="T92" fmla="*/ 458 w 513"/>
                  <a:gd name="T93" fmla="*/ 0 h 513"/>
                  <a:gd name="T94" fmla="*/ 447 w 513"/>
                  <a:gd name="T95" fmla="*/ 0 h 513"/>
                  <a:gd name="T96" fmla="*/ 67 w 513"/>
                  <a:gd name="T97" fmla="*/ 0 h 5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13" h="513">
                    <a:moveTo>
                      <a:pt x="67" y="0"/>
                    </a:moveTo>
                    <a:lnTo>
                      <a:pt x="67" y="0"/>
                    </a:lnTo>
                    <a:lnTo>
                      <a:pt x="57" y="0"/>
                    </a:lnTo>
                    <a:lnTo>
                      <a:pt x="45" y="4"/>
                    </a:lnTo>
                    <a:lnTo>
                      <a:pt x="34" y="8"/>
                    </a:lnTo>
                    <a:lnTo>
                      <a:pt x="22" y="16"/>
                    </a:lnTo>
                    <a:lnTo>
                      <a:pt x="16" y="21"/>
                    </a:lnTo>
                    <a:lnTo>
                      <a:pt x="10" y="27"/>
                    </a:lnTo>
                    <a:lnTo>
                      <a:pt x="6" y="35"/>
                    </a:lnTo>
                    <a:lnTo>
                      <a:pt x="2" y="45"/>
                    </a:lnTo>
                    <a:lnTo>
                      <a:pt x="0" y="55"/>
                    </a:lnTo>
                    <a:lnTo>
                      <a:pt x="0" y="66"/>
                    </a:lnTo>
                    <a:lnTo>
                      <a:pt x="0" y="446"/>
                    </a:lnTo>
                    <a:lnTo>
                      <a:pt x="0" y="446"/>
                    </a:lnTo>
                    <a:lnTo>
                      <a:pt x="0" y="456"/>
                    </a:lnTo>
                    <a:lnTo>
                      <a:pt x="4" y="468"/>
                    </a:lnTo>
                    <a:lnTo>
                      <a:pt x="8" y="480"/>
                    </a:lnTo>
                    <a:lnTo>
                      <a:pt x="16" y="491"/>
                    </a:lnTo>
                    <a:lnTo>
                      <a:pt x="22" y="497"/>
                    </a:lnTo>
                    <a:lnTo>
                      <a:pt x="28" y="503"/>
                    </a:lnTo>
                    <a:lnTo>
                      <a:pt x="36" y="507"/>
                    </a:lnTo>
                    <a:lnTo>
                      <a:pt x="45" y="511"/>
                    </a:lnTo>
                    <a:lnTo>
                      <a:pt x="55" y="513"/>
                    </a:lnTo>
                    <a:lnTo>
                      <a:pt x="67" y="513"/>
                    </a:lnTo>
                    <a:lnTo>
                      <a:pt x="447" y="513"/>
                    </a:lnTo>
                    <a:lnTo>
                      <a:pt x="447" y="513"/>
                    </a:lnTo>
                    <a:lnTo>
                      <a:pt x="457" y="513"/>
                    </a:lnTo>
                    <a:lnTo>
                      <a:pt x="468" y="509"/>
                    </a:lnTo>
                    <a:lnTo>
                      <a:pt x="480" y="505"/>
                    </a:lnTo>
                    <a:lnTo>
                      <a:pt x="492" y="497"/>
                    </a:lnTo>
                    <a:lnTo>
                      <a:pt x="498" y="491"/>
                    </a:lnTo>
                    <a:lnTo>
                      <a:pt x="504" y="486"/>
                    </a:lnTo>
                    <a:lnTo>
                      <a:pt x="507" y="478"/>
                    </a:lnTo>
                    <a:lnTo>
                      <a:pt x="511" y="468"/>
                    </a:lnTo>
                    <a:lnTo>
                      <a:pt x="513" y="458"/>
                    </a:lnTo>
                    <a:lnTo>
                      <a:pt x="513" y="446"/>
                    </a:lnTo>
                    <a:lnTo>
                      <a:pt x="513" y="66"/>
                    </a:lnTo>
                    <a:lnTo>
                      <a:pt x="513" y="66"/>
                    </a:lnTo>
                    <a:lnTo>
                      <a:pt x="513" y="57"/>
                    </a:lnTo>
                    <a:lnTo>
                      <a:pt x="509" y="45"/>
                    </a:lnTo>
                    <a:lnTo>
                      <a:pt x="505" y="33"/>
                    </a:lnTo>
                    <a:lnTo>
                      <a:pt x="498" y="21"/>
                    </a:lnTo>
                    <a:lnTo>
                      <a:pt x="492" y="16"/>
                    </a:lnTo>
                    <a:lnTo>
                      <a:pt x="486" y="10"/>
                    </a:lnTo>
                    <a:lnTo>
                      <a:pt x="478" y="6"/>
                    </a:lnTo>
                    <a:lnTo>
                      <a:pt x="468" y="2"/>
                    </a:lnTo>
                    <a:lnTo>
                      <a:pt x="458" y="0"/>
                    </a:lnTo>
                    <a:lnTo>
                      <a:pt x="447" y="0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636654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1" name="Freeform 6">
                <a:extLst>
                  <a:ext uri="{FF2B5EF4-FFF2-40B4-BE49-F238E27FC236}">
                    <a16:creationId xmlns:a16="http://schemas.microsoft.com/office/drawing/2014/main" id="{0A0D4F1D-D403-4998-92B3-D111B05E6B2D}"/>
                  </a:ext>
                </a:extLst>
              </p:cNvPr>
              <p:cNvSpPr>
                <a:spLocks noChangeAspect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1852383" y="2116558"/>
                <a:ext cx="133073" cy="87958"/>
              </a:xfrm>
              <a:custGeom>
                <a:avLst/>
                <a:gdLst>
                  <a:gd name="T0" fmla="*/ 2147483647 w 1120"/>
                  <a:gd name="T1" fmla="*/ 2147483647 h 988"/>
                  <a:gd name="T2" fmla="*/ 2147483647 w 1120"/>
                  <a:gd name="T3" fmla="*/ 2147483647 h 988"/>
                  <a:gd name="T4" fmla="*/ 2147483647 w 1120"/>
                  <a:gd name="T5" fmla="*/ 2147483647 h 988"/>
                  <a:gd name="T6" fmla="*/ 2147483647 w 1120"/>
                  <a:gd name="T7" fmla="*/ 2147483647 h 988"/>
                  <a:gd name="T8" fmla="*/ 2147483647 w 1120"/>
                  <a:gd name="T9" fmla="*/ 2147483647 h 988"/>
                  <a:gd name="T10" fmla="*/ 2147483647 w 1120"/>
                  <a:gd name="T11" fmla="*/ 2147483647 h 988"/>
                  <a:gd name="T12" fmla="*/ 2147483647 w 1120"/>
                  <a:gd name="T13" fmla="*/ 2147483647 h 988"/>
                  <a:gd name="T14" fmla="*/ 2147483647 w 1120"/>
                  <a:gd name="T15" fmla="*/ 2147483647 h 988"/>
                  <a:gd name="T16" fmla="*/ 2147483647 w 1120"/>
                  <a:gd name="T17" fmla="*/ 2147483647 h 988"/>
                  <a:gd name="T18" fmla="*/ 2147483647 w 1120"/>
                  <a:gd name="T19" fmla="*/ 2147483647 h 988"/>
                  <a:gd name="T20" fmla="*/ 2147483647 w 1120"/>
                  <a:gd name="T21" fmla="*/ 2147483647 h 988"/>
                  <a:gd name="T22" fmla="*/ 2147483647 w 1120"/>
                  <a:gd name="T23" fmla="*/ 2147483647 h 988"/>
                  <a:gd name="T24" fmla="*/ 2147483647 w 1120"/>
                  <a:gd name="T25" fmla="*/ 2147483647 h 988"/>
                  <a:gd name="T26" fmla="*/ 2147483647 w 1120"/>
                  <a:gd name="T27" fmla="*/ 2147483647 h 988"/>
                  <a:gd name="T28" fmla="*/ 2147483647 w 1120"/>
                  <a:gd name="T29" fmla="*/ 2147483647 h 988"/>
                  <a:gd name="T30" fmla="*/ 2147483647 w 1120"/>
                  <a:gd name="T31" fmla="*/ 2147483647 h 988"/>
                  <a:gd name="T32" fmla="*/ 2147483647 w 1120"/>
                  <a:gd name="T33" fmla="*/ 0 h 988"/>
                  <a:gd name="T34" fmla="*/ 2147483647 w 1120"/>
                  <a:gd name="T35" fmla="*/ 2147483647 h 988"/>
                  <a:gd name="T36" fmla="*/ 2147483647 w 1120"/>
                  <a:gd name="T37" fmla="*/ 2147483647 h 988"/>
                  <a:gd name="T38" fmla="*/ 2147483647 w 1120"/>
                  <a:gd name="T39" fmla="*/ 2147483647 h 988"/>
                  <a:gd name="T40" fmla="*/ 2147483647 w 1120"/>
                  <a:gd name="T41" fmla="*/ 2147483647 h 988"/>
                  <a:gd name="T42" fmla="*/ 2147483647 w 1120"/>
                  <a:gd name="T43" fmla="*/ 2147483647 h 988"/>
                  <a:gd name="T44" fmla="*/ 2147483647 w 1120"/>
                  <a:gd name="T45" fmla="*/ 2147483647 h 988"/>
                  <a:gd name="T46" fmla="*/ 2147483647 w 1120"/>
                  <a:gd name="T47" fmla="*/ 2147483647 h 988"/>
                  <a:gd name="T48" fmla="*/ 2147483647 w 1120"/>
                  <a:gd name="T49" fmla="*/ 2147483647 h 988"/>
                  <a:gd name="T50" fmla="*/ 2147483647 w 1120"/>
                  <a:gd name="T51" fmla="*/ 2147483647 h 988"/>
                  <a:gd name="T52" fmla="*/ 2147483647 w 1120"/>
                  <a:gd name="T53" fmla="*/ 2147483647 h 988"/>
                  <a:gd name="T54" fmla="*/ 2147483647 w 1120"/>
                  <a:gd name="T55" fmla="*/ 2147483647 h 988"/>
                  <a:gd name="T56" fmla="*/ 2147483647 w 1120"/>
                  <a:gd name="T57" fmla="*/ 2147483647 h 988"/>
                  <a:gd name="T58" fmla="*/ 2147483647 w 1120"/>
                  <a:gd name="T59" fmla="*/ 2147483647 h 988"/>
                  <a:gd name="T60" fmla="*/ 2147483647 w 1120"/>
                  <a:gd name="T61" fmla="*/ 2147483647 h 988"/>
                  <a:gd name="T62" fmla="*/ 2147483647 w 1120"/>
                  <a:gd name="T63" fmla="*/ 2147483647 h 988"/>
                  <a:gd name="T64" fmla="*/ 2147483647 w 1120"/>
                  <a:gd name="T65" fmla="*/ 2147483647 h 988"/>
                  <a:gd name="T66" fmla="*/ 2147483647 w 1120"/>
                  <a:gd name="T67" fmla="*/ 2147483647 h 988"/>
                  <a:gd name="T68" fmla="*/ 2147483647 w 1120"/>
                  <a:gd name="T69" fmla="*/ 2147483647 h 988"/>
                  <a:gd name="T70" fmla="*/ 0 w 1120"/>
                  <a:gd name="T71" fmla="*/ 2147483647 h 988"/>
                  <a:gd name="T72" fmla="*/ 2147483647 w 1120"/>
                  <a:gd name="T73" fmla="*/ 2147483647 h 988"/>
                  <a:gd name="T74" fmla="*/ 2147483647 w 1120"/>
                  <a:gd name="T75" fmla="*/ 2147483647 h 988"/>
                  <a:gd name="T76" fmla="*/ 2147483647 w 1120"/>
                  <a:gd name="T77" fmla="*/ 2147483647 h 988"/>
                  <a:gd name="T78" fmla="*/ 2147483647 w 1120"/>
                  <a:gd name="T79" fmla="*/ 2147483647 h 988"/>
                  <a:gd name="T80" fmla="*/ 2147483647 w 1120"/>
                  <a:gd name="T81" fmla="*/ 2147483647 h 988"/>
                  <a:gd name="T82" fmla="*/ 2147483647 w 1120"/>
                  <a:gd name="T83" fmla="*/ 2147483647 h 988"/>
                  <a:gd name="T84" fmla="*/ 2147483647 w 1120"/>
                  <a:gd name="T85" fmla="*/ 2147483647 h 988"/>
                  <a:gd name="T86" fmla="*/ 2147483647 w 1120"/>
                  <a:gd name="T87" fmla="*/ 2147483647 h 988"/>
                  <a:gd name="T88" fmla="*/ 2147483647 w 1120"/>
                  <a:gd name="T89" fmla="*/ 2147483647 h 988"/>
                  <a:gd name="T90" fmla="*/ 2147483647 w 1120"/>
                  <a:gd name="T91" fmla="*/ 2147483647 h 988"/>
                  <a:gd name="T92" fmla="*/ 2147483647 w 1120"/>
                  <a:gd name="T93" fmla="*/ 2147483647 h 988"/>
                  <a:gd name="T94" fmla="*/ 2147483647 w 1120"/>
                  <a:gd name="T95" fmla="*/ 2147483647 h 988"/>
                  <a:gd name="T96" fmla="*/ 2147483647 w 1120"/>
                  <a:gd name="T97" fmla="*/ 2147483647 h 988"/>
                  <a:gd name="T98" fmla="*/ 2147483647 w 1120"/>
                  <a:gd name="T99" fmla="*/ 2147483647 h 988"/>
                  <a:gd name="T100" fmla="*/ 2147483647 w 1120"/>
                  <a:gd name="T101" fmla="*/ 2147483647 h 988"/>
                  <a:gd name="T102" fmla="*/ 2147483647 w 1120"/>
                  <a:gd name="T103" fmla="*/ 2147483647 h 988"/>
                  <a:gd name="T104" fmla="*/ 2147483647 w 1120"/>
                  <a:gd name="T105" fmla="*/ 2147483647 h 988"/>
                  <a:gd name="T106" fmla="*/ 2147483647 w 1120"/>
                  <a:gd name="T107" fmla="*/ 2147483647 h 988"/>
                  <a:gd name="T108" fmla="*/ 2147483647 w 1120"/>
                  <a:gd name="T109" fmla="*/ 2147483647 h 988"/>
                  <a:gd name="T110" fmla="*/ 2147483647 w 1120"/>
                  <a:gd name="T111" fmla="*/ 2147483647 h 988"/>
                  <a:gd name="T112" fmla="*/ 2147483647 w 1120"/>
                  <a:gd name="T113" fmla="*/ 2147483647 h 988"/>
                  <a:gd name="T114" fmla="*/ 2147483647 w 1120"/>
                  <a:gd name="T115" fmla="*/ 2147483647 h 988"/>
                  <a:gd name="T116" fmla="*/ 2147483647 w 1120"/>
                  <a:gd name="T117" fmla="*/ 2147483647 h 988"/>
                  <a:gd name="T118" fmla="*/ 2147483647 w 1120"/>
                  <a:gd name="T119" fmla="*/ 2147483647 h 98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120"/>
                  <a:gd name="T181" fmla="*/ 0 h 988"/>
                  <a:gd name="T182" fmla="*/ 1120 w 1120"/>
                  <a:gd name="T183" fmla="*/ 988 h 98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120" h="988">
                    <a:moveTo>
                      <a:pt x="1087" y="920"/>
                    </a:moveTo>
                    <a:lnTo>
                      <a:pt x="1087" y="920"/>
                    </a:lnTo>
                    <a:lnTo>
                      <a:pt x="855" y="773"/>
                    </a:lnTo>
                    <a:lnTo>
                      <a:pt x="673" y="662"/>
                    </a:lnTo>
                    <a:lnTo>
                      <a:pt x="664" y="657"/>
                    </a:lnTo>
                    <a:lnTo>
                      <a:pt x="640" y="651"/>
                    </a:lnTo>
                    <a:lnTo>
                      <a:pt x="640" y="640"/>
                    </a:lnTo>
                    <a:lnTo>
                      <a:pt x="640" y="625"/>
                    </a:lnTo>
                    <a:lnTo>
                      <a:pt x="637" y="613"/>
                    </a:lnTo>
                    <a:lnTo>
                      <a:pt x="633" y="600"/>
                    </a:lnTo>
                    <a:lnTo>
                      <a:pt x="627" y="588"/>
                    </a:lnTo>
                    <a:lnTo>
                      <a:pt x="619" y="577"/>
                    </a:lnTo>
                    <a:lnTo>
                      <a:pt x="610" y="568"/>
                    </a:lnTo>
                    <a:lnTo>
                      <a:pt x="601" y="559"/>
                    </a:lnTo>
                    <a:lnTo>
                      <a:pt x="589" y="551"/>
                    </a:lnTo>
                    <a:lnTo>
                      <a:pt x="593" y="538"/>
                    </a:lnTo>
                    <a:lnTo>
                      <a:pt x="596" y="526"/>
                    </a:lnTo>
                    <a:lnTo>
                      <a:pt x="598" y="515"/>
                    </a:lnTo>
                    <a:lnTo>
                      <a:pt x="566" y="50"/>
                    </a:lnTo>
                    <a:lnTo>
                      <a:pt x="566" y="41"/>
                    </a:lnTo>
                    <a:lnTo>
                      <a:pt x="563" y="32"/>
                    </a:lnTo>
                    <a:lnTo>
                      <a:pt x="560" y="24"/>
                    </a:lnTo>
                    <a:lnTo>
                      <a:pt x="556" y="18"/>
                    </a:lnTo>
                    <a:lnTo>
                      <a:pt x="551" y="12"/>
                    </a:lnTo>
                    <a:lnTo>
                      <a:pt x="545" y="6"/>
                    </a:lnTo>
                    <a:lnTo>
                      <a:pt x="539" y="3"/>
                    </a:lnTo>
                    <a:lnTo>
                      <a:pt x="533" y="0"/>
                    </a:lnTo>
                    <a:lnTo>
                      <a:pt x="527" y="0"/>
                    </a:lnTo>
                    <a:lnTo>
                      <a:pt x="522" y="1"/>
                    </a:lnTo>
                    <a:lnTo>
                      <a:pt x="516" y="4"/>
                    </a:lnTo>
                    <a:lnTo>
                      <a:pt x="512" y="9"/>
                    </a:lnTo>
                    <a:lnTo>
                      <a:pt x="507" y="17"/>
                    </a:lnTo>
                    <a:lnTo>
                      <a:pt x="503" y="26"/>
                    </a:lnTo>
                    <a:lnTo>
                      <a:pt x="500" y="38"/>
                    </a:lnTo>
                    <a:lnTo>
                      <a:pt x="498" y="53"/>
                    </a:lnTo>
                    <a:lnTo>
                      <a:pt x="494" y="160"/>
                    </a:lnTo>
                    <a:lnTo>
                      <a:pt x="486" y="316"/>
                    </a:lnTo>
                    <a:lnTo>
                      <a:pt x="479" y="515"/>
                    </a:lnTo>
                    <a:lnTo>
                      <a:pt x="480" y="526"/>
                    </a:lnTo>
                    <a:lnTo>
                      <a:pt x="486" y="551"/>
                    </a:lnTo>
                    <a:lnTo>
                      <a:pt x="476" y="559"/>
                    </a:lnTo>
                    <a:lnTo>
                      <a:pt x="465" y="568"/>
                    </a:lnTo>
                    <a:lnTo>
                      <a:pt x="457" y="578"/>
                    </a:lnTo>
                    <a:lnTo>
                      <a:pt x="450" y="589"/>
                    </a:lnTo>
                    <a:lnTo>
                      <a:pt x="444" y="600"/>
                    </a:lnTo>
                    <a:lnTo>
                      <a:pt x="439" y="613"/>
                    </a:lnTo>
                    <a:lnTo>
                      <a:pt x="436" y="627"/>
                    </a:lnTo>
                    <a:lnTo>
                      <a:pt x="436" y="640"/>
                    </a:lnTo>
                    <a:lnTo>
                      <a:pt x="436" y="651"/>
                    </a:lnTo>
                    <a:lnTo>
                      <a:pt x="421" y="656"/>
                    </a:lnTo>
                    <a:lnTo>
                      <a:pt x="415" y="659"/>
                    </a:lnTo>
                    <a:lnTo>
                      <a:pt x="27" y="918"/>
                    </a:lnTo>
                    <a:lnTo>
                      <a:pt x="19" y="924"/>
                    </a:lnTo>
                    <a:lnTo>
                      <a:pt x="13" y="930"/>
                    </a:lnTo>
                    <a:lnTo>
                      <a:pt x="9" y="936"/>
                    </a:lnTo>
                    <a:lnTo>
                      <a:pt x="4" y="944"/>
                    </a:lnTo>
                    <a:lnTo>
                      <a:pt x="3" y="952"/>
                    </a:lnTo>
                    <a:lnTo>
                      <a:pt x="1" y="959"/>
                    </a:lnTo>
                    <a:lnTo>
                      <a:pt x="0" y="965"/>
                    </a:lnTo>
                    <a:lnTo>
                      <a:pt x="1" y="971"/>
                    </a:lnTo>
                    <a:lnTo>
                      <a:pt x="4" y="977"/>
                    </a:lnTo>
                    <a:lnTo>
                      <a:pt x="7" y="982"/>
                    </a:lnTo>
                    <a:lnTo>
                      <a:pt x="13" y="985"/>
                    </a:lnTo>
                    <a:lnTo>
                      <a:pt x="19" y="986"/>
                    </a:lnTo>
                    <a:lnTo>
                      <a:pt x="28" y="988"/>
                    </a:lnTo>
                    <a:lnTo>
                      <a:pt x="39" y="986"/>
                    </a:lnTo>
                    <a:lnTo>
                      <a:pt x="50" y="982"/>
                    </a:lnTo>
                    <a:lnTo>
                      <a:pt x="63" y="976"/>
                    </a:lnTo>
                    <a:lnTo>
                      <a:pt x="160" y="927"/>
                    </a:lnTo>
                    <a:lnTo>
                      <a:pt x="297" y="855"/>
                    </a:lnTo>
                    <a:lnTo>
                      <a:pt x="474" y="761"/>
                    </a:lnTo>
                    <a:lnTo>
                      <a:pt x="483" y="754"/>
                    </a:lnTo>
                    <a:lnTo>
                      <a:pt x="503" y="736"/>
                    </a:lnTo>
                    <a:lnTo>
                      <a:pt x="521" y="740"/>
                    </a:lnTo>
                    <a:lnTo>
                      <a:pt x="539" y="742"/>
                    </a:lnTo>
                    <a:lnTo>
                      <a:pt x="550" y="742"/>
                    </a:lnTo>
                    <a:lnTo>
                      <a:pt x="560" y="740"/>
                    </a:lnTo>
                    <a:lnTo>
                      <a:pt x="571" y="737"/>
                    </a:lnTo>
                    <a:lnTo>
                      <a:pt x="581" y="733"/>
                    </a:lnTo>
                    <a:lnTo>
                      <a:pt x="593" y="746"/>
                    </a:lnTo>
                    <a:lnTo>
                      <a:pt x="604" y="757"/>
                    </a:lnTo>
                    <a:lnTo>
                      <a:pt x="616" y="766"/>
                    </a:lnTo>
                    <a:lnTo>
                      <a:pt x="1057" y="982"/>
                    </a:lnTo>
                    <a:lnTo>
                      <a:pt x="1065" y="985"/>
                    </a:lnTo>
                    <a:lnTo>
                      <a:pt x="1074" y="986"/>
                    </a:lnTo>
                    <a:lnTo>
                      <a:pt x="1083" y="988"/>
                    </a:lnTo>
                    <a:lnTo>
                      <a:pt x="1090" y="988"/>
                    </a:lnTo>
                    <a:lnTo>
                      <a:pt x="1098" y="986"/>
                    </a:lnTo>
                    <a:lnTo>
                      <a:pt x="1105" y="983"/>
                    </a:lnTo>
                    <a:lnTo>
                      <a:pt x="1110" y="980"/>
                    </a:lnTo>
                    <a:lnTo>
                      <a:pt x="1116" y="976"/>
                    </a:lnTo>
                    <a:lnTo>
                      <a:pt x="1119" y="971"/>
                    </a:lnTo>
                    <a:lnTo>
                      <a:pt x="1120" y="965"/>
                    </a:lnTo>
                    <a:lnTo>
                      <a:pt x="1120" y="959"/>
                    </a:lnTo>
                    <a:lnTo>
                      <a:pt x="1119" y="953"/>
                    </a:lnTo>
                    <a:lnTo>
                      <a:pt x="1114" y="946"/>
                    </a:lnTo>
                    <a:lnTo>
                      <a:pt x="1108" y="938"/>
                    </a:lnTo>
                    <a:lnTo>
                      <a:pt x="1099" y="929"/>
                    </a:lnTo>
                    <a:lnTo>
                      <a:pt x="1087" y="92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2" name="Freeform 190">
                <a:extLst>
                  <a:ext uri="{FF2B5EF4-FFF2-40B4-BE49-F238E27FC236}">
                    <a16:creationId xmlns:a16="http://schemas.microsoft.com/office/drawing/2014/main" id="{3A3A044E-CF66-4EF4-9CCC-0EC5536953A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44294" y="2204515"/>
                <a:ext cx="164326" cy="132306"/>
              </a:xfrm>
              <a:custGeom>
                <a:avLst/>
                <a:gdLst>
                  <a:gd name="T0" fmla="*/ 67 w 513"/>
                  <a:gd name="T1" fmla="*/ 0 h 513"/>
                  <a:gd name="T2" fmla="*/ 67 w 513"/>
                  <a:gd name="T3" fmla="*/ 0 h 513"/>
                  <a:gd name="T4" fmla="*/ 57 w 513"/>
                  <a:gd name="T5" fmla="*/ 0 h 513"/>
                  <a:gd name="T6" fmla="*/ 45 w 513"/>
                  <a:gd name="T7" fmla="*/ 4 h 513"/>
                  <a:gd name="T8" fmla="*/ 34 w 513"/>
                  <a:gd name="T9" fmla="*/ 8 h 513"/>
                  <a:gd name="T10" fmla="*/ 22 w 513"/>
                  <a:gd name="T11" fmla="*/ 16 h 513"/>
                  <a:gd name="T12" fmla="*/ 16 w 513"/>
                  <a:gd name="T13" fmla="*/ 21 h 513"/>
                  <a:gd name="T14" fmla="*/ 10 w 513"/>
                  <a:gd name="T15" fmla="*/ 27 h 513"/>
                  <a:gd name="T16" fmla="*/ 6 w 513"/>
                  <a:gd name="T17" fmla="*/ 35 h 513"/>
                  <a:gd name="T18" fmla="*/ 2 w 513"/>
                  <a:gd name="T19" fmla="*/ 45 h 513"/>
                  <a:gd name="T20" fmla="*/ 0 w 513"/>
                  <a:gd name="T21" fmla="*/ 55 h 513"/>
                  <a:gd name="T22" fmla="*/ 0 w 513"/>
                  <a:gd name="T23" fmla="*/ 66 h 513"/>
                  <a:gd name="T24" fmla="*/ 0 w 513"/>
                  <a:gd name="T25" fmla="*/ 446 h 513"/>
                  <a:gd name="T26" fmla="*/ 0 w 513"/>
                  <a:gd name="T27" fmla="*/ 446 h 513"/>
                  <a:gd name="T28" fmla="*/ 0 w 513"/>
                  <a:gd name="T29" fmla="*/ 456 h 513"/>
                  <a:gd name="T30" fmla="*/ 4 w 513"/>
                  <a:gd name="T31" fmla="*/ 468 h 513"/>
                  <a:gd name="T32" fmla="*/ 8 w 513"/>
                  <a:gd name="T33" fmla="*/ 480 h 513"/>
                  <a:gd name="T34" fmla="*/ 16 w 513"/>
                  <a:gd name="T35" fmla="*/ 491 h 513"/>
                  <a:gd name="T36" fmla="*/ 22 w 513"/>
                  <a:gd name="T37" fmla="*/ 497 h 513"/>
                  <a:gd name="T38" fmla="*/ 28 w 513"/>
                  <a:gd name="T39" fmla="*/ 503 h 513"/>
                  <a:gd name="T40" fmla="*/ 36 w 513"/>
                  <a:gd name="T41" fmla="*/ 507 h 513"/>
                  <a:gd name="T42" fmla="*/ 45 w 513"/>
                  <a:gd name="T43" fmla="*/ 511 h 513"/>
                  <a:gd name="T44" fmla="*/ 55 w 513"/>
                  <a:gd name="T45" fmla="*/ 513 h 513"/>
                  <a:gd name="T46" fmla="*/ 67 w 513"/>
                  <a:gd name="T47" fmla="*/ 513 h 513"/>
                  <a:gd name="T48" fmla="*/ 447 w 513"/>
                  <a:gd name="T49" fmla="*/ 513 h 513"/>
                  <a:gd name="T50" fmla="*/ 447 w 513"/>
                  <a:gd name="T51" fmla="*/ 513 h 513"/>
                  <a:gd name="T52" fmla="*/ 457 w 513"/>
                  <a:gd name="T53" fmla="*/ 513 h 513"/>
                  <a:gd name="T54" fmla="*/ 468 w 513"/>
                  <a:gd name="T55" fmla="*/ 509 h 513"/>
                  <a:gd name="T56" fmla="*/ 480 w 513"/>
                  <a:gd name="T57" fmla="*/ 505 h 513"/>
                  <a:gd name="T58" fmla="*/ 492 w 513"/>
                  <a:gd name="T59" fmla="*/ 497 h 513"/>
                  <a:gd name="T60" fmla="*/ 498 w 513"/>
                  <a:gd name="T61" fmla="*/ 491 h 513"/>
                  <a:gd name="T62" fmla="*/ 504 w 513"/>
                  <a:gd name="T63" fmla="*/ 486 h 513"/>
                  <a:gd name="T64" fmla="*/ 507 w 513"/>
                  <a:gd name="T65" fmla="*/ 478 h 513"/>
                  <a:gd name="T66" fmla="*/ 511 w 513"/>
                  <a:gd name="T67" fmla="*/ 468 h 513"/>
                  <a:gd name="T68" fmla="*/ 513 w 513"/>
                  <a:gd name="T69" fmla="*/ 458 h 513"/>
                  <a:gd name="T70" fmla="*/ 513 w 513"/>
                  <a:gd name="T71" fmla="*/ 446 h 513"/>
                  <a:gd name="T72" fmla="*/ 513 w 513"/>
                  <a:gd name="T73" fmla="*/ 66 h 513"/>
                  <a:gd name="T74" fmla="*/ 513 w 513"/>
                  <a:gd name="T75" fmla="*/ 66 h 513"/>
                  <a:gd name="T76" fmla="*/ 513 w 513"/>
                  <a:gd name="T77" fmla="*/ 57 h 513"/>
                  <a:gd name="T78" fmla="*/ 509 w 513"/>
                  <a:gd name="T79" fmla="*/ 45 h 513"/>
                  <a:gd name="T80" fmla="*/ 505 w 513"/>
                  <a:gd name="T81" fmla="*/ 33 h 513"/>
                  <a:gd name="T82" fmla="*/ 498 w 513"/>
                  <a:gd name="T83" fmla="*/ 21 h 513"/>
                  <a:gd name="T84" fmla="*/ 492 w 513"/>
                  <a:gd name="T85" fmla="*/ 16 h 513"/>
                  <a:gd name="T86" fmla="*/ 486 w 513"/>
                  <a:gd name="T87" fmla="*/ 10 h 513"/>
                  <a:gd name="T88" fmla="*/ 478 w 513"/>
                  <a:gd name="T89" fmla="*/ 6 h 513"/>
                  <a:gd name="T90" fmla="*/ 468 w 513"/>
                  <a:gd name="T91" fmla="*/ 2 h 513"/>
                  <a:gd name="T92" fmla="*/ 458 w 513"/>
                  <a:gd name="T93" fmla="*/ 0 h 513"/>
                  <a:gd name="T94" fmla="*/ 447 w 513"/>
                  <a:gd name="T95" fmla="*/ 0 h 513"/>
                  <a:gd name="T96" fmla="*/ 67 w 513"/>
                  <a:gd name="T97" fmla="*/ 0 h 5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13" h="513">
                    <a:moveTo>
                      <a:pt x="67" y="0"/>
                    </a:moveTo>
                    <a:lnTo>
                      <a:pt x="67" y="0"/>
                    </a:lnTo>
                    <a:lnTo>
                      <a:pt x="57" y="0"/>
                    </a:lnTo>
                    <a:lnTo>
                      <a:pt x="45" y="4"/>
                    </a:lnTo>
                    <a:lnTo>
                      <a:pt x="34" y="8"/>
                    </a:lnTo>
                    <a:lnTo>
                      <a:pt x="22" y="16"/>
                    </a:lnTo>
                    <a:lnTo>
                      <a:pt x="16" y="21"/>
                    </a:lnTo>
                    <a:lnTo>
                      <a:pt x="10" y="27"/>
                    </a:lnTo>
                    <a:lnTo>
                      <a:pt x="6" y="35"/>
                    </a:lnTo>
                    <a:lnTo>
                      <a:pt x="2" y="45"/>
                    </a:lnTo>
                    <a:lnTo>
                      <a:pt x="0" y="55"/>
                    </a:lnTo>
                    <a:lnTo>
                      <a:pt x="0" y="66"/>
                    </a:lnTo>
                    <a:lnTo>
                      <a:pt x="0" y="446"/>
                    </a:lnTo>
                    <a:lnTo>
                      <a:pt x="0" y="446"/>
                    </a:lnTo>
                    <a:lnTo>
                      <a:pt x="0" y="456"/>
                    </a:lnTo>
                    <a:lnTo>
                      <a:pt x="4" y="468"/>
                    </a:lnTo>
                    <a:lnTo>
                      <a:pt x="8" y="480"/>
                    </a:lnTo>
                    <a:lnTo>
                      <a:pt x="16" y="491"/>
                    </a:lnTo>
                    <a:lnTo>
                      <a:pt x="22" y="497"/>
                    </a:lnTo>
                    <a:lnTo>
                      <a:pt x="28" y="503"/>
                    </a:lnTo>
                    <a:lnTo>
                      <a:pt x="36" y="507"/>
                    </a:lnTo>
                    <a:lnTo>
                      <a:pt x="45" y="511"/>
                    </a:lnTo>
                    <a:lnTo>
                      <a:pt x="55" y="513"/>
                    </a:lnTo>
                    <a:lnTo>
                      <a:pt x="67" y="513"/>
                    </a:lnTo>
                    <a:lnTo>
                      <a:pt x="447" y="513"/>
                    </a:lnTo>
                    <a:lnTo>
                      <a:pt x="447" y="513"/>
                    </a:lnTo>
                    <a:lnTo>
                      <a:pt x="457" y="513"/>
                    </a:lnTo>
                    <a:lnTo>
                      <a:pt x="468" y="509"/>
                    </a:lnTo>
                    <a:lnTo>
                      <a:pt x="480" y="505"/>
                    </a:lnTo>
                    <a:lnTo>
                      <a:pt x="492" y="497"/>
                    </a:lnTo>
                    <a:lnTo>
                      <a:pt x="498" y="491"/>
                    </a:lnTo>
                    <a:lnTo>
                      <a:pt x="504" y="486"/>
                    </a:lnTo>
                    <a:lnTo>
                      <a:pt x="507" y="478"/>
                    </a:lnTo>
                    <a:lnTo>
                      <a:pt x="511" y="468"/>
                    </a:lnTo>
                    <a:lnTo>
                      <a:pt x="513" y="458"/>
                    </a:lnTo>
                    <a:lnTo>
                      <a:pt x="513" y="446"/>
                    </a:lnTo>
                    <a:lnTo>
                      <a:pt x="513" y="66"/>
                    </a:lnTo>
                    <a:lnTo>
                      <a:pt x="513" y="66"/>
                    </a:lnTo>
                    <a:lnTo>
                      <a:pt x="513" y="57"/>
                    </a:lnTo>
                    <a:lnTo>
                      <a:pt x="509" y="45"/>
                    </a:lnTo>
                    <a:lnTo>
                      <a:pt x="505" y="33"/>
                    </a:lnTo>
                    <a:lnTo>
                      <a:pt x="498" y="21"/>
                    </a:lnTo>
                    <a:lnTo>
                      <a:pt x="492" y="16"/>
                    </a:lnTo>
                    <a:lnTo>
                      <a:pt x="486" y="10"/>
                    </a:lnTo>
                    <a:lnTo>
                      <a:pt x="478" y="6"/>
                    </a:lnTo>
                    <a:lnTo>
                      <a:pt x="468" y="2"/>
                    </a:lnTo>
                    <a:lnTo>
                      <a:pt x="458" y="0"/>
                    </a:lnTo>
                    <a:lnTo>
                      <a:pt x="447" y="0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636654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53" name="Freeform 6">
                <a:extLst>
                  <a:ext uri="{FF2B5EF4-FFF2-40B4-BE49-F238E27FC236}">
                    <a16:creationId xmlns:a16="http://schemas.microsoft.com/office/drawing/2014/main" id="{00B5337F-CC3E-410C-AD58-D2B0A77C28A9}"/>
                  </a:ext>
                </a:extLst>
              </p:cNvPr>
              <p:cNvSpPr>
                <a:spLocks noChangeAspect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1759920" y="2221481"/>
                <a:ext cx="133073" cy="87542"/>
              </a:xfrm>
              <a:custGeom>
                <a:avLst/>
                <a:gdLst>
                  <a:gd name="T0" fmla="*/ 2147483647 w 1120"/>
                  <a:gd name="T1" fmla="*/ 2147483647 h 988"/>
                  <a:gd name="T2" fmla="*/ 2147483647 w 1120"/>
                  <a:gd name="T3" fmla="*/ 2147483647 h 988"/>
                  <a:gd name="T4" fmla="*/ 2147483647 w 1120"/>
                  <a:gd name="T5" fmla="*/ 2147483647 h 988"/>
                  <a:gd name="T6" fmla="*/ 2147483647 w 1120"/>
                  <a:gd name="T7" fmla="*/ 2147483647 h 988"/>
                  <a:gd name="T8" fmla="*/ 2147483647 w 1120"/>
                  <a:gd name="T9" fmla="*/ 2147483647 h 988"/>
                  <a:gd name="T10" fmla="*/ 2147483647 w 1120"/>
                  <a:gd name="T11" fmla="*/ 2147483647 h 988"/>
                  <a:gd name="T12" fmla="*/ 2147483647 w 1120"/>
                  <a:gd name="T13" fmla="*/ 2147483647 h 988"/>
                  <a:gd name="T14" fmla="*/ 2147483647 w 1120"/>
                  <a:gd name="T15" fmla="*/ 2147483647 h 988"/>
                  <a:gd name="T16" fmla="*/ 2147483647 w 1120"/>
                  <a:gd name="T17" fmla="*/ 2147483647 h 988"/>
                  <a:gd name="T18" fmla="*/ 2147483647 w 1120"/>
                  <a:gd name="T19" fmla="*/ 2147483647 h 988"/>
                  <a:gd name="T20" fmla="*/ 2147483647 w 1120"/>
                  <a:gd name="T21" fmla="*/ 2147483647 h 988"/>
                  <a:gd name="T22" fmla="*/ 2147483647 w 1120"/>
                  <a:gd name="T23" fmla="*/ 2147483647 h 988"/>
                  <a:gd name="T24" fmla="*/ 2147483647 w 1120"/>
                  <a:gd name="T25" fmla="*/ 2147483647 h 988"/>
                  <a:gd name="T26" fmla="*/ 2147483647 w 1120"/>
                  <a:gd name="T27" fmla="*/ 2147483647 h 988"/>
                  <a:gd name="T28" fmla="*/ 2147483647 w 1120"/>
                  <a:gd name="T29" fmla="*/ 2147483647 h 988"/>
                  <a:gd name="T30" fmla="*/ 2147483647 w 1120"/>
                  <a:gd name="T31" fmla="*/ 2147483647 h 988"/>
                  <a:gd name="T32" fmla="*/ 2147483647 w 1120"/>
                  <a:gd name="T33" fmla="*/ 0 h 988"/>
                  <a:gd name="T34" fmla="*/ 2147483647 w 1120"/>
                  <a:gd name="T35" fmla="*/ 2147483647 h 988"/>
                  <a:gd name="T36" fmla="*/ 2147483647 w 1120"/>
                  <a:gd name="T37" fmla="*/ 2147483647 h 988"/>
                  <a:gd name="T38" fmla="*/ 2147483647 w 1120"/>
                  <a:gd name="T39" fmla="*/ 2147483647 h 988"/>
                  <a:gd name="T40" fmla="*/ 2147483647 w 1120"/>
                  <a:gd name="T41" fmla="*/ 2147483647 h 988"/>
                  <a:gd name="T42" fmla="*/ 2147483647 w 1120"/>
                  <a:gd name="T43" fmla="*/ 2147483647 h 988"/>
                  <a:gd name="T44" fmla="*/ 2147483647 w 1120"/>
                  <a:gd name="T45" fmla="*/ 2147483647 h 988"/>
                  <a:gd name="T46" fmla="*/ 2147483647 w 1120"/>
                  <a:gd name="T47" fmla="*/ 2147483647 h 988"/>
                  <a:gd name="T48" fmla="*/ 2147483647 w 1120"/>
                  <a:gd name="T49" fmla="*/ 2147483647 h 988"/>
                  <a:gd name="T50" fmla="*/ 2147483647 w 1120"/>
                  <a:gd name="T51" fmla="*/ 2147483647 h 988"/>
                  <a:gd name="T52" fmla="*/ 2147483647 w 1120"/>
                  <a:gd name="T53" fmla="*/ 2147483647 h 988"/>
                  <a:gd name="T54" fmla="*/ 2147483647 w 1120"/>
                  <a:gd name="T55" fmla="*/ 2147483647 h 988"/>
                  <a:gd name="T56" fmla="*/ 2147483647 w 1120"/>
                  <a:gd name="T57" fmla="*/ 2147483647 h 988"/>
                  <a:gd name="T58" fmla="*/ 2147483647 w 1120"/>
                  <a:gd name="T59" fmla="*/ 2147483647 h 988"/>
                  <a:gd name="T60" fmla="*/ 2147483647 w 1120"/>
                  <a:gd name="T61" fmla="*/ 2147483647 h 988"/>
                  <a:gd name="T62" fmla="*/ 2147483647 w 1120"/>
                  <a:gd name="T63" fmla="*/ 2147483647 h 988"/>
                  <a:gd name="T64" fmla="*/ 2147483647 w 1120"/>
                  <a:gd name="T65" fmla="*/ 2147483647 h 988"/>
                  <a:gd name="T66" fmla="*/ 2147483647 w 1120"/>
                  <a:gd name="T67" fmla="*/ 2147483647 h 988"/>
                  <a:gd name="T68" fmla="*/ 2147483647 w 1120"/>
                  <a:gd name="T69" fmla="*/ 2147483647 h 988"/>
                  <a:gd name="T70" fmla="*/ 0 w 1120"/>
                  <a:gd name="T71" fmla="*/ 2147483647 h 988"/>
                  <a:gd name="T72" fmla="*/ 2147483647 w 1120"/>
                  <a:gd name="T73" fmla="*/ 2147483647 h 988"/>
                  <a:gd name="T74" fmla="*/ 2147483647 w 1120"/>
                  <a:gd name="T75" fmla="*/ 2147483647 h 988"/>
                  <a:gd name="T76" fmla="*/ 2147483647 w 1120"/>
                  <a:gd name="T77" fmla="*/ 2147483647 h 988"/>
                  <a:gd name="T78" fmla="*/ 2147483647 w 1120"/>
                  <a:gd name="T79" fmla="*/ 2147483647 h 988"/>
                  <a:gd name="T80" fmla="*/ 2147483647 w 1120"/>
                  <a:gd name="T81" fmla="*/ 2147483647 h 988"/>
                  <a:gd name="T82" fmla="*/ 2147483647 w 1120"/>
                  <a:gd name="T83" fmla="*/ 2147483647 h 988"/>
                  <a:gd name="T84" fmla="*/ 2147483647 w 1120"/>
                  <a:gd name="T85" fmla="*/ 2147483647 h 988"/>
                  <a:gd name="T86" fmla="*/ 2147483647 w 1120"/>
                  <a:gd name="T87" fmla="*/ 2147483647 h 988"/>
                  <a:gd name="T88" fmla="*/ 2147483647 w 1120"/>
                  <a:gd name="T89" fmla="*/ 2147483647 h 988"/>
                  <a:gd name="T90" fmla="*/ 2147483647 w 1120"/>
                  <a:gd name="T91" fmla="*/ 2147483647 h 988"/>
                  <a:gd name="T92" fmla="*/ 2147483647 w 1120"/>
                  <a:gd name="T93" fmla="*/ 2147483647 h 988"/>
                  <a:gd name="T94" fmla="*/ 2147483647 w 1120"/>
                  <a:gd name="T95" fmla="*/ 2147483647 h 988"/>
                  <a:gd name="T96" fmla="*/ 2147483647 w 1120"/>
                  <a:gd name="T97" fmla="*/ 2147483647 h 988"/>
                  <a:gd name="T98" fmla="*/ 2147483647 w 1120"/>
                  <a:gd name="T99" fmla="*/ 2147483647 h 988"/>
                  <a:gd name="T100" fmla="*/ 2147483647 w 1120"/>
                  <a:gd name="T101" fmla="*/ 2147483647 h 988"/>
                  <a:gd name="T102" fmla="*/ 2147483647 w 1120"/>
                  <a:gd name="T103" fmla="*/ 2147483647 h 988"/>
                  <a:gd name="T104" fmla="*/ 2147483647 w 1120"/>
                  <a:gd name="T105" fmla="*/ 2147483647 h 988"/>
                  <a:gd name="T106" fmla="*/ 2147483647 w 1120"/>
                  <a:gd name="T107" fmla="*/ 2147483647 h 988"/>
                  <a:gd name="T108" fmla="*/ 2147483647 w 1120"/>
                  <a:gd name="T109" fmla="*/ 2147483647 h 988"/>
                  <a:gd name="T110" fmla="*/ 2147483647 w 1120"/>
                  <a:gd name="T111" fmla="*/ 2147483647 h 988"/>
                  <a:gd name="T112" fmla="*/ 2147483647 w 1120"/>
                  <a:gd name="T113" fmla="*/ 2147483647 h 988"/>
                  <a:gd name="T114" fmla="*/ 2147483647 w 1120"/>
                  <a:gd name="T115" fmla="*/ 2147483647 h 988"/>
                  <a:gd name="T116" fmla="*/ 2147483647 w 1120"/>
                  <a:gd name="T117" fmla="*/ 2147483647 h 988"/>
                  <a:gd name="T118" fmla="*/ 2147483647 w 1120"/>
                  <a:gd name="T119" fmla="*/ 2147483647 h 98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120"/>
                  <a:gd name="T181" fmla="*/ 0 h 988"/>
                  <a:gd name="T182" fmla="*/ 1120 w 1120"/>
                  <a:gd name="T183" fmla="*/ 988 h 98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120" h="988">
                    <a:moveTo>
                      <a:pt x="1087" y="920"/>
                    </a:moveTo>
                    <a:lnTo>
                      <a:pt x="1087" y="920"/>
                    </a:lnTo>
                    <a:lnTo>
                      <a:pt x="855" y="773"/>
                    </a:lnTo>
                    <a:lnTo>
                      <a:pt x="673" y="662"/>
                    </a:lnTo>
                    <a:lnTo>
                      <a:pt x="664" y="657"/>
                    </a:lnTo>
                    <a:lnTo>
                      <a:pt x="640" y="651"/>
                    </a:lnTo>
                    <a:lnTo>
                      <a:pt x="640" y="640"/>
                    </a:lnTo>
                    <a:lnTo>
                      <a:pt x="640" y="625"/>
                    </a:lnTo>
                    <a:lnTo>
                      <a:pt x="637" y="613"/>
                    </a:lnTo>
                    <a:lnTo>
                      <a:pt x="633" y="600"/>
                    </a:lnTo>
                    <a:lnTo>
                      <a:pt x="627" y="588"/>
                    </a:lnTo>
                    <a:lnTo>
                      <a:pt x="619" y="577"/>
                    </a:lnTo>
                    <a:lnTo>
                      <a:pt x="610" y="568"/>
                    </a:lnTo>
                    <a:lnTo>
                      <a:pt x="601" y="559"/>
                    </a:lnTo>
                    <a:lnTo>
                      <a:pt x="589" y="551"/>
                    </a:lnTo>
                    <a:lnTo>
                      <a:pt x="593" y="538"/>
                    </a:lnTo>
                    <a:lnTo>
                      <a:pt x="596" y="526"/>
                    </a:lnTo>
                    <a:lnTo>
                      <a:pt x="598" y="515"/>
                    </a:lnTo>
                    <a:lnTo>
                      <a:pt x="566" y="50"/>
                    </a:lnTo>
                    <a:lnTo>
                      <a:pt x="566" y="41"/>
                    </a:lnTo>
                    <a:lnTo>
                      <a:pt x="563" y="32"/>
                    </a:lnTo>
                    <a:lnTo>
                      <a:pt x="560" y="24"/>
                    </a:lnTo>
                    <a:lnTo>
                      <a:pt x="556" y="18"/>
                    </a:lnTo>
                    <a:lnTo>
                      <a:pt x="551" y="12"/>
                    </a:lnTo>
                    <a:lnTo>
                      <a:pt x="545" y="6"/>
                    </a:lnTo>
                    <a:lnTo>
                      <a:pt x="539" y="3"/>
                    </a:lnTo>
                    <a:lnTo>
                      <a:pt x="533" y="0"/>
                    </a:lnTo>
                    <a:lnTo>
                      <a:pt x="527" y="0"/>
                    </a:lnTo>
                    <a:lnTo>
                      <a:pt x="522" y="1"/>
                    </a:lnTo>
                    <a:lnTo>
                      <a:pt x="516" y="4"/>
                    </a:lnTo>
                    <a:lnTo>
                      <a:pt x="512" y="9"/>
                    </a:lnTo>
                    <a:lnTo>
                      <a:pt x="507" y="17"/>
                    </a:lnTo>
                    <a:lnTo>
                      <a:pt x="503" y="26"/>
                    </a:lnTo>
                    <a:lnTo>
                      <a:pt x="500" y="38"/>
                    </a:lnTo>
                    <a:lnTo>
                      <a:pt x="498" y="53"/>
                    </a:lnTo>
                    <a:lnTo>
                      <a:pt x="494" y="160"/>
                    </a:lnTo>
                    <a:lnTo>
                      <a:pt x="486" y="316"/>
                    </a:lnTo>
                    <a:lnTo>
                      <a:pt x="479" y="515"/>
                    </a:lnTo>
                    <a:lnTo>
                      <a:pt x="480" y="526"/>
                    </a:lnTo>
                    <a:lnTo>
                      <a:pt x="486" y="551"/>
                    </a:lnTo>
                    <a:lnTo>
                      <a:pt x="476" y="559"/>
                    </a:lnTo>
                    <a:lnTo>
                      <a:pt x="465" y="568"/>
                    </a:lnTo>
                    <a:lnTo>
                      <a:pt x="457" y="578"/>
                    </a:lnTo>
                    <a:lnTo>
                      <a:pt x="450" y="589"/>
                    </a:lnTo>
                    <a:lnTo>
                      <a:pt x="444" y="600"/>
                    </a:lnTo>
                    <a:lnTo>
                      <a:pt x="439" y="613"/>
                    </a:lnTo>
                    <a:lnTo>
                      <a:pt x="436" y="627"/>
                    </a:lnTo>
                    <a:lnTo>
                      <a:pt x="436" y="640"/>
                    </a:lnTo>
                    <a:lnTo>
                      <a:pt x="436" y="651"/>
                    </a:lnTo>
                    <a:lnTo>
                      <a:pt x="421" y="656"/>
                    </a:lnTo>
                    <a:lnTo>
                      <a:pt x="415" y="659"/>
                    </a:lnTo>
                    <a:lnTo>
                      <a:pt x="27" y="918"/>
                    </a:lnTo>
                    <a:lnTo>
                      <a:pt x="19" y="924"/>
                    </a:lnTo>
                    <a:lnTo>
                      <a:pt x="13" y="930"/>
                    </a:lnTo>
                    <a:lnTo>
                      <a:pt x="9" y="936"/>
                    </a:lnTo>
                    <a:lnTo>
                      <a:pt x="4" y="944"/>
                    </a:lnTo>
                    <a:lnTo>
                      <a:pt x="3" y="952"/>
                    </a:lnTo>
                    <a:lnTo>
                      <a:pt x="1" y="959"/>
                    </a:lnTo>
                    <a:lnTo>
                      <a:pt x="0" y="965"/>
                    </a:lnTo>
                    <a:lnTo>
                      <a:pt x="1" y="971"/>
                    </a:lnTo>
                    <a:lnTo>
                      <a:pt x="4" y="977"/>
                    </a:lnTo>
                    <a:lnTo>
                      <a:pt x="7" y="982"/>
                    </a:lnTo>
                    <a:lnTo>
                      <a:pt x="13" y="985"/>
                    </a:lnTo>
                    <a:lnTo>
                      <a:pt x="19" y="986"/>
                    </a:lnTo>
                    <a:lnTo>
                      <a:pt x="28" y="988"/>
                    </a:lnTo>
                    <a:lnTo>
                      <a:pt x="39" y="986"/>
                    </a:lnTo>
                    <a:lnTo>
                      <a:pt x="50" y="982"/>
                    </a:lnTo>
                    <a:lnTo>
                      <a:pt x="63" y="976"/>
                    </a:lnTo>
                    <a:lnTo>
                      <a:pt x="160" y="927"/>
                    </a:lnTo>
                    <a:lnTo>
                      <a:pt x="297" y="855"/>
                    </a:lnTo>
                    <a:lnTo>
                      <a:pt x="474" y="761"/>
                    </a:lnTo>
                    <a:lnTo>
                      <a:pt x="483" y="754"/>
                    </a:lnTo>
                    <a:lnTo>
                      <a:pt x="503" y="736"/>
                    </a:lnTo>
                    <a:lnTo>
                      <a:pt x="521" y="740"/>
                    </a:lnTo>
                    <a:lnTo>
                      <a:pt x="539" y="742"/>
                    </a:lnTo>
                    <a:lnTo>
                      <a:pt x="550" y="742"/>
                    </a:lnTo>
                    <a:lnTo>
                      <a:pt x="560" y="740"/>
                    </a:lnTo>
                    <a:lnTo>
                      <a:pt x="571" y="737"/>
                    </a:lnTo>
                    <a:lnTo>
                      <a:pt x="581" y="733"/>
                    </a:lnTo>
                    <a:lnTo>
                      <a:pt x="593" y="746"/>
                    </a:lnTo>
                    <a:lnTo>
                      <a:pt x="604" y="757"/>
                    </a:lnTo>
                    <a:lnTo>
                      <a:pt x="616" y="766"/>
                    </a:lnTo>
                    <a:lnTo>
                      <a:pt x="1057" y="982"/>
                    </a:lnTo>
                    <a:lnTo>
                      <a:pt x="1065" y="985"/>
                    </a:lnTo>
                    <a:lnTo>
                      <a:pt x="1074" y="986"/>
                    </a:lnTo>
                    <a:lnTo>
                      <a:pt x="1083" y="988"/>
                    </a:lnTo>
                    <a:lnTo>
                      <a:pt x="1090" y="988"/>
                    </a:lnTo>
                    <a:lnTo>
                      <a:pt x="1098" y="986"/>
                    </a:lnTo>
                    <a:lnTo>
                      <a:pt x="1105" y="983"/>
                    </a:lnTo>
                    <a:lnTo>
                      <a:pt x="1110" y="980"/>
                    </a:lnTo>
                    <a:lnTo>
                      <a:pt x="1116" y="976"/>
                    </a:lnTo>
                    <a:lnTo>
                      <a:pt x="1119" y="971"/>
                    </a:lnTo>
                    <a:lnTo>
                      <a:pt x="1120" y="965"/>
                    </a:lnTo>
                    <a:lnTo>
                      <a:pt x="1120" y="959"/>
                    </a:lnTo>
                    <a:lnTo>
                      <a:pt x="1119" y="953"/>
                    </a:lnTo>
                    <a:lnTo>
                      <a:pt x="1114" y="946"/>
                    </a:lnTo>
                    <a:lnTo>
                      <a:pt x="1108" y="938"/>
                    </a:lnTo>
                    <a:lnTo>
                      <a:pt x="1099" y="929"/>
                    </a:lnTo>
                    <a:lnTo>
                      <a:pt x="1087" y="92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143" name="Freeform 190">
              <a:extLst>
                <a:ext uri="{FF2B5EF4-FFF2-40B4-BE49-F238E27FC236}">
                  <a16:creationId xmlns:a16="http://schemas.microsoft.com/office/drawing/2014/main" id="{AA099714-8654-457A-940C-1A72B61989E1}"/>
                </a:ext>
              </a:extLst>
            </p:cNvPr>
            <p:cNvSpPr>
              <a:spLocks/>
            </p:cNvSpPr>
            <p:nvPr/>
          </p:nvSpPr>
          <p:spPr bwMode="gray">
            <a:xfrm>
              <a:off x="1364640" y="2192994"/>
              <a:ext cx="141152" cy="141152"/>
            </a:xfrm>
            <a:custGeom>
              <a:avLst/>
              <a:gdLst>
                <a:gd name="T0" fmla="*/ 67 w 513"/>
                <a:gd name="T1" fmla="*/ 0 h 513"/>
                <a:gd name="T2" fmla="*/ 67 w 513"/>
                <a:gd name="T3" fmla="*/ 0 h 513"/>
                <a:gd name="T4" fmla="*/ 57 w 513"/>
                <a:gd name="T5" fmla="*/ 0 h 513"/>
                <a:gd name="T6" fmla="*/ 45 w 513"/>
                <a:gd name="T7" fmla="*/ 4 h 513"/>
                <a:gd name="T8" fmla="*/ 34 w 513"/>
                <a:gd name="T9" fmla="*/ 8 h 513"/>
                <a:gd name="T10" fmla="*/ 22 w 513"/>
                <a:gd name="T11" fmla="*/ 16 h 513"/>
                <a:gd name="T12" fmla="*/ 16 w 513"/>
                <a:gd name="T13" fmla="*/ 21 h 513"/>
                <a:gd name="T14" fmla="*/ 10 w 513"/>
                <a:gd name="T15" fmla="*/ 27 h 513"/>
                <a:gd name="T16" fmla="*/ 6 w 513"/>
                <a:gd name="T17" fmla="*/ 35 h 513"/>
                <a:gd name="T18" fmla="*/ 2 w 513"/>
                <a:gd name="T19" fmla="*/ 45 h 513"/>
                <a:gd name="T20" fmla="*/ 0 w 513"/>
                <a:gd name="T21" fmla="*/ 55 h 513"/>
                <a:gd name="T22" fmla="*/ 0 w 513"/>
                <a:gd name="T23" fmla="*/ 66 h 513"/>
                <a:gd name="T24" fmla="*/ 0 w 513"/>
                <a:gd name="T25" fmla="*/ 446 h 513"/>
                <a:gd name="T26" fmla="*/ 0 w 513"/>
                <a:gd name="T27" fmla="*/ 446 h 513"/>
                <a:gd name="T28" fmla="*/ 0 w 513"/>
                <a:gd name="T29" fmla="*/ 456 h 513"/>
                <a:gd name="T30" fmla="*/ 4 w 513"/>
                <a:gd name="T31" fmla="*/ 468 h 513"/>
                <a:gd name="T32" fmla="*/ 8 w 513"/>
                <a:gd name="T33" fmla="*/ 480 h 513"/>
                <a:gd name="T34" fmla="*/ 16 w 513"/>
                <a:gd name="T35" fmla="*/ 491 h 513"/>
                <a:gd name="T36" fmla="*/ 22 w 513"/>
                <a:gd name="T37" fmla="*/ 497 h 513"/>
                <a:gd name="T38" fmla="*/ 28 w 513"/>
                <a:gd name="T39" fmla="*/ 503 h 513"/>
                <a:gd name="T40" fmla="*/ 36 w 513"/>
                <a:gd name="T41" fmla="*/ 507 h 513"/>
                <a:gd name="T42" fmla="*/ 45 w 513"/>
                <a:gd name="T43" fmla="*/ 511 h 513"/>
                <a:gd name="T44" fmla="*/ 55 w 513"/>
                <a:gd name="T45" fmla="*/ 513 h 513"/>
                <a:gd name="T46" fmla="*/ 67 w 513"/>
                <a:gd name="T47" fmla="*/ 513 h 513"/>
                <a:gd name="T48" fmla="*/ 447 w 513"/>
                <a:gd name="T49" fmla="*/ 513 h 513"/>
                <a:gd name="T50" fmla="*/ 447 w 513"/>
                <a:gd name="T51" fmla="*/ 513 h 513"/>
                <a:gd name="T52" fmla="*/ 457 w 513"/>
                <a:gd name="T53" fmla="*/ 513 h 513"/>
                <a:gd name="T54" fmla="*/ 468 w 513"/>
                <a:gd name="T55" fmla="*/ 509 h 513"/>
                <a:gd name="T56" fmla="*/ 480 w 513"/>
                <a:gd name="T57" fmla="*/ 505 h 513"/>
                <a:gd name="T58" fmla="*/ 492 w 513"/>
                <a:gd name="T59" fmla="*/ 497 h 513"/>
                <a:gd name="T60" fmla="*/ 498 w 513"/>
                <a:gd name="T61" fmla="*/ 491 h 513"/>
                <a:gd name="T62" fmla="*/ 504 w 513"/>
                <a:gd name="T63" fmla="*/ 486 h 513"/>
                <a:gd name="T64" fmla="*/ 507 w 513"/>
                <a:gd name="T65" fmla="*/ 478 h 513"/>
                <a:gd name="T66" fmla="*/ 511 w 513"/>
                <a:gd name="T67" fmla="*/ 468 h 513"/>
                <a:gd name="T68" fmla="*/ 513 w 513"/>
                <a:gd name="T69" fmla="*/ 458 h 513"/>
                <a:gd name="T70" fmla="*/ 513 w 513"/>
                <a:gd name="T71" fmla="*/ 446 h 513"/>
                <a:gd name="T72" fmla="*/ 513 w 513"/>
                <a:gd name="T73" fmla="*/ 66 h 513"/>
                <a:gd name="T74" fmla="*/ 513 w 513"/>
                <a:gd name="T75" fmla="*/ 66 h 513"/>
                <a:gd name="T76" fmla="*/ 513 w 513"/>
                <a:gd name="T77" fmla="*/ 57 h 513"/>
                <a:gd name="T78" fmla="*/ 509 w 513"/>
                <a:gd name="T79" fmla="*/ 45 h 513"/>
                <a:gd name="T80" fmla="*/ 505 w 513"/>
                <a:gd name="T81" fmla="*/ 33 h 513"/>
                <a:gd name="T82" fmla="*/ 498 w 513"/>
                <a:gd name="T83" fmla="*/ 21 h 513"/>
                <a:gd name="T84" fmla="*/ 492 w 513"/>
                <a:gd name="T85" fmla="*/ 16 h 513"/>
                <a:gd name="T86" fmla="*/ 486 w 513"/>
                <a:gd name="T87" fmla="*/ 10 h 513"/>
                <a:gd name="T88" fmla="*/ 478 w 513"/>
                <a:gd name="T89" fmla="*/ 6 h 513"/>
                <a:gd name="T90" fmla="*/ 468 w 513"/>
                <a:gd name="T91" fmla="*/ 2 h 513"/>
                <a:gd name="T92" fmla="*/ 458 w 513"/>
                <a:gd name="T93" fmla="*/ 0 h 513"/>
                <a:gd name="T94" fmla="*/ 447 w 513"/>
                <a:gd name="T95" fmla="*/ 0 h 513"/>
                <a:gd name="T96" fmla="*/ 67 w 513"/>
                <a:gd name="T97" fmla="*/ 0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3" h="513">
                  <a:moveTo>
                    <a:pt x="67" y="0"/>
                  </a:moveTo>
                  <a:lnTo>
                    <a:pt x="67" y="0"/>
                  </a:lnTo>
                  <a:lnTo>
                    <a:pt x="57" y="0"/>
                  </a:lnTo>
                  <a:lnTo>
                    <a:pt x="45" y="4"/>
                  </a:lnTo>
                  <a:lnTo>
                    <a:pt x="34" y="8"/>
                  </a:lnTo>
                  <a:lnTo>
                    <a:pt x="22" y="16"/>
                  </a:lnTo>
                  <a:lnTo>
                    <a:pt x="16" y="21"/>
                  </a:lnTo>
                  <a:lnTo>
                    <a:pt x="10" y="27"/>
                  </a:lnTo>
                  <a:lnTo>
                    <a:pt x="6" y="35"/>
                  </a:lnTo>
                  <a:lnTo>
                    <a:pt x="2" y="45"/>
                  </a:lnTo>
                  <a:lnTo>
                    <a:pt x="0" y="55"/>
                  </a:lnTo>
                  <a:lnTo>
                    <a:pt x="0" y="66"/>
                  </a:lnTo>
                  <a:lnTo>
                    <a:pt x="0" y="446"/>
                  </a:lnTo>
                  <a:lnTo>
                    <a:pt x="0" y="446"/>
                  </a:lnTo>
                  <a:lnTo>
                    <a:pt x="0" y="456"/>
                  </a:lnTo>
                  <a:lnTo>
                    <a:pt x="4" y="468"/>
                  </a:lnTo>
                  <a:lnTo>
                    <a:pt x="8" y="480"/>
                  </a:lnTo>
                  <a:lnTo>
                    <a:pt x="16" y="491"/>
                  </a:lnTo>
                  <a:lnTo>
                    <a:pt x="22" y="497"/>
                  </a:lnTo>
                  <a:lnTo>
                    <a:pt x="28" y="503"/>
                  </a:lnTo>
                  <a:lnTo>
                    <a:pt x="36" y="507"/>
                  </a:lnTo>
                  <a:lnTo>
                    <a:pt x="45" y="511"/>
                  </a:lnTo>
                  <a:lnTo>
                    <a:pt x="55" y="513"/>
                  </a:lnTo>
                  <a:lnTo>
                    <a:pt x="67" y="513"/>
                  </a:lnTo>
                  <a:lnTo>
                    <a:pt x="447" y="513"/>
                  </a:lnTo>
                  <a:lnTo>
                    <a:pt x="447" y="513"/>
                  </a:lnTo>
                  <a:lnTo>
                    <a:pt x="457" y="513"/>
                  </a:lnTo>
                  <a:lnTo>
                    <a:pt x="468" y="509"/>
                  </a:lnTo>
                  <a:lnTo>
                    <a:pt x="480" y="505"/>
                  </a:lnTo>
                  <a:lnTo>
                    <a:pt x="492" y="497"/>
                  </a:lnTo>
                  <a:lnTo>
                    <a:pt x="498" y="491"/>
                  </a:lnTo>
                  <a:lnTo>
                    <a:pt x="504" y="486"/>
                  </a:lnTo>
                  <a:lnTo>
                    <a:pt x="507" y="478"/>
                  </a:lnTo>
                  <a:lnTo>
                    <a:pt x="511" y="468"/>
                  </a:lnTo>
                  <a:lnTo>
                    <a:pt x="513" y="458"/>
                  </a:lnTo>
                  <a:lnTo>
                    <a:pt x="513" y="446"/>
                  </a:lnTo>
                  <a:lnTo>
                    <a:pt x="513" y="66"/>
                  </a:lnTo>
                  <a:lnTo>
                    <a:pt x="513" y="66"/>
                  </a:lnTo>
                  <a:lnTo>
                    <a:pt x="513" y="57"/>
                  </a:lnTo>
                  <a:lnTo>
                    <a:pt x="509" y="45"/>
                  </a:lnTo>
                  <a:lnTo>
                    <a:pt x="505" y="33"/>
                  </a:lnTo>
                  <a:lnTo>
                    <a:pt x="498" y="21"/>
                  </a:lnTo>
                  <a:lnTo>
                    <a:pt x="492" y="16"/>
                  </a:lnTo>
                  <a:lnTo>
                    <a:pt x="486" y="10"/>
                  </a:lnTo>
                  <a:lnTo>
                    <a:pt x="478" y="6"/>
                  </a:lnTo>
                  <a:lnTo>
                    <a:pt x="468" y="2"/>
                  </a:lnTo>
                  <a:lnTo>
                    <a:pt x="458" y="0"/>
                  </a:lnTo>
                  <a:lnTo>
                    <a:pt x="447" y="0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63665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6">
              <a:extLst>
                <a:ext uri="{FF2B5EF4-FFF2-40B4-BE49-F238E27FC236}">
                  <a16:creationId xmlns:a16="http://schemas.microsoft.com/office/drawing/2014/main" id="{F9BF7702-A845-4078-BBD7-CA01A727CF4C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gray">
            <a:xfrm>
              <a:off x="1379364" y="2214104"/>
              <a:ext cx="114306" cy="93395"/>
            </a:xfrm>
            <a:custGeom>
              <a:avLst/>
              <a:gdLst>
                <a:gd name="T0" fmla="*/ 2147483647 w 1120"/>
                <a:gd name="T1" fmla="*/ 2147483647 h 988"/>
                <a:gd name="T2" fmla="*/ 2147483647 w 1120"/>
                <a:gd name="T3" fmla="*/ 2147483647 h 988"/>
                <a:gd name="T4" fmla="*/ 2147483647 w 1120"/>
                <a:gd name="T5" fmla="*/ 2147483647 h 988"/>
                <a:gd name="T6" fmla="*/ 2147483647 w 1120"/>
                <a:gd name="T7" fmla="*/ 2147483647 h 988"/>
                <a:gd name="T8" fmla="*/ 2147483647 w 1120"/>
                <a:gd name="T9" fmla="*/ 2147483647 h 988"/>
                <a:gd name="T10" fmla="*/ 2147483647 w 1120"/>
                <a:gd name="T11" fmla="*/ 2147483647 h 988"/>
                <a:gd name="T12" fmla="*/ 2147483647 w 1120"/>
                <a:gd name="T13" fmla="*/ 2147483647 h 988"/>
                <a:gd name="T14" fmla="*/ 2147483647 w 1120"/>
                <a:gd name="T15" fmla="*/ 2147483647 h 988"/>
                <a:gd name="T16" fmla="*/ 2147483647 w 1120"/>
                <a:gd name="T17" fmla="*/ 2147483647 h 988"/>
                <a:gd name="T18" fmla="*/ 2147483647 w 1120"/>
                <a:gd name="T19" fmla="*/ 2147483647 h 988"/>
                <a:gd name="T20" fmla="*/ 2147483647 w 1120"/>
                <a:gd name="T21" fmla="*/ 2147483647 h 988"/>
                <a:gd name="T22" fmla="*/ 2147483647 w 1120"/>
                <a:gd name="T23" fmla="*/ 2147483647 h 988"/>
                <a:gd name="T24" fmla="*/ 2147483647 w 1120"/>
                <a:gd name="T25" fmla="*/ 2147483647 h 988"/>
                <a:gd name="T26" fmla="*/ 2147483647 w 1120"/>
                <a:gd name="T27" fmla="*/ 2147483647 h 988"/>
                <a:gd name="T28" fmla="*/ 2147483647 w 1120"/>
                <a:gd name="T29" fmla="*/ 2147483647 h 988"/>
                <a:gd name="T30" fmla="*/ 2147483647 w 1120"/>
                <a:gd name="T31" fmla="*/ 2147483647 h 988"/>
                <a:gd name="T32" fmla="*/ 2147483647 w 1120"/>
                <a:gd name="T33" fmla="*/ 0 h 988"/>
                <a:gd name="T34" fmla="*/ 2147483647 w 1120"/>
                <a:gd name="T35" fmla="*/ 2147483647 h 988"/>
                <a:gd name="T36" fmla="*/ 2147483647 w 1120"/>
                <a:gd name="T37" fmla="*/ 2147483647 h 988"/>
                <a:gd name="T38" fmla="*/ 2147483647 w 1120"/>
                <a:gd name="T39" fmla="*/ 2147483647 h 988"/>
                <a:gd name="T40" fmla="*/ 2147483647 w 1120"/>
                <a:gd name="T41" fmla="*/ 2147483647 h 988"/>
                <a:gd name="T42" fmla="*/ 2147483647 w 1120"/>
                <a:gd name="T43" fmla="*/ 2147483647 h 988"/>
                <a:gd name="T44" fmla="*/ 2147483647 w 1120"/>
                <a:gd name="T45" fmla="*/ 2147483647 h 988"/>
                <a:gd name="T46" fmla="*/ 2147483647 w 1120"/>
                <a:gd name="T47" fmla="*/ 2147483647 h 988"/>
                <a:gd name="T48" fmla="*/ 2147483647 w 1120"/>
                <a:gd name="T49" fmla="*/ 2147483647 h 988"/>
                <a:gd name="T50" fmla="*/ 2147483647 w 1120"/>
                <a:gd name="T51" fmla="*/ 2147483647 h 988"/>
                <a:gd name="T52" fmla="*/ 2147483647 w 1120"/>
                <a:gd name="T53" fmla="*/ 2147483647 h 988"/>
                <a:gd name="T54" fmla="*/ 2147483647 w 1120"/>
                <a:gd name="T55" fmla="*/ 2147483647 h 988"/>
                <a:gd name="T56" fmla="*/ 2147483647 w 1120"/>
                <a:gd name="T57" fmla="*/ 2147483647 h 988"/>
                <a:gd name="T58" fmla="*/ 2147483647 w 1120"/>
                <a:gd name="T59" fmla="*/ 2147483647 h 988"/>
                <a:gd name="T60" fmla="*/ 2147483647 w 1120"/>
                <a:gd name="T61" fmla="*/ 2147483647 h 988"/>
                <a:gd name="T62" fmla="*/ 2147483647 w 1120"/>
                <a:gd name="T63" fmla="*/ 2147483647 h 988"/>
                <a:gd name="T64" fmla="*/ 2147483647 w 1120"/>
                <a:gd name="T65" fmla="*/ 2147483647 h 988"/>
                <a:gd name="T66" fmla="*/ 2147483647 w 1120"/>
                <a:gd name="T67" fmla="*/ 2147483647 h 988"/>
                <a:gd name="T68" fmla="*/ 2147483647 w 1120"/>
                <a:gd name="T69" fmla="*/ 2147483647 h 988"/>
                <a:gd name="T70" fmla="*/ 0 w 1120"/>
                <a:gd name="T71" fmla="*/ 2147483647 h 988"/>
                <a:gd name="T72" fmla="*/ 2147483647 w 1120"/>
                <a:gd name="T73" fmla="*/ 2147483647 h 988"/>
                <a:gd name="T74" fmla="*/ 2147483647 w 1120"/>
                <a:gd name="T75" fmla="*/ 2147483647 h 988"/>
                <a:gd name="T76" fmla="*/ 2147483647 w 1120"/>
                <a:gd name="T77" fmla="*/ 2147483647 h 988"/>
                <a:gd name="T78" fmla="*/ 2147483647 w 1120"/>
                <a:gd name="T79" fmla="*/ 2147483647 h 988"/>
                <a:gd name="T80" fmla="*/ 2147483647 w 1120"/>
                <a:gd name="T81" fmla="*/ 2147483647 h 988"/>
                <a:gd name="T82" fmla="*/ 2147483647 w 1120"/>
                <a:gd name="T83" fmla="*/ 2147483647 h 988"/>
                <a:gd name="T84" fmla="*/ 2147483647 w 1120"/>
                <a:gd name="T85" fmla="*/ 2147483647 h 988"/>
                <a:gd name="T86" fmla="*/ 2147483647 w 1120"/>
                <a:gd name="T87" fmla="*/ 2147483647 h 988"/>
                <a:gd name="T88" fmla="*/ 2147483647 w 1120"/>
                <a:gd name="T89" fmla="*/ 2147483647 h 988"/>
                <a:gd name="T90" fmla="*/ 2147483647 w 1120"/>
                <a:gd name="T91" fmla="*/ 2147483647 h 988"/>
                <a:gd name="T92" fmla="*/ 2147483647 w 1120"/>
                <a:gd name="T93" fmla="*/ 2147483647 h 988"/>
                <a:gd name="T94" fmla="*/ 2147483647 w 1120"/>
                <a:gd name="T95" fmla="*/ 2147483647 h 988"/>
                <a:gd name="T96" fmla="*/ 2147483647 w 1120"/>
                <a:gd name="T97" fmla="*/ 2147483647 h 988"/>
                <a:gd name="T98" fmla="*/ 2147483647 w 1120"/>
                <a:gd name="T99" fmla="*/ 2147483647 h 988"/>
                <a:gd name="T100" fmla="*/ 2147483647 w 1120"/>
                <a:gd name="T101" fmla="*/ 2147483647 h 988"/>
                <a:gd name="T102" fmla="*/ 2147483647 w 1120"/>
                <a:gd name="T103" fmla="*/ 2147483647 h 988"/>
                <a:gd name="T104" fmla="*/ 2147483647 w 1120"/>
                <a:gd name="T105" fmla="*/ 2147483647 h 988"/>
                <a:gd name="T106" fmla="*/ 2147483647 w 1120"/>
                <a:gd name="T107" fmla="*/ 2147483647 h 988"/>
                <a:gd name="T108" fmla="*/ 2147483647 w 1120"/>
                <a:gd name="T109" fmla="*/ 2147483647 h 988"/>
                <a:gd name="T110" fmla="*/ 2147483647 w 1120"/>
                <a:gd name="T111" fmla="*/ 2147483647 h 988"/>
                <a:gd name="T112" fmla="*/ 2147483647 w 1120"/>
                <a:gd name="T113" fmla="*/ 2147483647 h 988"/>
                <a:gd name="T114" fmla="*/ 2147483647 w 1120"/>
                <a:gd name="T115" fmla="*/ 2147483647 h 988"/>
                <a:gd name="T116" fmla="*/ 2147483647 w 1120"/>
                <a:gd name="T117" fmla="*/ 2147483647 h 988"/>
                <a:gd name="T118" fmla="*/ 2147483647 w 1120"/>
                <a:gd name="T119" fmla="*/ 2147483647 h 98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120"/>
                <a:gd name="T181" fmla="*/ 0 h 988"/>
                <a:gd name="T182" fmla="*/ 1120 w 1120"/>
                <a:gd name="T183" fmla="*/ 988 h 98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120" h="988">
                  <a:moveTo>
                    <a:pt x="1087" y="920"/>
                  </a:moveTo>
                  <a:lnTo>
                    <a:pt x="1087" y="920"/>
                  </a:lnTo>
                  <a:lnTo>
                    <a:pt x="855" y="773"/>
                  </a:lnTo>
                  <a:lnTo>
                    <a:pt x="673" y="662"/>
                  </a:lnTo>
                  <a:lnTo>
                    <a:pt x="664" y="657"/>
                  </a:lnTo>
                  <a:lnTo>
                    <a:pt x="640" y="651"/>
                  </a:lnTo>
                  <a:lnTo>
                    <a:pt x="640" y="640"/>
                  </a:lnTo>
                  <a:lnTo>
                    <a:pt x="640" y="625"/>
                  </a:lnTo>
                  <a:lnTo>
                    <a:pt x="637" y="613"/>
                  </a:lnTo>
                  <a:lnTo>
                    <a:pt x="633" y="600"/>
                  </a:lnTo>
                  <a:lnTo>
                    <a:pt x="627" y="588"/>
                  </a:lnTo>
                  <a:lnTo>
                    <a:pt x="619" y="577"/>
                  </a:lnTo>
                  <a:lnTo>
                    <a:pt x="610" y="568"/>
                  </a:lnTo>
                  <a:lnTo>
                    <a:pt x="601" y="559"/>
                  </a:lnTo>
                  <a:lnTo>
                    <a:pt x="589" y="551"/>
                  </a:lnTo>
                  <a:lnTo>
                    <a:pt x="593" y="538"/>
                  </a:lnTo>
                  <a:lnTo>
                    <a:pt x="596" y="526"/>
                  </a:lnTo>
                  <a:lnTo>
                    <a:pt x="598" y="515"/>
                  </a:lnTo>
                  <a:lnTo>
                    <a:pt x="566" y="50"/>
                  </a:lnTo>
                  <a:lnTo>
                    <a:pt x="566" y="41"/>
                  </a:lnTo>
                  <a:lnTo>
                    <a:pt x="563" y="32"/>
                  </a:lnTo>
                  <a:lnTo>
                    <a:pt x="560" y="24"/>
                  </a:lnTo>
                  <a:lnTo>
                    <a:pt x="556" y="18"/>
                  </a:lnTo>
                  <a:lnTo>
                    <a:pt x="551" y="12"/>
                  </a:lnTo>
                  <a:lnTo>
                    <a:pt x="545" y="6"/>
                  </a:lnTo>
                  <a:lnTo>
                    <a:pt x="539" y="3"/>
                  </a:lnTo>
                  <a:lnTo>
                    <a:pt x="533" y="0"/>
                  </a:lnTo>
                  <a:lnTo>
                    <a:pt x="527" y="0"/>
                  </a:lnTo>
                  <a:lnTo>
                    <a:pt x="522" y="1"/>
                  </a:lnTo>
                  <a:lnTo>
                    <a:pt x="516" y="4"/>
                  </a:lnTo>
                  <a:lnTo>
                    <a:pt x="512" y="9"/>
                  </a:lnTo>
                  <a:lnTo>
                    <a:pt x="507" y="17"/>
                  </a:lnTo>
                  <a:lnTo>
                    <a:pt x="503" y="26"/>
                  </a:lnTo>
                  <a:lnTo>
                    <a:pt x="500" y="38"/>
                  </a:lnTo>
                  <a:lnTo>
                    <a:pt x="498" y="53"/>
                  </a:lnTo>
                  <a:lnTo>
                    <a:pt x="494" y="160"/>
                  </a:lnTo>
                  <a:lnTo>
                    <a:pt x="486" y="316"/>
                  </a:lnTo>
                  <a:lnTo>
                    <a:pt x="479" y="515"/>
                  </a:lnTo>
                  <a:lnTo>
                    <a:pt x="480" y="526"/>
                  </a:lnTo>
                  <a:lnTo>
                    <a:pt x="486" y="551"/>
                  </a:lnTo>
                  <a:lnTo>
                    <a:pt x="476" y="559"/>
                  </a:lnTo>
                  <a:lnTo>
                    <a:pt x="465" y="568"/>
                  </a:lnTo>
                  <a:lnTo>
                    <a:pt x="457" y="578"/>
                  </a:lnTo>
                  <a:lnTo>
                    <a:pt x="450" y="589"/>
                  </a:lnTo>
                  <a:lnTo>
                    <a:pt x="444" y="600"/>
                  </a:lnTo>
                  <a:lnTo>
                    <a:pt x="439" y="613"/>
                  </a:lnTo>
                  <a:lnTo>
                    <a:pt x="436" y="627"/>
                  </a:lnTo>
                  <a:lnTo>
                    <a:pt x="436" y="640"/>
                  </a:lnTo>
                  <a:lnTo>
                    <a:pt x="436" y="651"/>
                  </a:lnTo>
                  <a:lnTo>
                    <a:pt x="421" y="656"/>
                  </a:lnTo>
                  <a:lnTo>
                    <a:pt x="415" y="659"/>
                  </a:lnTo>
                  <a:lnTo>
                    <a:pt x="27" y="918"/>
                  </a:lnTo>
                  <a:lnTo>
                    <a:pt x="19" y="924"/>
                  </a:lnTo>
                  <a:lnTo>
                    <a:pt x="13" y="930"/>
                  </a:lnTo>
                  <a:lnTo>
                    <a:pt x="9" y="936"/>
                  </a:lnTo>
                  <a:lnTo>
                    <a:pt x="4" y="944"/>
                  </a:lnTo>
                  <a:lnTo>
                    <a:pt x="3" y="952"/>
                  </a:lnTo>
                  <a:lnTo>
                    <a:pt x="1" y="959"/>
                  </a:lnTo>
                  <a:lnTo>
                    <a:pt x="0" y="965"/>
                  </a:lnTo>
                  <a:lnTo>
                    <a:pt x="1" y="971"/>
                  </a:lnTo>
                  <a:lnTo>
                    <a:pt x="4" y="977"/>
                  </a:lnTo>
                  <a:lnTo>
                    <a:pt x="7" y="982"/>
                  </a:lnTo>
                  <a:lnTo>
                    <a:pt x="13" y="985"/>
                  </a:lnTo>
                  <a:lnTo>
                    <a:pt x="19" y="986"/>
                  </a:lnTo>
                  <a:lnTo>
                    <a:pt x="28" y="988"/>
                  </a:lnTo>
                  <a:lnTo>
                    <a:pt x="39" y="986"/>
                  </a:lnTo>
                  <a:lnTo>
                    <a:pt x="50" y="982"/>
                  </a:lnTo>
                  <a:lnTo>
                    <a:pt x="63" y="976"/>
                  </a:lnTo>
                  <a:lnTo>
                    <a:pt x="160" y="927"/>
                  </a:lnTo>
                  <a:lnTo>
                    <a:pt x="297" y="855"/>
                  </a:lnTo>
                  <a:lnTo>
                    <a:pt x="474" y="761"/>
                  </a:lnTo>
                  <a:lnTo>
                    <a:pt x="483" y="754"/>
                  </a:lnTo>
                  <a:lnTo>
                    <a:pt x="503" y="736"/>
                  </a:lnTo>
                  <a:lnTo>
                    <a:pt x="521" y="740"/>
                  </a:lnTo>
                  <a:lnTo>
                    <a:pt x="539" y="742"/>
                  </a:lnTo>
                  <a:lnTo>
                    <a:pt x="550" y="742"/>
                  </a:lnTo>
                  <a:lnTo>
                    <a:pt x="560" y="740"/>
                  </a:lnTo>
                  <a:lnTo>
                    <a:pt x="571" y="737"/>
                  </a:lnTo>
                  <a:lnTo>
                    <a:pt x="581" y="733"/>
                  </a:lnTo>
                  <a:lnTo>
                    <a:pt x="593" y="746"/>
                  </a:lnTo>
                  <a:lnTo>
                    <a:pt x="604" y="757"/>
                  </a:lnTo>
                  <a:lnTo>
                    <a:pt x="616" y="766"/>
                  </a:lnTo>
                  <a:lnTo>
                    <a:pt x="1057" y="982"/>
                  </a:lnTo>
                  <a:lnTo>
                    <a:pt x="1065" y="985"/>
                  </a:lnTo>
                  <a:lnTo>
                    <a:pt x="1074" y="986"/>
                  </a:lnTo>
                  <a:lnTo>
                    <a:pt x="1083" y="988"/>
                  </a:lnTo>
                  <a:lnTo>
                    <a:pt x="1090" y="988"/>
                  </a:lnTo>
                  <a:lnTo>
                    <a:pt x="1098" y="986"/>
                  </a:lnTo>
                  <a:lnTo>
                    <a:pt x="1105" y="983"/>
                  </a:lnTo>
                  <a:lnTo>
                    <a:pt x="1110" y="980"/>
                  </a:lnTo>
                  <a:lnTo>
                    <a:pt x="1116" y="976"/>
                  </a:lnTo>
                  <a:lnTo>
                    <a:pt x="1119" y="971"/>
                  </a:lnTo>
                  <a:lnTo>
                    <a:pt x="1120" y="965"/>
                  </a:lnTo>
                  <a:lnTo>
                    <a:pt x="1120" y="959"/>
                  </a:lnTo>
                  <a:lnTo>
                    <a:pt x="1119" y="953"/>
                  </a:lnTo>
                  <a:lnTo>
                    <a:pt x="1114" y="946"/>
                  </a:lnTo>
                  <a:lnTo>
                    <a:pt x="1108" y="938"/>
                  </a:lnTo>
                  <a:lnTo>
                    <a:pt x="1099" y="929"/>
                  </a:lnTo>
                  <a:lnTo>
                    <a:pt x="1087" y="92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45" name="Content Placeholder 3">
              <a:extLst>
                <a:ext uri="{FF2B5EF4-FFF2-40B4-BE49-F238E27FC236}">
                  <a16:creationId xmlns:a16="http://schemas.microsoft.com/office/drawing/2014/main" id="{2E7E4B9E-3EB8-4E1F-852E-A7450CA425A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522616" y="2270946"/>
              <a:ext cx="238848" cy="92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 lvl="0">
                <a:defRPr lang="da-DK"/>
              </a:defPPr>
              <a:lvl1pPr marL="0" indent="0" defTabSz="913798" eaLnBrk="1" hangingPunct="1">
                <a:spcBef>
                  <a:spcPts val="300"/>
                </a:spcBef>
                <a:buSzPct val="80000"/>
                <a:buFont typeface="Wingdings" pitchFamily="2" charset="2"/>
                <a:buNone/>
                <a:defRPr sz="600" kern="0">
                  <a:solidFill>
                    <a:prstClr val="black"/>
                  </a:solidFill>
                  <a:latin typeface="+mn-lt"/>
                  <a:cs typeface="+mn-cs"/>
                </a:defRPr>
              </a:lvl1pPr>
              <a:lvl2pPr marL="358775" indent="-174625" eaLnBrk="1" hangingPunct="1">
                <a:spcBef>
                  <a:spcPts val="300"/>
                </a:spcBef>
                <a:buSzPct val="80000"/>
                <a:buFont typeface="Arial" pitchFamily="34" charset="0"/>
                <a:buChar char="–"/>
                <a:defRPr sz="1200">
                  <a:latin typeface="+mn-lt"/>
                </a:defRPr>
              </a:lvl2pPr>
              <a:lvl3pPr marL="538163" indent="-177800" eaLnBrk="1" hangingPunct="1">
                <a:spcBef>
                  <a:spcPts val="300"/>
                </a:spcBef>
                <a:buSzPct val="80000"/>
                <a:buFont typeface="Arial" pitchFamily="34" charset="0"/>
                <a:buChar char="·"/>
                <a:defRPr sz="1200">
                  <a:latin typeface="+mn-lt"/>
                </a:defRPr>
              </a:lvl3pPr>
              <a:lvl4pPr marL="725488" indent="-185738" eaLnBrk="1" hangingPunct="1">
                <a:spcBef>
                  <a:spcPts val="300"/>
                </a:spcBef>
                <a:buSzPct val="80000"/>
                <a:buFont typeface="Arial" pitchFamily="34" charset="0"/>
                <a:buChar char="·"/>
                <a:defRPr sz="1200">
                  <a:latin typeface="+mn-lt"/>
                </a:defRPr>
              </a:lvl4pPr>
              <a:lvl5pPr marL="887413" indent="-160338" eaLnBrk="1" hangingPunct="1">
                <a:spcBef>
                  <a:spcPts val="300"/>
                </a:spcBef>
                <a:buSzPct val="80000"/>
                <a:buFont typeface="Arial" pitchFamily="34" charset="0"/>
                <a:buChar char="·"/>
                <a:defRPr sz="1200">
                  <a:latin typeface="+mn-lt"/>
                </a:defRPr>
              </a:lvl5pPr>
              <a:lvl6pPr marL="1344613" indent="-160338" fontAlgn="base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600">
                  <a:latin typeface="+mn-lt"/>
                </a:defRPr>
              </a:lvl6pPr>
              <a:lvl7pPr marL="1801813" indent="-160338" fontAlgn="base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600">
                  <a:latin typeface="+mn-lt"/>
                </a:defRPr>
              </a:lvl7pPr>
              <a:lvl8pPr marL="2259013" indent="-160338" fontAlgn="base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600">
                  <a:latin typeface="+mn-lt"/>
                </a:defRPr>
              </a:lvl8pPr>
              <a:lvl9pPr marL="2716213" indent="-160338" fontAlgn="base">
                <a:spcBef>
                  <a:spcPct val="20000"/>
                </a:spcBef>
                <a:spcAft>
                  <a:spcPct val="0"/>
                </a:spcAft>
                <a:buSzPct val="80000"/>
                <a:buFont typeface="Wingdings" pitchFamily="2" charset="2"/>
                <a:buChar char="§"/>
                <a:defRPr sz="1600">
                  <a:latin typeface="+mn-lt"/>
                </a:defRPr>
              </a:lvl9pPr>
            </a:lstStyle>
            <a:p>
              <a:r>
                <a:rPr lang="en-GB" dirty="0"/>
                <a:t>CVOW</a:t>
              </a:r>
            </a:p>
          </p:txBody>
        </p: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D26250FC-BEFA-4E00-8AEC-F79D50A85AE4}"/>
              </a:ext>
            </a:extLst>
          </p:cNvPr>
          <p:cNvSpPr/>
          <p:nvPr/>
        </p:nvSpPr>
        <p:spPr>
          <a:xfrm>
            <a:off x="5525209" y="1352284"/>
            <a:ext cx="3840480" cy="469914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6000"/>
              </a:lnSpc>
            </a:pPr>
            <a:endParaRPr lang="en-GB" sz="1300" noProof="0" dirty="0"/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4A371AD3-A212-40BC-B27A-9AC21DCB4F9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7267" y="1698803"/>
            <a:ext cx="3096737" cy="877064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6F26C979-D731-402E-BEA0-A84A6DDE59E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70" y="3223499"/>
            <a:ext cx="2408701" cy="956709"/>
          </a:xfrm>
          <a:prstGeom prst="rect">
            <a:avLst/>
          </a:prstGeom>
        </p:spPr>
      </p:pic>
      <p:grpSp>
        <p:nvGrpSpPr>
          <p:cNvPr id="155" name="Group 154">
            <a:extLst>
              <a:ext uri="{FF2B5EF4-FFF2-40B4-BE49-F238E27FC236}">
                <a16:creationId xmlns:a16="http://schemas.microsoft.com/office/drawing/2014/main" id="{54AA16FF-D318-485F-857D-FDC406E84F97}"/>
              </a:ext>
            </a:extLst>
          </p:cNvPr>
          <p:cNvGrpSpPr/>
          <p:nvPr/>
        </p:nvGrpSpPr>
        <p:grpSpPr>
          <a:xfrm>
            <a:off x="5887135" y="4645097"/>
            <a:ext cx="3357003" cy="1325328"/>
            <a:chOff x="5724847" y="4557324"/>
            <a:chExt cx="3357003" cy="1325328"/>
          </a:xfrm>
        </p:grpSpPr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8B2C864F-C5FD-4DF6-B419-B82F1C61A79F}"/>
                </a:ext>
              </a:extLst>
            </p:cNvPr>
            <p:cNvSpPr/>
            <p:nvPr/>
          </p:nvSpPr>
          <p:spPr>
            <a:xfrm>
              <a:off x="5724847" y="4557324"/>
              <a:ext cx="3357003" cy="13253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b"/>
            <a:lstStyle/>
            <a:p>
              <a:pPr marL="893763" lvl="1">
                <a:spcAft>
                  <a:spcPts val="0"/>
                </a:spcAft>
                <a:tabLst>
                  <a:tab pos="542925" algn="l"/>
                </a:tabLst>
              </a:pPr>
              <a: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astal Virginia</a:t>
              </a:r>
              <a:endParaRPr lang="en-GB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marL="893763" lvl="1">
                <a:spcAft>
                  <a:spcPts val="0"/>
                </a:spcAft>
                <a:tabLst>
                  <a:tab pos="542925" algn="l"/>
                </a:tabLst>
              </a:pPr>
              <a:r>
                <a:rPr lang="en-GB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ffshore Wind</a:t>
              </a:r>
            </a:p>
            <a:p>
              <a:pPr marL="0" lvl="1">
                <a:spcAft>
                  <a:spcPts val="300"/>
                </a:spcAft>
                <a:tabLst>
                  <a:tab pos="542925" algn="l"/>
                </a:tabLst>
              </a:pPr>
              <a:endParaRPr lang="en-GB" sz="300" b="1" dirty="0">
                <a:solidFill>
                  <a:schemeClr val="tx1"/>
                </a:solidFill>
              </a:endParaRPr>
            </a:p>
          </p:txBody>
        </p:sp>
        <p:pic>
          <p:nvPicPr>
            <p:cNvPr id="158" name="Picture 157">
              <a:extLst>
                <a:ext uri="{FF2B5EF4-FFF2-40B4-BE49-F238E27FC236}">
                  <a16:creationId xmlns:a16="http://schemas.microsoft.com/office/drawing/2014/main" id="{8C1DCD85-1282-475E-96A4-BCD2BE02B3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757" t="25429" r="13750" b="29237"/>
            <a:stretch/>
          </p:blipFill>
          <p:spPr>
            <a:xfrm>
              <a:off x="6106601" y="4727586"/>
              <a:ext cx="1018459" cy="366478"/>
            </a:xfrm>
            <a:prstGeom prst="rect">
              <a:avLst/>
            </a:prstGeom>
          </p:spPr>
        </p:pic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26130845-D061-4BF8-9488-566A39B0793F}"/>
                </a:ext>
              </a:extLst>
            </p:cNvPr>
            <p:cNvSpPr/>
            <p:nvPr/>
          </p:nvSpPr>
          <p:spPr>
            <a:xfrm>
              <a:off x="6607175" y="5277538"/>
              <a:ext cx="45719" cy="51433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t"/>
            <a:lstStyle/>
            <a:p>
              <a:pPr algn="ctr">
                <a:spcAft>
                  <a:spcPts val="300"/>
                </a:spcAft>
              </a:pPr>
              <a:endParaRPr lang="en-GB" sz="1000" b="1" dirty="0">
                <a:solidFill>
                  <a:schemeClr val="tx1"/>
                </a:solidFill>
              </a:endParaRPr>
            </a:p>
          </p:txBody>
        </p:sp>
      </p:grpSp>
      <p:pic>
        <p:nvPicPr>
          <p:cNvPr id="57" name="Picture 56">
            <a:extLst>
              <a:ext uri="{FF2B5EF4-FFF2-40B4-BE49-F238E27FC236}">
                <a16:creationId xmlns:a16="http://schemas.microsoft.com/office/drawing/2014/main" id="{86F41327-E77B-4B73-A87E-41844DE146E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1972" y="4779017"/>
            <a:ext cx="1039133" cy="428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1256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2" name="Object 161" hidden="1">
            <a:extLst>
              <a:ext uri="{FF2B5EF4-FFF2-40B4-BE49-F238E27FC236}">
                <a16:creationId xmlns:a16="http://schemas.microsoft.com/office/drawing/2014/main" id="{E9E2FB01-31E6-4F99-B8AA-D899193AE0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55383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62" name="Object 161" hidden="1">
                        <a:extLst>
                          <a:ext uri="{FF2B5EF4-FFF2-40B4-BE49-F238E27FC236}">
                            <a16:creationId xmlns:a16="http://schemas.microsoft.com/office/drawing/2014/main" id="{E9E2FB01-31E6-4F99-B8AA-D899193AE0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400066" y="326586"/>
            <a:ext cx="9105871" cy="783805"/>
          </a:xfrm>
        </p:spPr>
        <p:txBody>
          <a:bodyPr/>
          <a:lstStyle/>
          <a:p>
            <a:r>
              <a:rPr lang="en-GB" sz="2400" dirty="0"/>
              <a:t>Bay State Wind Development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393700" y="1251071"/>
            <a:ext cx="9106700" cy="4921394"/>
          </a:xfrm>
          <a:prstGeom prst="rect">
            <a:avLst/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300"/>
              </a:spcAft>
            </a:pPr>
            <a:endParaRPr lang="en-GB" sz="1000" dirty="0">
              <a:solidFill>
                <a:srgbClr val="FF0000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E19E191-D195-4A23-9061-D425B2B9D517}"/>
              </a:ext>
            </a:extLst>
          </p:cNvPr>
          <p:cNvSpPr/>
          <p:nvPr/>
        </p:nvSpPr>
        <p:spPr>
          <a:xfrm>
            <a:off x="385589" y="1311392"/>
            <a:ext cx="5475384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MA legislation requires procurement of 1,600 MW of offshore wind by 2027</a:t>
            </a:r>
          </a:p>
          <a:p>
            <a:pPr marL="742910" lvl="1" indent="-285750" fontAlgn="auto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600" kern="0" dirty="0"/>
              <a:t>Bids submitted December 2017</a:t>
            </a:r>
          </a:p>
          <a:p>
            <a:pPr marL="742910" lvl="1" indent="-285750" fontAlgn="auto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600" kern="0" dirty="0"/>
              <a:t>Winners selected in April 2018</a:t>
            </a:r>
          </a:p>
          <a:p>
            <a:pPr marL="742910" lvl="1" indent="-285750" fontAlgn="auto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600" kern="0" dirty="0"/>
              <a:t>Next RFP in June 2019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kern="0" dirty="0"/>
              <a:t>Bay State Wind</a:t>
            </a:r>
          </a:p>
          <a:p>
            <a:pPr marL="742910" lvl="1" indent="-285750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kern="0" dirty="0"/>
              <a:t>50/50 partnership between Ørsted and Eversource announced in December</a:t>
            </a:r>
          </a:p>
          <a:p>
            <a:pPr marL="742910" lvl="1" indent="-285750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kern="0" dirty="0"/>
              <a:t>Jointly own ~300 square mile lease 15-25 miles south of Martha’s Vineyard</a:t>
            </a:r>
          </a:p>
          <a:p>
            <a:pPr marL="742910" lvl="1" indent="-285750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kern="0" dirty="0"/>
              <a:t>Capacity to hold at least 2,000 MW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kern="0" dirty="0"/>
              <a:t>Work has begun on key elements of development, drawing on the partners’ expertise and </a:t>
            </a:r>
            <a:r>
              <a:rPr lang="en-US" sz="1600" kern="0" dirty="0" err="1"/>
              <a:t>Ørsted’s</a:t>
            </a:r>
            <a:r>
              <a:rPr lang="en-US" sz="1600" kern="0" dirty="0"/>
              <a:t> experience from Europe</a:t>
            </a:r>
          </a:p>
        </p:txBody>
      </p:sp>
      <p:pic>
        <p:nvPicPr>
          <p:cNvPr id="50" name="Content Placeholder 14">
            <a:extLst>
              <a:ext uri="{FF2B5EF4-FFF2-40B4-BE49-F238E27FC236}">
                <a16:creationId xmlns:a16="http://schemas.microsoft.com/office/drawing/2014/main" id="{D8FC477E-CAFC-4F42-BA23-DD1EA6326BD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20" r="5044"/>
          <a:stretch/>
        </p:blipFill>
        <p:spPr>
          <a:xfrm>
            <a:off x="5862847" y="1302248"/>
            <a:ext cx="3613533" cy="46860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36363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2" name="Object 161" hidden="1">
            <a:extLst>
              <a:ext uri="{FF2B5EF4-FFF2-40B4-BE49-F238E27FC236}">
                <a16:creationId xmlns:a16="http://schemas.microsoft.com/office/drawing/2014/main" id="{E9E2FB01-31E6-4F99-B8AA-D899193AE0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62" name="Object 161" hidden="1">
                        <a:extLst>
                          <a:ext uri="{FF2B5EF4-FFF2-40B4-BE49-F238E27FC236}">
                            <a16:creationId xmlns:a16="http://schemas.microsoft.com/office/drawing/2014/main" id="{E9E2FB01-31E6-4F99-B8AA-D899193AE0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400066" y="326586"/>
            <a:ext cx="9105871" cy="783805"/>
          </a:xfrm>
        </p:spPr>
        <p:txBody>
          <a:bodyPr/>
          <a:lstStyle/>
          <a:p>
            <a:r>
              <a:rPr lang="en-GB" sz="2400" dirty="0"/>
              <a:t>Ocean Wind Development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393700" y="1251071"/>
            <a:ext cx="9106700" cy="4921394"/>
          </a:xfrm>
          <a:prstGeom prst="rect">
            <a:avLst/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300"/>
              </a:spcAft>
            </a:pPr>
            <a:endParaRPr lang="en-GB" sz="1000" dirty="0">
              <a:solidFill>
                <a:srgbClr val="FF0000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E19E191-D195-4A23-9061-D425B2B9D517}"/>
              </a:ext>
            </a:extLst>
          </p:cNvPr>
          <p:cNvSpPr/>
          <p:nvPr/>
        </p:nvSpPr>
        <p:spPr>
          <a:xfrm>
            <a:off x="385589" y="1311392"/>
            <a:ext cx="4451587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Offshore Wind and Economic Development Act of 2010 provides a framework to support the financing and deployment of OSW in NJ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Governor Murphy issued an EO January 31 in support of the development of 3,500 MW of offshore wind power by 2030 </a:t>
            </a:r>
          </a:p>
          <a:p>
            <a:pPr marL="322984" indent="-285750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The BPU will issue a solicitation for 1,100 MW of offshore wind in 2018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kern="0" dirty="0"/>
              <a:t>Ocean Wind</a:t>
            </a:r>
          </a:p>
          <a:p>
            <a:pPr marL="742910" lvl="1" indent="-285750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kern="0" dirty="0"/>
              <a:t>Ørsted owns lease 10+ miles offshore Atlantic City</a:t>
            </a:r>
          </a:p>
          <a:p>
            <a:pPr marL="742910" lvl="1" indent="-285750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kern="0" dirty="0"/>
              <a:t>Capacity to hold at least 2,000 MW</a:t>
            </a:r>
          </a:p>
          <a:p>
            <a:pPr marL="742910" lvl="1" indent="-285750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solidFill>
                  <a:srgbClr val="000000"/>
                </a:solidFill>
                <a:ea typeface="Times New Roman" panose="02020603050405020304" pitchFamily="18" charset="0"/>
                <a:cs typeface="Felbridge DONG Energy"/>
              </a:rPr>
              <a:t>Project work underwa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BCC8BC9-C842-4E41-8E86-04C156480EE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92" t="-901" r="1748" b="1117"/>
          <a:stretch/>
        </p:blipFill>
        <p:spPr>
          <a:xfrm>
            <a:off x="5093208" y="1661885"/>
            <a:ext cx="4279176" cy="3791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781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2" name="Object 161" hidden="1">
            <a:extLst>
              <a:ext uri="{FF2B5EF4-FFF2-40B4-BE49-F238E27FC236}">
                <a16:creationId xmlns:a16="http://schemas.microsoft.com/office/drawing/2014/main" id="{E9E2FB01-31E6-4F99-B8AA-D899193AE0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62" name="Object 161" hidden="1">
                        <a:extLst>
                          <a:ext uri="{FF2B5EF4-FFF2-40B4-BE49-F238E27FC236}">
                            <a16:creationId xmlns:a16="http://schemas.microsoft.com/office/drawing/2014/main" id="{E9E2FB01-31E6-4F99-B8AA-D899193AE0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/>
          <p:cNvSpPr>
            <a:spLocks noGrp="1"/>
          </p:cNvSpPr>
          <p:nvPr>
            <p:ph type="title"/>
          </p:nvPr>
        </p:nvSpPr>
        <p:spPr>
          <a:xfrm>
            <a:off x="400066" y="326586"/>
            <a:ext cx="9105871" cy="783805"/>
          </a:xfrm>
        </p:spPr>
        <p:txBody>
          <a:bodyPr/>
          <a:lstStyle/>
          <a:p>
            <a:r>
              <a:rPr lang="en-GB" sz="2400" dirty="0"/>
              <a:t>Coastal Virginia Offshore Wind Project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393700" y="1251071"/>
            <a:ext cx="9106700" cy="4921394"/>
          </a:xfrm>
          <a:prstGeom prst="rect">
            <a:avLst/>
          </a:prstGeom>
          <a:solidFill>
            <a:srgbClr val="F5F6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>
              <a:spcAft>
                <a:spcPts val="300"/>
              </a:spcAft>
            </a:pPr>
            <a:endParaRPr lang="en-GB" sz="1000" dirty="0">
              <a:solidFill>
                <a:srgbClr val="FF0000"/>
              </a:solidFill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5946B320-85FA-417D-AF8E-803BE41159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3700" y="1479178"/>
            <a:ext cx="4438991" cy="4465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10000"/>
              </a:spcAft>
              <a:buClr>
                <a:srgbClr val="0066FF"/>
              </a:buClr>
              <a:buSzPct val="135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10000"/>
              </a:spcAft>
              <a:buClr>
                <a:srgbClr val="0066FF"/>
              </a:buClr>
              <a:buSzPct val="135000"/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10000"/>
              </a:spcAft>
              <a:buClr>
                <a:srgbClr val="0066FF"/>
              </a:buClr>
              <a:buSzPct val="135000"/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0066FF"/>
              </a:buClr>
              <a:buSzPct val="13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rgbClr val="0066FF"/>
              </a:buClr>
              <a:buSzPct val="13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40000"/>
              </a:spcBef>
              <a:spcAft>
                <a:spcPct val="0"/>
              </a:spcAft>
              <a:buClr>
                <a:srgbClr val="0066FF"/>
              </a:buClr>
              <a:buSzPct val="13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40000"/>
              </a:spcBef>
              <a:spcAft>
                <a:spcPct val="0"/>
              </a:spcAft>
              <a:buClr>
                <a:srgbClr val="0066FF"/>
              </a:buClr>
              <a:buSzPct val="13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40000"/>
              </a:spcBef>
              <a:spcAft>
                <a:spcPct val="0"/>
              </a:spcAft>
              <a:buClr>
                <a:srgbClr val="0066FF"/>
              </a:buClr>
              <a:buSzPct val="13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40000"/>
              </a:spcBef>
              <a:spcAft>
                <a:spcPct val="0"/>
              </a:spcAft>
              <a:buClr>
                <a:srgbClr val="0066FF"/>
              </a:buClr>
              <a:buSzPct val="13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400050" indent="-285750" eaLnBrk="1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Entered EPC arrangement to build Mid Atlantic’s first OSW project, Coastal Virginia Offshore Wind, with commissioning expected by 2020</a:t>
            </a:r>
            <a:endParaRPr lang="da-DK" sz="1600" dirty="0"/>
          </a:p>
          <a:p>
            <a:pPr marL="400050" indent="-285750" eaLnBrk="1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Entered strategic partnership with Dominion to explore large, commercial scale project. Project site has potential to build up to 2,000MW</a:t>
            </a:r>
            <a:endParaRPr lang="da-DK" sz="1600" dirty="0"/>
          </a:p>
          <a:p>
            <a:pPr marL="400050" indent="-285750" eaLnBrk="1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Ørsted established an office in Richmond, VA</a:t>
            </a:r>
            <a:endParaRPr lang="da-DK" sz="1600" dirty="0"/>
          </a:p>
          <a:p>
            <a:pPr marL="400050" indent="-285750" eaLnBrk="1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sz="1600" dirty="0"/>
              <a:t>Commencing exploration of Norfolk and other port and supply chain opportunities</a:t>
            </a:r>
          </a:p>
          <a:p>
            <a:pPr marL="342900" marR="0" lvl="0" indent="-342900" algn="l" defTabSz="914400" rtl="0" eaLnBrk="0" fontAlgn="base" latinLnBrk="0" hangingPunct="0">
              <a:lnSpc>
                <a:spcPct val="95000"/>
              </a:lnSpc>
              <a:spcBef>
                <a:spcPts val="600"/>
              </a:spcBef>
              <a:spcAft>
                <a:spcPts val="600"/>
              </a:spcAft>
              <a:buClr>
                <a:srgbClr val="0066FF"/>
              </a:buClr>
              <a:buSzPct val="135000"/>
              <a:buFont typeface="Wingdings" pitchFamily="2" charset="2"/>
              <a:buChar char="§"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0C6DD58-73EC-49C0-9029-F401108F2FB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66" r="22051"/>
          <a:stretch/>
        </p:blipFill>
        <p:spPr>
          <a:xfrm>
            <a:off x="5011058" y="1251071"/>
            <a:ext cx="4398118" cy="4849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8820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1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00&quot; g=&quot;20&quot; b=&quot;6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4IdTaWRhCFkxWFkhfD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Ket0_1Te20QULfNJZ1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.pevloQgWlsC5i1NnO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UqJxxeTROn3efGed15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6cvsSHQS6Hq3D.TATK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LkpSfyRW2etsN.9jG9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CDyb2VTQm52J.A.rx2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x6b.p9SUGcafEzTrT7M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PtRORkSDW1AIFyhiZa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Wd.IxqTKCrZVljVH47c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.xUCh.ekOwptL8vtJb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.xUCh.ekOwptL8vtJbK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.xUCh.ekOwptL8vtJb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.xUCh.ekOwptL8vtJb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.xUCh.ekOwptL8vtJbK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8uRnsym0eakaPPUuVC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gB1HGs8ku_H.kcbdQh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.xUCh.ekOwptL8vtJb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LzovAWjkCAsS.x.zkj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B24MhuQkKb9suKmT6y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ARKZ5ooky840avANBy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nXVvuPkUmKpncqsduq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x0s_wWmEOravYMws0a4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_HEk_FBkWvOdDfHCp7H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zJliIEiVXG.Nc9EQ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rMbjSCEmNsxmnIKRu3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mZjbTrq0yDSyo8BlW5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0MQhME0E2paioH_iU9L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SAM7srvU2EuMG4prW4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6Bnh_0ECUI1AlRl6Y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T2xJv8H0q6m_M6GFFd5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e.nx_krUegiqDtAPuNl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RCP4fvkmpyPc8SsE9S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jDa3XB0iAHClZQIWVq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HHOtOjV0eD6S9PzZ7fr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LG9E6JW02VPYbDX0Se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wyON8e.kGhlbyxb5L9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UKuuraF0SnShBP71Vi0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uj1haHEOC_cecw7umF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2XhHS1AUOfTfKP9A0_r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pZ7vitd0OO.UMdNYCXK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ybjYaE0GX7xZMEbbTm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BobhG9RkKI_3bQAZEhU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TwigfIaEaF06ARxUm3q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8eTF3RQUq8enzq8NpKX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.BxttDV0SZs4Le5hto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skLN60O0mEigG2X3ftm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9dSESNQkq9l9YqnJ7Kx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mmTc5rHk.j.SA0_OctP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cGSsH0F0CfY08S_hsxi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cGSsH0F0CfY08S_hsxi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cGSsH0F0CfY08S_hsxi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rsted">
  <a:themeElements>
    <a:clrScheme name="Orsted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4 Landscape Orsted.potx" id="{70D0D6C1-AE8B-4E10-9798-699B1F704851}" vid="{420F0E47-AE95-40A8-8F56-7317C25E8E5D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FD54160065F145AF901D1A916887B2" ma:contentTypeVersion="6" ma:contentTypeDescription="Create a new document." ma:contentTypeScope="" ma:versionID="1645fa55f2c446a37611e2aa69bafcb8">
  <xsd:schema xmlns:xsd="http://www.w3.org/2001/XMLSchema" xmlns:xs="http://www.w3.org/2001/XMLSchema" xmlns:p="http://schemas.microsoft.com/office/2006/metadata/properties" xmlns:ns2="fef0b028-2ce1-42dc-bf2c-e1a78c02c10e" xmlns:ns3="e717bb9e-08a6-48e1-b795-79c3c3113e9a" targetNamespace="http://schemas.microsoft.com/office/2006/metadata/properties" ma:root="true" ma:fieldsID="36f54f87fccb8e35a97b4a744490ffd6" ns2:_="" ns3:_="">
    <xsd:import namespace="fef0b028-2ce1-42dc-bf2c-e1a78c02c10e"/>
    <xsd:import namespace="e717bb9e-08a6-48e1-b795-79c3c3113e9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f0b028-2ce1-42dc-bf2c-e1a78c02c10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17bb9e-08a6-48e1-b795-79c3c3113e9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4ABAD99-470C-4D8B-B95D-16D3E8A664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f0b028-2ce1-42dc-bf2c-e1a78c02c10e"/>
    <ds:schemaRef ds:uri="e717bb9e-08a6-48e1-b795-79c3c3113e9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80CDD78-F299-43AD-9D21-C886D520A4CB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e717bb9e-08a6-48e1-b795-79c3c3113e9a"/>
    <ds:schemaRef ds:uri="fef0b028-2ce1-42dc-bf2c-e1a78c02c10e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29F4726-47DA-4490-86E3-39B10906063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4 Landscape Orsted</Template>
  <TotalTime>6177</TotalTime>
  <Words>1065</Words>
  <Application>Microsoft Office PowerPoint</Application>
  <PresentationFormat>A4 Paper (210x297 mm)</PresentationFormat>
  <Paragraphs>227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Wingdings</vt:lpstr>
      <vt:lpstr>Times New Roman</vt:lpstr>
      <vt:lpstr>Orsted Sans Office</vt:lpstr>
      <vt:lpstr>Aharoni</vt:lpstr>
      <vt:lpstr>Felbridge DONG Energy</vt:lpstr>
      <vt:lpstr>Maine Sans</vt:lpstr>
      <vt:lpstr>Arial</vt:lpstr>
      <vt:lpstr>Orsted</vt:lpstr>
      <vt:lpstr>think-cell Slide</vt:lpstr>
      <vt:lpstr>Chart</vt:lpstr>
      <vt:lpstr>Ørsted Wind Power</vt:lpstr>
      <vt:lpstr>PowerPoint Presentation</vt:lpstr>
      <vt:lpstr>PowerPoint Presentation</vt:lpstr>
      <vt:lpstr>Ørsted has build a strong integrated end-to-end business model </vt:lpstr>
      <vt:lpstr>Proven track record in developing long-term global partnerships</vt:lpstr>
      <vt:lpstr>Ørsted Wind Power in the U.S.</vt:lpstr>
      <vt:lpstr>Bay State Wind Development</vt:lpstr>
      <vt:lpstr>Ocean Wind Development</vt:lpstr>
      <vt:lpstr>Coastal Virginia Offshore Wind Projec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ing the energy transformation</dc:title>
  <dc:creator>Gabriel Mejía</dc:creator>
  <cp:lastModifiedBy>Elisabeth-Anne Treseder</cp:lastModifiedBy>
  <cp:revision>124</cp:revision>
  <cp:lastPrinted>2017-05-04T08:42:11Z</cp:lastPrinted>
  <dcterms:created xsi:type="dcterms:W3CDTF">2017-11-06T12:30:52Z</dcterms:created>
  <dcterms:modified xsi:type="dcterms:W3CDTF">2018-03-06T15:3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ContentTypeId">
    <vt:lpwstr>0x01010046FD54160065F145AF901D1A916887B2</vt:lpwstr>
  </property>
</Properties>
</file>